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4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heme/theme5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770" r:id="rId6"/>
    <p:sldMasterId id="2147484080" r:id="rId7"/>
    <p:sldMasterId id="2147484131" r:id="rId8"/>
  </p:sldMasterIdLst>
  <p:notesMasterIdLst>
    <p:notesMasterId r:id="rId23"/>
  </p:notesMasterIdLst>
  <p:sldIdLst>
    <p:sldId id="2147476550" r:id="rId9"/>
    <p:sldId id="2147476551" r:id="rId10"/>
    <p:sldId id="2147476552" r:id="rId11"/>
    <p:sldId id="2147476553" r:id="rId12"/>
    <p:sldId id="2147476554" r:id="rId13"/>
    <p:sldId id="2147476566" r:id="rId14"/>
    <p:sldId id="2147476555" r:id="rId15"/>
    <p:sldId id="2147476565" r:id="rId16"/>
    <p:sldId id="2147476569" r:id="rId17"/>
    <p:sldId id="2147476573" r:id="rId18"/>
    <p:sldId id="2147476557" r:id="rId19"/>
    <p:sldId id="2147476538" r:id="rId20"/>
    <p:sldId id="2147476575" r:id="rId21"/>
    <p:sldId id="2147476562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0AFAD18-630B-1F73-F380-72B6B3648BE0}" name="Jansen, Charles CRJ [ON]" initials="J[" userId="S::charles.jansen@servicecanada.gc.ca::91e39a58-413b-4c88-b1c6-d3a500d3817c" providerId="AD"/>
  <p188:author id="{A6244830-BA2A-EDFE-F616-49250CA79D65}" name="Seguin, Jodi JLS [NC]" initials="S[" userId="S::jodi.seguin@hrsdc-rhdcc.gc.ca::d619c879-d681-4a07-a9d3-c1bf1222b1b3" providerId="AD"/>
  <p188:author id="{AF7F9B3C-8B9A-2F51-A1D3-023F5A35DC72}" name="Fast,  Lauren LE [NC]" initials="FLL[" userId="S::lauren.fast@servicecanada.gc.ca::31feae13-7142-4f08-907b-38de971004f1" providerId="AD"/>
  <p188:author id="{292A5241-9337-1B0C-1643-9640F844CA9A}" name="Gomez Lares,  Monica MGL [NC]" initials="G[" userId="S::monica.gomezlares@servicecanada.gc.ca::3c252c3b-0ee6-4bde-b9aa-69150bfc2754" providerId="AD"/>
  <p188:author id="{FB756450-E54F-61EB-3921-CA7EAC0DB35B}" name="Cluney, Craig EC [NC]" initials="C[" userId="S::craig.cluney@servicecanada.gc.ca::f09b9c5e-5aa3-4047-82ef-b8d73b9dd685" providerId="AD"/>
  <p188:author id="{B11354A5-06F0-E101-EDD9-9C0F7865930D}" name="Copeland, Mélanie MM [NC]" initials="C[" userId="S::melanie.copeland@servicecanada.gc.ca::be66804f-8d7c-48ac-910e-9ab00f890f4a" providerId="AD"/>
  <p188:author id="{CF6E43AC-F69D-1ED9-9367-A71450E0AA24}" name="Gill,  Dominder DG [NC]" initials="G[" userId="S::dominder.gill@hrsdc-rhdcc.gc.ca::e9421d9a-fe9f-4f1b-967e-1313da575420" providerId="AD"/>
  <p188:author id="{50E04FAC-ACB0-1B96-352F-8005C7F88FBB}" name="Tchilingirian, Sara ST [NC]" initials="TSS[" userId="S::sara.tchilingirian@hrsdc-rhdcc.gc.ca::428a1d68-6703-4a3b-86a8-659856ca2e34" providerId="AD"/>
  <p188:author id="{BFCACCBF-F732-530D-770C-E3C2BC175C95}" name="Kulakowski, Adam A [NC]" initials="" userId="S::adam.kulakowski@servicecanada.gc.ca::8d3b9f8a-f14e-427d-b9c5-aca8ccca088e" providerId="AD"/>
  <p188:author id="{6482D3DF-08D5-7798-A604-58E71053DE1F}" name="Craighead, Crimson CP [NC]" initials="C[" userId="S::crimson.craighead@servicecanada.gc.ca::2b91b5ea-35f7-4494-8797-37fd46f547b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7EB"/>
    <a:srgbClr val="E6D5F3"/>
    <a:srgbClr val="F2F2F2"/>
    <a:srgbClr val="61458C"/>
    <a:srgbClr val="D6B9EC"/>
    <a:srgbClr val="A38CC6"/>
    <a:srgbClr val="1A5676"/>
    <a:srgbClr val="368AA1"/>
    <a:srgbClr val="896DD8"/>
    <a:srgbClr val="0C2B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F8ABAA-7DE4-C88C-A76B-4E4ADDAB7F42}" v="86" dt="2024-05-21T18:51:09.129"/>
    <p1510:client id="{A6B8E4F9-59EC-018F-43D2-D421B4673D81}" v="7" dt="2024-05-22T16:05:19.591"/>
    <p1510:client id="{EBDFF73C-F3B9-9497-7667-37F16EFC0D20}" v="23" dt="2024-05-23T12:42:44.6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778164-25E5-4945-A52D-9824FEDA066C}" type="datetimeFigureOut">
              <a:t>6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B0B587-5A97-4F03-9A41-F79B9AD2EB0B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896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image" Target="../media/image1.emf"/><Relationship Id="rId4" Type="http://schemas.openxmlformats.org/officeDocument/2006/relationships/tags" Target="../tags/tag25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oleObject" Target="../embeddings/oleObject3.bin"/><Relationship Id="rId5" Type="http://schemas.openxmlformats.org/officeDocument/2006/relationships/tags" Target="../tags/tag3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0.xml"/><Relationship Id="rId7" Type="http://schemas.openxmlformats.org/officeDocument/2006/relationships/oleObject" Target="../embeddings/oleObject4.bin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42.xml"/><Relationship Id="rId10" Type="http://schemas.openxmlformats.org/officeDocument/2006/relationships/image" Target="../media/image4.png"/><Relationship Id="rId4" Type="http://schemas.openxmlformats.org/officeDocument/2006/relationships/tags" Target="../tags/tag41.xml"/><Relationship Id="rId9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.emf"/><Relationship Id="rId4" Type="http://schemas.openxmlformats.org/officeDocument/2006/relationships/tags" Target="../tags/tag46.xml"/><Relationship Id="rId9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1.emf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7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7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9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10" Type="http://schemas.openxmlformats.org/officeDocument/2006/relationships/image" Target="../media/image2.emf"/><Relationship Id="rId4" Type="http://schemas.openxmlformats.org/officeDocument/2006/relationships/tags" Target="../tags/tag86.xml"/><Relationship Id="rId9" Type="http://schemas.openxmlformats.org/officeDocument/2006/relationships/oleObject" Target="../embeddings/oleObject12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14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13.jpg"/><Relationship Id="rId5" Type="http://schemas.openxmlformats.org/officeDocument/2006/relationships/tags" Target="../tags/tag94.xml"/><Relationship Id="rId10" Type="http://schemas.openxmlformats.org/officeDocument/2006/relationships/image" Target="../media/image2.emf"/><Relationship Id="rId4" Type="http://schemas.openxmlformats.org/officeDocument/2006/relationships/tags" Target="../tags/tag93.xml"/><Relationship Id="rId9" Type="http://schemas.openxmlformats.org/officeDocument/2006/relationships/oleObject" Target="../embeddings/oleObject13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5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2.emf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9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8.sv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9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8.sv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6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9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2.png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26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slideMaster" Target="../slideMasters/slideMaster4.xml"/><Relationship Id="rId11" Type="http://schemas.openxmlformats.org/officeDocument/2006/relationships/image" Target="../media/image5.png"/><Relationship Id="rId5" Type="http://schemas.openxmlformats.org/officeDocument/2006/relationships/tags" Target="../tags/tag128.xml"/><Relationship Id="rId10" Type="http://schemas.openxmlformats.org/officeDocument/2006/relationships/image" Target="../media/image4.png"/><Relationship Id="rId4" Type="http://schemas.openxmlformats.org/officeDocument/2006/relationships/tags" Target="../tags/tag127.xml"/><Relationship Id="rId9" Type="http://schemas.openxmlformats.org/officeDocument/2006/relationships/image" Target="../media/image3.png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10" Type="http://schemas.openxmlformats.org/officeDocument/2006/relationships/image" Target="../media/image1.emf"/><Relationship Id="rId4" Type="http://schemas.openxmlformats.org/officeDocument/2006/relationships/tags" Target="../tags/tag132.xml"/><Relationship Id="rId9" Type="http://schemas.openxmlformats.org/officeDocument/2006/relationships/oleObject" Target="../embeddings/oleObject19.bin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3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4" Type="http://schemas.openxmlformats.org/officeDocument/2006/relationships/tags" Target="../tags/tag139.xml"/><Relationship Id="rId9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4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5" Type="http://schemas.openxmlformats.org/officeDocument/2006/relationships/tags" Target="../tags/tag146.xml"/><Relationship Id="rId4" Type="http://schemas.openxmlformats.org/officeDocument/2006/relationships/tags" Target="../tags/tag145.xml"/><Relationship Id="rId9" Type="http://schemas.openxmlformats.org/officeDocument/2006/relationships/image" Target="../media/image2.emf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50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5" Type="http://schemas.openxmlformats.org/officeDocument/2006/relationships/tags" Target="../tags/tag152.xml"/><Relationship Id="rId4" Type="http://schemas.openxmlformats.org/officeDocument/2006/relationships/tags" Target="../tags/tag151.xml"/><Relationship Id="rId9" Type="http://schemas.openxmlformats.org/officeDocument/2006/relationships/image" Target="../media/image2.emf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5" Type="http://schemas.openxmlformats.org/officeDocument/2006/relationships/tags" Target="../tags/tag158.xml"/><Relationship Id="rId10" Type="http://schemas.openxmlformats.org/officeDocument/2006/relationships/image" Target="../media/image2.emf"/><Relationship Id="rId4" Type="http://schemas.openxmlformats.org/officeDocument/2006/relationships/tags" Target="../tags/tag157.xml"/><Relationship Id="rId9" Type="http://schemas.openxmlformats.org/officeDocument/2006/relationships/oleObject" Target="../embeddings/oleObject23.bin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12" Type="http://schemas.openxmlformats.org/officeDocument/2006/relationships/image" Target="../media/image1.emf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65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164.xml"/><Relationship Id="rId9" Type="http://schemas.openxmlformats.org/officeDocument/2006/relationships/tags" Target="../tags/tag169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image" Target="../media/image1.emf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74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173.xml"/><Relationship Id="rId9" Type="http://schemas.openxmlformats.org/officeDocument/2006/relationships/tags" Target="../tags/tag178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12" Type="http://schemas.openxmlformats.org/officeDocument/2006/relationships/image" Target="../media/image1.emf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83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182.xml"/><Relationship Id="rId9" Type="http://schemas.openxmlformats.org/officeDocument/2006/relationships/tags" Target="../tags/tag187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12" Type="http://schemas.openxmlformats.org/officeDocument/2006/relationships/image" Target="../media/image33.emf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tags" Target="../tags/tag193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92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191.xml"/><Relationship Id="rId9" Type="http://schemas.openxmlformats.org/officeDocument/2006/relationships/tags" Target="../tags/tag196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1.emf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tags" Target="../tags/tag202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01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5" Type="http://schemas.openxmlformats.org/officeDocument/2006/relationships/tags" Target="../tags/tag210.xml"/><Relationship Id="rId10" Type="http://schemas.openxmlformats.org/officeDocument/2006/relationships/image" Target="../media/image2.emf"/><Relationship Id="rId4" Type="http://schemas.openxmlformats.org/officeDocument/2006/relationships/tags" Target="../tags/tag209.xml"/><Relationship Id="rId9" Type="http://schemas.openxmlformats.org/officeDocument/2006/relationships/oleObject" Target="../embeddings/oleObject29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7" Type="http://schemas.openxmlformats.org/officeDocument/2006/relationships/image" Target="../media/image2.emf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1034727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36457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9283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50D6D09-6DCF-FA44-97BA-F227A365C16D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97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BBC55F1-B346-1645-87BA-997E36ACE8A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392" y="429577"/>
            <a:ext cx="10785971" cy="415925"/>
          </a:xfrm>
        </p:spPr>
        <p:txBody>
          <a:bodyPr anchor="ctr">
            <a:noAutofit/>
          </a:bodyPr>
          <a:lstStyle>
            <a:lvl1pPr marL="0" indent="0">
              <a:buNone/>
              <a:defRPr sz="3500" b="1">
                <a:solidFill>
                  <a:srgbClr val="175676"/>
                </a:solidFill>
              </a:defRPr>
            </a:lvl1pPr>
          </a:lstStyle>
          <a:p>
            <a:pPr lvl="0"/>
            <a:r>
              <a:rPr lang="en-US"/>
              <a:t>Heading Level 1</a:t>
            </a:r>
          </a:p>
        </p:txBody>
      </p:sp>
      <p:sp>
        <p:nvSpPr>
          <p:cNvPr id="13" name="Picture Placeholder 18">
            <a:extLst>
              <a:ext uri="{FF2B5EF4-FFF2-40B4-BE49-F238E27FC236}">
                <a16:creationId xmlns:a16="http://schemas.microsoft.com/office/drawing/2014/main" id="{428B511F-DB86-4B41-B031-4EAFFC20291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05952" y="1033190"/>
            <a:ext cx="3203411" cy="3068002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0A7F28B-D645-EC42-9726-40605C73CF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391" y="1042725"/>
            <a:ext cx="7424905" cy="332621"/>
          </a:xfrm>
        </p:spPr>
        <p:txBody>
          <a:bodyPr anchor="ctr">
            <a:noAutofit/>
          </a:bodyPr>
          <a:lstStyle>
            <a:lvl1pPr marL="0" indent="0">
              <a:buNone/>
              <a:defRPr sz="2400" b="0">
                <a:solidFill>
                  <a:srgbClr val="975DA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HEADING LEVEL 2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6D6C57B2-218D-2F43-8FCE-607B7F8EF83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392" y="4196519"/>
            <a:ext cx="10753064" cy="195991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530993-1F72-884D-8E35-C68C02D78784}"/>
              </a:ext>
            </a:extLst>
          </p:cNvPr>
          <p:cNvCxnSpPr>
            <a:cxnSpLocks/>
          </p:cNvCxnSpPr>
          <p:nvPr userDrawn="1"/>
        </p:nvCxnSpPr>
        <p:spPr>
          <a:xfrm>
            <a:off x="670560" y="6356499"/>
            <a:ext cx="107391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D5702664-7B33-F342-BD6E-7632CC81CC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391" y="1458311"/>
            <a:ext cx="7424905" cy="2642882"/>
          </a:xfr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29584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C9E8B204-4560-4601-AED0-F679268E30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51941" y="398105"/>
            <a:ext cx="3169539" cy="19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" descr="Government of Canada Logo and symbol, meaning, history, PNG">
            <a:extLst>
              <a:ext uri="{FF2B5EF4-FFF2-40B4-BE49-F238E27FC236}">
                <a16:creationId xmlns:a16="http://schemas.microsoft.com/office/drawing/2014/main" id="{8568E5B9-28E7-4351-920F-4FD9BC7B3E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0845155" y="218289"/>
            <a:ext cx="792110" cy="53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E97CE8A-2868-4740-ACA3-ED5570B2E44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914900" y="2246521"/>
            <a:ext cx="2365453" cy="2359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8AC8EB-17C9-4C6E-8F75-0325EE5A2227}" type="datetimeFigureOut">
              <a:rPr lang="en-CA" smtClean="0"/>
              <a:t>2024-06-12</a:t>
            </a:fld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956FF-E7B4-49D0-9902-94DC5F69C5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30331908"/>
      </p:ext>
    </p:extLst>
  </p:cSld>
  <p:clrMapOvr>
    <a:masterClrMapping/>
  </p:clrMapOvr>
  <p:hf hd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BC3D5E1B-CAFA-318C-5CDF-C13D66C66BF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14" name="Rectangle 21">
            <a:extLst>
              <a:ext uri="{FF2B5EF4-FFF2-40B4-BE49-F238E27FC236}">
                <a16:creationId xmlns:a16="http://schemas.microsoft.com/office/drawing/2014/main" id="{383C8B2C-E5C7-A60D-2B99-67F06135836A}"/>
              </a:ext>
            </a:extLst>
          </p:cNvPr>
          <p:cNvSpPr>
            <a:spLocks/>
          </p:cNvSpPr>
          <p:nvPr userDrawn="1"/>
        </p:nvSpPr>
        <p:spPr>
          <a:xfrm rot="5400000" flipH="1">
            <a:off x="-794209" y="794209"/>
            <a:ext cx="6858002" cy="5269584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3929049" y="2458538"/>
                  <a:pt x="7400671" y="21112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8EB153A-6BDA-BD5C-6DDE-68879845E0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33847" y="1388749"/>
            <a:ext cx="3602483" cy="120021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4400" b="1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  <a:endParaRPr lang="en-CA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EC989A0-2726-33C1-B217-E7CE82D190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39430" y="1112991"/>
            <a:ext cx="4359276" cy="551517"/>
          </a:xfrm>
          <a:prstGeom prst="round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3200" b="1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1BAC904-5F97-8759-796E-F325977626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38823" y="1823547"/>
            <a:ext cx="4359276" cy="39214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edit text list</a:t>
            </a:r>
          </a:p>
        </p:txBody>
      </p:sp>
    </p:spTree>
    <p:extLst>
      <p:ext uri="{BB962C8B-B14F-4D97-AF65-F5344CB8AC3E}">
        <p14:creationId xmlns:p14="http://schemas.microsoft.com/office/powerpoint/2010/main" val="23027806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50D6D09-6DCF-FA44-97BA-F227A365C16D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97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BBC55F1-B346-1645-87BA-997E36ACE8A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392" y="429577"/>
            <a:ext cx="10785971" cy="415925"/>
          </a:xfrm>
        </p:spPr>
        <p:txBody>
          <a:bodyPr anchor="ctr">
            <a:noAutofit/>
          </a:bodyPr>
          <a:lstStyle>
            <a:lvl1pPr marL="0" indent="0">
              <a:buNone/>
              <a:defRPr sz="3500" b="1">
                <a:solidFill>
                  <a:srgbClr val="175676"/>
                </a:solidFill>
              </a:defRPr>
            </a:lvl1pPr>
          </a:lstStyle>
          <a:p>
            <a:pPr lvl="0"/>
            <a:r>
              <a:rPr lang="en-US"/>
              <a:t>Heading Level 1</a:t>
            </a:r>
          </a:p>
        </p:txBody>
      </p:sp>
      <p:sp>
        <p:nvSpPr>
          <p:cNvPr id="13" name="Picture Placeholder 18">
            <a:extLst>
              <a:ext uri="{FF2B5EF4-FFF2-40B4-BE49-F238E27FC236}">
                <a16:creationId xmlns:a16="http://schemas.microsoft.com/office/drawing/2014/main" id="{428B511F-DB86-4B41-B031-4EAFFC20291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05952" y="1033190"/>
            <a:ext cx="3203411" cy="3068002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00A7F28B-D645-EC42-9726-40605C73CF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391" y="1042725"/>
            <a:ext cx="7424905" cy="332621"/>
          </a:xfrm>
        </p:spPr>
        <p:txBody>
          <a:bodyPr anchor="ctr">
            <a:noAutofit/>
          </a:bodyPr>
          <a:lstStyle>
            <a:lvl1pPr marL="0" indent="0">
              <a:buNone/>
              <a:defRPr sz="2400" b="0">
                <a:solidFill>
                  <a:srgbClr val="975DA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HEADING LEVEL 2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6D6C57B2-218D-2F43-8FCE-607B7F8EF83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392" y="4196519"/>
            <a:ext cx="10753064" cy="195991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530993-1F72-884D-8E35-C68C02D78784}"/>
              </a:ext>
            </a:extLst>
          </p:cNvPr>
          <p:cNvCxnSpPr>
            <a:cxnSpLocks/>
          </p:cNvCxnSpPr>
          <p:nvPr userDrawn="1"/>
        </p:nvCxnSpPr>
        <p:spPr>
          <a:xfrm>
            <a:off x="670560" y="6356499"/>
            <a:ext cx="107391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D5702664-7B33-F342-BD6E-7632CC81CC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391" y="1458311"/>
            <a:ext cx="7424905" cy="2642882"/>
          </a:xfr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57560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61C06E2-6E6D-B34B-AFC6-14017D50F0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392" y="2936240"/>
            <a:ext cx="5872000" cy="332621"/>
          </a:xfrm>
        </p:spPr>
        <p:txBody>
          <a:bodyPr anchor="ctr">
            <a:noAutofit/>
          </a:bodyPr>
          <a:lstStyle>
            <a:lvl1pPr marL="0" indent="0">
              <a:buNone/>
              <a:defRPr sz="2400" b="0" i="0">
                <a:solidFill>
                  <a:srgbClr val="975DA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HEADING LEVEL 2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5702664-7B33-F342-BD6E-7632CC81CC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391" y="1033189"/>
            <a:ext cx="5872001" cy="180460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FE2BE80-49D0-4147-88CF-0BFEED3E71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392" y="427210"/>
            <a:ext cx="10785971" cy="415925"/>
          </a:xfrm>
        </p:spPr>
        <p:txBody>
          <a:bodyPr anchor="ctr">
            <a:noAutofit/>
          </a:bodyPr>
          <a:lstStyle>
            <a:lvl1pPr marL="0" indent="0">
              <a:buNone/>
              <a:defRPr sz="3500" b="1" i="0">
                <a:solidFill>
                  <a:srgbClr val="175676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Heading Level 1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11B75A80-3303-2E4F-A2D1-3DD955D7B0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391" y="3289032"/>
            <a:ext cx="5872001" cy="285163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A7E8D5-40E1-8642-946E-2B3009285A25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97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13E0E39-D1D7-274E-BD17-C6C14D9CC5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15125" y="1033189"/>
            <a:ext cx="4694238" cy="5107479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6530993-1F72-884D-8E35-C68C02D78784}"/>
              </a:ext>
            </a:extLst>
          </p:cNvPr>
          <p:cNvCxnSpPr>
            <a:cxnSpLocks/>
          </p:cNvCxnSpPr>
          <p:nvPr userDrawn="1"/>
        </p:nvCxnSpPr>
        <p:spPr>
          <a:xfrm>
            <a:off x="670560" y="6356499"/>
            <a:ext cx="107391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40088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C3A2CBA9-77C9-4940-9E35-14869671B234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97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4255E1B-8B97-0248-93E4-94954F97B5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392" y="427038"/>
            <a:ext cx="10786288" cy="415925"/>
          </a:xfrm>
        </p:spPr>
        <p:txBody>
          <a:bodyPr anchor="ctr">
            <a:noAutofit/>
          </a:bodyPr>
          <a:lstStyle>
            <a:lvl1pPr marL="0" indent="0">
              <a:buNone/>
              <a:defRPr sz="3500" b="1">
                <a:solidFill>
                  <a:srgbClr val="175676"/>
                </a:solidFill>
              </a:defRPr>
            </a:lvl1pPr>
          </a:lstStyle>
          <a:p>
            <a:pPr lvl="0"/>
            <a:r>
              <a:rPr lang="en-US"/>
              <a:t>Heading Level 1</a:t>
            </a:r>
          </a:p>
        </p:txBody>
      </p:sp>
      <p:sp>
        <p:nvSpPr>
          <p:cNvPr id="17" name="Picture Placeholder 18">
            <a:extLst>
              <a:ext uri="{FF2B5EF4-FFF2-40B4-BE49-F238E27FC236}">
                <a16:creationId xmlns:a16="http://schemas.microsoft.com/office/drawing/2014/main" id="{A6391A65-FFBD-4C4F-8D6D-E2D9E3C2934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15125" y="1033190"/>
            <a:ext cx="4694238" cy="493073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5702664-7B33-F342-BD6E-7632CC81CC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391" y="1033190"/>
            <a:ext cx="5887767" cy="493073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48504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C3A2CBA9-77C9-4940-9E35-14869671B234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97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4255E1B-8B97-0248-93E4-94954F97B5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392" y="427038"/>
            <a:ext cx="10786288" cy="415925"/>
          </a:xfrm>
        </p:spPr>
        <p:txBody>
          <a:bodyPr anchor="ctr">
            <a:noAutofit/>
          </a:bodyPr>
          <a:lstStyle>
            <a:lvl1pPr marL="0" indent="0">
              <a:buNone/>
              <a:defRPr sz="3500" b="1">
                <a:solidFill>
                  <a:srgbClr val="175676"/>
                </a:solidFill>
              </a:defRPr>
            </a:lvl1pPr>
          </a:lstStyle>
          <a:p>
            <a:pPr lvl="0"/>
            <a:r>
              <a:rPr lang="en-US"/>
              <a:t>Heading Level 1</a:t>
            </a:r>
          </a:p>
        </p:txBody>
      </p:sp>
      <p:sp>
        <p:nvSpPr>
          <p:cNvPr id="17" name="Picture Placeholder 18">
            <a:extLst>
              <a:ext uri="{FF2B5EF4-FFF2-40B4-BE49-F238E27FC236}">
                <a16:creationId xmlns:a16="http://schemas.microsoft.com/office/drawing/2014/main" id="{A6391A65-FFBD-4C4F-8D6D-E2D9E3C2934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15125" y="1033190"/>
            <a:ext cx="4694238" cy="493073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6530993-1F72-884D-8E35-C68C02D78784}"/>
              </a:ext>
            </a:extLst>
          </p:cNvPr>
          <p:cNvCxnSpPr>
            <a:cxnSpLocks/>
          </p:cNvCxnSpPr>
          <p:nvPr userDrawn="1"/>
        </p:nvCxnSpPr>
        <p:spPr>
          <a:xfrm>
            <a:off x="670560" y="6356499"/>
            <a:ext cx="107391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5702664-7B33-F342-BD6E-7632CC81CC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391" y="1033190"/>
            <a:ext cx="5887767" cy="493073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81712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98EBEA6-A272-B342-BC0C-587F763563E3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97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6530993-1F72-884D-8E35-C68C02D78784}"/>
              </a:ext>
            </a:extLst>
          </p:cNvPr>
          <p:cNvCxnSpPr>
            <a:cxnSpLocks/>
          </p:cNvCxnSpPr>
          <p:nvPr userDrawn="1"/>
        </p:nvCxnSpPr>
        <p:spPr>
          <a:xfrm>
            <a:off x="670560" y="6356499"/>
            <a:ext cx="107391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4A973D91-4AF1-914D-96FE-65597632D4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392" y="427038"/>
            <a:ext cx="10786288" cy="415925"/>
          </a:xfrm>
        </p:spPr>
        <p:txBody>
          <a:bodyPr anchor="ctr">
            <a:noAutofit/>
          </a:bodyPr>
          <a:lstStyle>
            <a:lvl1pPr marL="0" indent="0">
              <a:buNone/>
              <a:defRPr sz="3500" b="1">
                <a:solidFill>
                  <a:srgbClr val="175676"/>
                </a:solidFill>
              </a:defRPr>
            </a:lvl1pPr>
          </a:lstStyle>
          <a:p>
            <a:pPr lvl="0"/>
            <a:r>
              <a:rPr lang="en-US"/>
              <a:t>Heading Level 1</a:t>
            </a:r>
          </a:p>
        </p:txBody>
      </p:sp>
      <p:sp>
        <p:nvSpPr>
          <p:cNvPr id="18" name="Picture Placeholder 18">
            <a:extLst>
              <a:ext uri="{FF2B5EF4-FFF2-40B4-BE49-F238E27FC236}">
                <a16:creationId xmlns:a16="http://schemas.microsoft.com/office/drawing/2014/main" id="{BF30D9A3-DF3A-4549-9A9C-A7D1112CE8D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15125" y="1033190"/>
            <a:ext cx="4694238" cy="493073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762DBDF-AB18-7541-9722-DD04EA01DC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392" y="2936240"/>
            <a:ext cx="5856236" cy="332621"/>
          </a:xfrm>
        </p:spPr>
        <p:txBody>
          <a:bodyPr anchor="ctr">
            <a:noAutofit/>
          </a:bodyPr>
          <a:lstStyle>
            <a:lvl1pPr marL="0" indent="0">
              <a:buNone/>
              <a:defRPr sz="2400" b="0">
                <a:solidFill>
                  <a:srgbClr val="975DA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HEADING LEVEL 2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31A16E91-CB61-094A-BFE5-57065D7059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392" y="3289033"/>
            <a:ext cx="5856236" cy="143291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5702664-7B33-F342-BD6E-7632CC81CC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392" y="1033189"/>
            <a:ext cx="5856236" cy="1780955"/>
          </a:xfr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82396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6B1A56D-2250-764C-B5AC-160937069C49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97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94542C1-1D76-0544-B8F5-439EF10289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392" y="430941"/>
            <a:ext cx="10786288" cy="415925"/>
          </a:xfrm>
        </p:spPr>
        <p:txBody>
          <a:bodyPr anchor="ctr">
            <a:noAutofit/>
          </a:bodyPr>
          <a:lstStyle>
            <a:lvl1pPr marL="0" indent="0">
              <a:buNone/>
              <a:defRPr sz="3500" b="1">
                <a:solidFill>
                  <a:srgbClr val="175676"/>
                </a:solidFill>
              </a:defRPr>
            </a:lvl1pPr>
          </a:lstStyle>
          <a:p>
            <a:pPr lvl="0"/>
            <a:r>
              <a:rPr lang="en-US"/>
              <a:t>Heading Level 1</a:t>
            </a:r>
          </a:p>
        </p:txBody>
      </p:sp>
      <p:sp>
        <p:nvSpPr>
          <p:cNvPr id="13" name="Picture Placeholder 18">
            <a:extLst>
              <a:ext uri="{FF2B5EF4-FFF2-40B4-BE49-F238E27FC236}">
                <a16:creationId xmlns:a16="http://schemas.microsoft.com/office/drawing/2014/main" id="{7E7D868A-0E8B-764C-8C52-424420724E4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0880" y="3525520"/>
            <a:ext cx="10718800" cy="2820819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EEC78485-1F34-1A42-A952-1B257326FE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1072" y="1029246"/>
            <a:ext cx="5218608" cy="239975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6530993-1F72-884D-8E35-C68C02D78784}"/>
              </a:ext>
            </a:extLst>
          </p:cNvPr>
          <p:cNvCxnSpPr>
            <a:cxnSpLocks/>
          </p:cNvCxnSpPr>
          <p:nvPr userDrawn="1"/>
        </p:nvCxnSpPr>
        <p:spPr>
          <a:xfrm>
            <a:off x="670560" y="6356499"/>
            <a:ext cx="107391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5702664-7B33-F342-BD6E-7632CC81CC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392" y="1033189"/>
            <a:ext cx="5136440" cy="2395074"/>
          </a:xfr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55329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Vertical Primary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C0FCD67-1E61-A541-94F3-DF6A9DAC8F1A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578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Vertical Primar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8C37AE7-11B7-CB48-BBF8-9C0F23120258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935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Vertical Secondary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1A1EB04-9B08-C64B-964C-B9CBE73619AA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394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6E6F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D1E8CEA-59CA-420E-955C-4C9FBA24773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cxnSp>
        <p:nvCxnSpPr>
          <p:cNvPr id="12" name="TopLine">
            <a:extLst>
              <a:ext uri="{FF2B5EF4-FFF2-40B4-BE49-F238E27FC236}">
                <a16:creationId xmlns:a16="http://schemas.microsoft.com/office/drawing/2014/main" id="{635549FC-38C3-4CC5-B96D-AA6DDD6A45A9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331238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12359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Vertical Secondary S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84BB479-2C3C-594C-AEA3-87EA17A682F3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709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Vertical Secondary For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08D3264-D18D-E54D-A675-D3B8AC96A408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120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Vertical Secondary Sal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7C34FD1-0E85-B842-8503-92B49D992D60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939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Horizontal Primary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F535CBC-50D5-9E4E-928E-DA364DEDF3AF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rgbClr val="97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Background setting" title="Sky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3454" y="1126272"/>
            <a:ext cx="12250856" cy="5562955"/>
          </a:xfrm>
          <a:prstGeom prst="rect">
            <a:avLst/>
          </a:prstGeom>
        </p:spPr>
      </p:pic>
      <p:sp>
        <p:nvSpPr>
          <p:cNvPr id="7" name="Rectangle 6" descr="Title Banner" title="Banner">
            <a:extLst>
              <a:ext uri="{FF2B5EF4-FFF2-40B4-BE49-F238E27FC236}">
                <a16:creationId xmlns:a16="http://schemas.microsoft.com/office/drawing/2014/main" id="{6476186F-5713-4BAF-BFF2-BCF600287327}"/>
              </a:ext>
            </a:extLst>
          </p:cNvPr>
          <p:cNvSpPr/>
          <p:nvPr userDrawn="1"/>
        </p:nvSpPr>
        <p:spPr>
          <a:xfrm rot="5400000">
            <a:off x="-406411" y="389693"/>
            <a:ext cx="1136373" cy="323552"/>
          </a:xfrm>
          <a:prstGeom prst="rect">
            <a:avLst/>
          </a:prstGeom>
          <a:solidFill>
            <a:srgbClr val="975D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56764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Horizontal Primar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6147353-67BF-3B4B-A02D-23D3112B5C45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rgbClr val="175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0096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Horizontal Secondary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23B6A48-8DB5-6F43-AE6F-F74B4C6E5A6D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7949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Horizontal Secondary S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2BFCCE-2E03-284D-A6B3-66BBA4049B9D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655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Horizontal Secondary For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12E873-D3FB-D84A-99D9-A8B230D6B8B7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2700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Horizontal Secondary Sal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8E83AD-54A6-E44E-A27D-107015357F7F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476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40D66-9903-4D07-BB13-1FCF4BDC1D67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71150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464573"/>
            <a:ext cx="849680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209399"/>
            <a:ext cx="849680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411245"/>
            <a:ext cx="8496809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5" name="Picture 9">
            <a:extLst>
              <a:ext uri="{FF2B5EF4-FFF2-40B4-BE49-F238E27FC236}">
                <a16:creationId xmlns:a16="http://schemas.microsoft.com/office/drawing/2014/main" id="{5D97C524-2B47-47D0-B7CE-B0920B78EFB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51941" y="398105"/>
            <a:ext cx="3169539" cy="19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1" descr="Government of Canada Logo and symbol, meaning, history, PNG">
            <a:extLst>
              <a:ext uri="{FF2B5EF4-FFF2-40B4-BE49-F238E27FC236}">
                <a16:creationId xmlns:a16="http://schemas.microsoft.com/office/drawing/2014/main" id="{7E132EA8-0EE6-4E78-9DF5-8CB9D0625EE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0845155" y="218289"/>
            <a:ext cx="792110" cy="53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B0CCFFD-47A2-4EC7-AE02-8F838C2E0798}"/>
              </a:ext>
            </a:extLst>
          </p:cNvPr>
          <p:cNvSpPr/>
          <p:nvPr userDrawn="1"/>
        </p:nvSpPr>
        <p:spPr>
          <a:xfrm>
            <a:off x="0" y="6449557"/>
            <a:ext cx="12192000" cy="40844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62586C-D31F-4DA6-91C2-1E725E0D76B4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905383" y="1256943"/>
            <a:ext cx="1731414" cy="173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40D66-9903-4D07-BB13-1FCF4BDC1D67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23087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y with 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 descr="Background scene of sky and ground" title="Background"/>
          <p:cNvGrpSpPr/>
          <p:nvPr userDrawn="1"/>
        </p:nvGrpSpPr>
        <p:grpSpPr>
          <a:xfrm>
            <a:off x="0" y="-29133"/>
            <a:ext cx="12193906" cy="6899535"/>
            <a:chOff x="0" y="-29133"/>
            <a:chExt cx="12193906" cy="6899535"/>
          </a:xfrm>
        </p:grpSpPr>
        <p:pic>
          <p:nvPicPr>
            <p:cNvPr id="9" name="Picture 8" descr="Background setting" title="Sky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299812" y="-29133"/>
              <a:ext cx="9894094" cy="6009363"/>
            </a:xfrm>
            <a:prstGeom prst="rect">
              <a:avLst/>
            </a:prstGeom>
          </p:spPr>
        </p:pic>
        <p:sp>
          <p:nvSpPr>
            <p:cNvPr id="10" name="Rectangle 9" descr="Background setting" title="Ground">
              <a:extLst>
                <a:ext uri="{FF2B5EF4-FFF2-40B4-BE49-F238E27FC236}">
                  <a16:creationId xmlns:a16="http://schemas.microsoft.com/office/drawing/2014/main" id="{6476186F-5713-4BAF-BFF2-BCF600287327}"/>
                </a:ext>
              </a:extLst>
            </p:cNvPr>
            <p:cNvSpPr/>
            <p:nvPr/>
          </p:nvSpPr>
          <p:spPr>
            <a:xfrm>
              <a:off x="0" y="5981450"/>
              <a:ext cx="12192000" cy="888952"/>
            </a:xfrm>
            <a:prstGeom prst="rect">
              <a:avLst/>
            </a:prstGeom>
            <a:solidFill>
              <a:srgbClr val="57AF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11" name="Rectangle 10" descr="Title Banner" title="Banner">
            <a:extLst>
              <a:ext uri="{FF2B5EF4-FFF2-40B4-BE49-F238E27FC236}">
                <a16:creationId xmlns:a16="http://schemas.microsoft.com/office/drawing/2014/main" id="{6476186F-5713-4BAF-BFF2-BCF600287327}"/>
              </a:ext>
            </a:extLst>
          </p:cNvPr>
          <p:cNvSpPr/>
          <p:nvPr userDrawn="1"/>
        </p:nvSpPr>
        <p:spPr>
          <a:xfrm>
            <a:off x="0" y="-6094"/>
            <a:ext cx="2301240" cy="323552"/>
          </a:xfrm>
          <a:prstGeom prst="rect">
            <a:avLst/>
          </a:prstGeom>
          <a:solidFill>
            <a:srgbClr val="975D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412654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EFC6B2C-59AE-A34A-A04E-5C26625ECF0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9925" y="6055995"/>
            <a:ext cx="5405438" cy="73025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Business unit wordmark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8EBEA6-A272-B342-BC0C-587F763563E3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97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52943DCB-28BA-854A-8099-C21033110526}"/>
              </a:ext>
            </a:extLst>
          </p:cNvPr>
          <p:cNvSpPr txBox="1">
            <a:spLocks/>
          </p:cNvSpPr>
          <p:nvPr userDrawn="1"/>
        </p:nvSpPr>
        <p:spPr>
          <a:xfrm>
            <a:off x="11490960" y="63563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175676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6530993-1F72-884D-8E35-C68C02D78784}"/>
              </a:ext>
            </a:extLst>
          </p:cNvPr>
          <p:cNvCxnSpPr>
            <a:cxnSpLocks/>
          </p:cNvCxnSpPr>
          <p:nvPr userDrawn="1"/>
        </p:nvCxnSpPr>
        <p:spPr>
          <a:xfrm>
            <a:off x="670560" y="5963920"/>
            <a:ext cx="10739120" cy="0"/>
          </a:xfrm>
          <a:prstGeom prst="line">
            <a:avLst/>
          </a:prstGeom>
          <a:ln>
            <a:solidFill>
              <a:srgbClr val="975D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460FC3A-41E8-AF4F-8D90-A1D2B95E17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392" y="1340768"/>
            <a:ext cx="5136440" cy="1341472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4A973D91-4AF1-914D-96FE-65597632D4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392" y="692696"/>
            <a:ext cx="3992563" cy="415925"/>
          </a:xfrm>
        </p:spPr>
        <p:txBody>
          <a:bodyPr anchor="ctr">
            <a:noAutofit/>
          </a:bodyPr>
          <a:lstStyle>
            <a:lvl1pPr marL="0" indent="0">
              <a:buNone/>
              <a:defRPr sz="3500" b="1">
                <a:solidFill>
                  <a:srgbClr val="175676"/>
                </a:solidFill>
              </a:defRPr>
            </a:lvl1pPr>
          </a:lstStyle>
          <a:p>
            <a:pPr lvl="0"/>
            <a:r>
              <a:rPr lang="en-US"/>
              <a:t>Heading Level 1</a:t>
            </a:r>
          </a:p>
        </p:txBody>
      </p:sp>
      <p:sp>
        <p:nvSpPr>
          <p:cNvPr id="18" name="Picture Placeholder 18">
            <a:extLst>
              <a:ext uri="{FF2B5EF4-FFF2-40B4-BE49-F238E27FC236}">
                <a16:creationId xmlns:a16="http://schemas.microsoft.com/office/drawing/2014/main" id="{BF30D9A3-DF3A-4549-9A9C-A7D1112CE8D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15125" y="427038"/>
            <a:ext cx="4694238" cy="5536882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762DBDF-AB18-7541-9722-DD04EA01DC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392" y="2936240"/>
            <a:ext cx="3992563" cy="332621"/>
          </a:xfrm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rgbClr val="975DA5"/>
                </a:solidFill>
              </a:defRPr>
            </a:lvl1pPr>
          </a:lstStyle>
          <a:p>
            <a:pPr lvl="0"/>
            <a:r>
              <a:rPr lang="en-US"/>
              <a:t>Heading level 2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31A16E91-CB61-094A-BFE5-57065D7059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392" y="3429000"/>
            <a:ext cx="5136440" cy="14329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13898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0" y="-8467"/>
            <a:ext cx="12192001" cy="6866467"/>
            <a:chOff x="0" y="-8467"/>
            <a:chExt cx="12192001" cy="6866467"/>
          </a:xfrm>
        </p:grpSpPr>
        <p:cxnSp>
          <p:nvCxnSpPr>
            <p:cNvPr id="17" name="Straight Connector 16"/>
            <p:cNvCxnSpPr/>
            <p:nvPr/>
          </p:nvCxnSpPr>
          <p:spPr>
            <a:xfrm flipH="1">
              <a:off x="7220607" y="2869324"/>
              <a:ext cx="4971394" cy="3988676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23"/>
            <p:cNvSpPr/>
            <p:nvPr/>
          </p:nvSpPr>
          <p:spPr>
            <a:xfrm>
              <a:off x="10920248" y="-8467"/>
              <a:ext cx="1268577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Isosceles Triangle 20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3">
                <a:lumMod val="90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 userDrawn="1"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95290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34C5A15-961E-8143-AF5E-DF65C0780F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9925" y="6055995"/>
            <a:ext cx="5405438" cy="73025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Business unit wordmar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3A2CBA9-77C9-4940-9E35-14869671B234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97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110A6C03-402D-F044-AA54-E88799E9068F}"/>
              </a:ext>
            </a:extLst>
          </p:cNvPr>
          <p:cNvSpPr txBox="1">
            <a:spLocks/>
          </p:cNvSpPr>
          <p:nvPr userDrawn="1"/>
        </p:nvSpPr>
        <p:spPr>
          <a:xfrm>
            <a:off x="11490960" y="63563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175676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C3F618-7EE1-0849-8880-CB07A584216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ACA9D62-B93D-4E47-82BD-92DF98775DE4}"/>
              </a:ext>
            </a:extLst>
          </p:cNvPr>
          <p:cNvCxnSpPr>
            <a:cxnSpLocks/>
          </p:cNvCxnSpPr>
          <p:nvPr userDrawn="1"/>
        </p:nvCxnSpPr>
        <p:spPr>
          <a:xfrm>
            <a:off x="670560" y="5963920"/>
            <a:ext cx="10739120" cy="0"/>
          </a:xfrm>
          <a:prstGeom prst="line">
            <a:avLst/>
          </a:prstGeom>
          <a:ln>
            <a:solidFill>
              <a:srgbClr val="975D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A9E92E3-FC7B-A04F-8195-AEEB23D010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392" y="1340768"/>
            <a:ext cx="5136440" cy="27029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4255E1B-8B97-0248-93E4-94954F97B53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392" y="692696"/>
            <a:ext cx="3992563" cy="415925"/>
          </a:xfrm>
        </p:spPr>
        <p:txBody>
          <a:bodyPr anchor="ctr">
            <a:noAutofit/>
          </a:bodyPr>
          <a:lstStyle>
            <a:lvl1pPr marL="0" indent="0">
              <a:buNone/>
              <a:defRPr sz="3500" b="1">
                <a:solidFill>
                  <a:srgbClr val="175676"/>
                </a:solidFill>
              </a:defRPr>
            </a:lvl1pPr>
          </a:lstStyle>
          <a:p>
            <a:pPr lvl="0"/>
            <a:r>
              <a:rPr lang="en-US"/>
              <a:t>Heading Level 1</a:t>
            </a:r>
          </a:p>
        </p:txBody>
      </p:sp>
      <p:sp>
        <p:nvSpPr>
          <p:cNvPr id="17" name="Picture Placeholder 18">
            <a:extLst>
              <a:ext uri="{FF2B5EF4-FFF2-40B4-BE49-F238E27FC236}">
                <a16:creationId xmlns:a16="http://schemas.microsoft.com/office/drawing/2014/main" id="{A6391A65-FFBD-4C4F-8D6D-E2D9E3C2934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15125" y="427038"/>
            <a:ext cx="4694238" cy="5536882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524015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13" indent="0" algn="ctr">
              <a:buNone/>
              <a:defRPr sz="2000"/>
            </a:lvl2pPr>
            <a:lvl3pPr marL="914426" indent="0" algn="ctr">
              <a:buNone/>
              <a:defRPr sz="1800"/>
            </a:lvl3pPr>
            <a:lvl4pPr marL="1371639" indent="0" algn="ctr">
              <a:buNone/>
              <a:defRPr sz="1600"/>
            </a:lvl4pPr>
            <a:lvl5pPr marL="1828852" indent="0" algn="ctr">
              <a:buNone/>
              <a:defRPr sz="1600"/>
            </a:lvl5pPr>
            <a:lvl6pPr marL="2286066" indent="0" algn="ctr">
              <a:buNone/>
              <a:defRPr sz="1600"/>
            </a:lvl6pPr>
            <a:lvl7pPr marL="2743279" indent="0" algn="ctr">
              <a:buNone/>
              <a:defRPr sz="1600"/>
            </a:lvl7pPr>
            <a:lvl8pPr marL="3200493" indent="0" algn="ctr">
              <a:buNone/>
              <a:defRPr sz="1600"/>
            </a:lvl8pPr>
            <a:lvl9pPr marL="36577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A5C4D-C86D-4FC9-BA0B-49A67C11D186}" type="datetimeFigureOut">
              <a:rPr lang="en-US" smtClean="0"/>
              <a:t>6/1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61AC6-978C-4BB7-972B-D67487B1A8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0201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8AC8EB-17C9-4C6E-8F75-0325EE5A2227}" type="datetimeFigureOut">
              <a:rPr lang="en-CA" smtClean="0"/>
              <a:t>2024-06-12</a:t>
            </a:fld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CA"/>
              <a:t>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956FF-E7B4-49D0-9902-94DC5F69C5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56771372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CF5EA8-B3D7-4EB6-BDEF-ED1CD133A7FB}" type="datetime1">
              <a:rPr lang="en-CA" smtClean="0"/>
              <a:t>2024-06-12</a:t>
            </a:fld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FA0C62-F89D-4208-AED3-CEDD7904E43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7274254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13" indent="0" algn="ctr">
              <a:buNone/>
              <a:defRPr sz="2000"/>
            </a:lvl2pPr>
            <a:lvl3pPr marL="914426" indent="0" algn="ctr">
              <a:buNone/>
              <a:defRPr sz="1800"/>
            </a:lvl3pPr>
            <a:lvl4pPr marL="1371639" indent="0" algn="ctr">
              <a:buNone/>
              <a:defRPr sz="1600"/>
            </a:lvl4pPr>
            <a:lvl5pPr marL="1828852" indent="0" algn="ctr">
              <a:buNone/>
              <a:defRPr sz="1600"/>
            </a:lvl5pPr>
            <a:lvl6pPr marL="2286066" indent="0" algn="ctr">
              <a:buNone/>
              <a:defRPr sz="1600"/>
            </a:lvl6pPr>
            <a:lvl7pPr marL="2743279" indent="0" algn="ctr">
              <a:buNone/>
              <a:defRPr sz="1600"/>
            </a:lvl7pPr>
            <a:lvl8pPr marL="3200493" indent="0" algn="ctr">
              <a:buNone/>
              <a:defRPr sz="1600"/>
            </a:lvl8pPr>
            <a:lvl9pPr marL="36577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861AC6-978C-4BB7-972B-D67487B1A8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5892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956FF-E7B4-49D0-9902-94DC5F69C5C1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73658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6457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34727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2807945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FA0C62-F89D-4208-AED3-CEDD7904E43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358642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1 1">
  <p:cSld name="Title and Content 1 1"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25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100"/>
              <a:buFont typeface="Verdana"/>
              <a:buNone/>
              <a:defRPr sz="3733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25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70" lvl="0" indent="-39791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Verdana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1219140" lvl="1" indent="-39791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Verdana"/>
              <a:buChar char="–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828709" lvl="2" indent="-38098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900"/>
              <a:buFont typeface="Verdana"/>
              <a:buChar char="•"/>
              <a:defRPr sz="1600">
                <a:latin typeface="Verdana"/>
                <a:ea typeface="Verdana"/>
                <a:cs typeface="Verdana"/>
                <a:sym typeface="Verdana"/>
              </a:defRPr>
            </a:lvl3pPr>
            <a:lvl4pPr marL="2438278" lvl="3" indent="-37251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Font typeface="Verdana"/>
              <a:buChar char="–"/>
              <a:defRPr sz="1333">
                <a:latin typeface="Verdana"/>
                <a:ea typeface="Verdana"/>
                <a:cs typeface="Verdana"/>
                <a:sym typeface="Verdana"/>
              </a:defRPr>
            </a:lvl4pPr>
            <a:lvl5pPr marL="3047848" lvl="4" indent="-355582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Verdana"/>
              <a:buChar char="»"/>
              <a:defRPr sz="1067">
                <a:latin typeface="Verdana"/>
                <a:ea typeface="Verdana"/>
                <a:cs typeface="Verdana"/>
                <a:sym typeface="Verdana"/>
              </a:defRPr>
            </a:lvl5pPr>
            <a:lvl6pPr marL="3657418" lvl="5" indent="-355582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Verdana"/>
              <a:buChar char="•"/>
              <a:defRPr sz="1067">
                <a:latin typeface="Verdana"/>
                <a:ea typeface="Verdana"/>
                <a:cs typeface="Verdana"/>
                <a:sym typeface="Verdana"/>
              </a:defRPr>
            </a:lvl6pPr>
            <a:lvl7pPr marL="4266987" lvl="6" indent="-355582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Verdana"/>
              <a:buChar char="•"/>
              <a:defRPr sz="1067">
                <a:latin typeface="Verdana"/>
                <a:ea typeface="Verdana"/>
                <a:cs typeface="Verdana"/>
                <a:sym typeface="Verdana"/>
              </a:defRPr>
            </a:lvl7pPr>
            <a:lvl8pPr marL="4876557" lvl="7" indent="-355582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Verdana"/>
              <a:buChar char="•"/>
              <a:defRPr sz="1067">
                <a:latin typeface="Verdana"/>
                <a:ea typeface="Verdana"/>
                <a:cs typeface="Verdana"/>
                <a:sym typeface="Verdana"/>
              </a:defRPr>
            </a:lvl8pPr>
            <a:lvl9pPr marL="5486126" lvl="8" indent="-355582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600"/>
              <a:buFont typeface="Verdana"/>
              <a:buChar char="•"/>
              <a:defRPr sz="1067"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endParaRPr/>
          </a:p>
        </p:txBody>
      </p:sp>
      <p:sp>
        <p:nvSpPr>
          <p:cNvPr id="142" name="Google Shape;142;p25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3" name="Google Shape;143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52669" y="74600"/>
            <a:ext cx="1259967" cy="438667"/>
          </a:xfrm>
          <a:prstGeom prst="rect">
            <a:avLst/>
          </a:prstGeom>
          <a:noFill/>
          <a:ln>
            <a:noFill/>
          </a:ln>
        </p:spPr>
      </p:pic>
      <p:sp>
        <p:nvSpPr>
          <p:cNvPr id="144" name="Google Shape;144;p25"/>
          <p:cNvSpPr/>
          <p:nvPr/>
        </p:nvSpPr>
        <p:spPr>
          <a:xfrm>
            <a:off x="394600" y="6013933"/>
            <a:ext cx="11500400" cy="4388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42953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6/1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0704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6E6F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D1E8CEA-59CA-420E-955C-4C9FBA24773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cxnSp>
        <p:nvCxnSpPr>
          <p:cNvPr id="12" name="TopLine">
            <a:extLst>
              <a:ext uri="{FF2B5EF4-FFF2-40B4-BE49-F238E27FC236}">
                <a16:creationId xmlns:a16="http://schemas.microsoft.com/office/drawing/2014/main" id="{635549FC-38C3-4CC5-B96D-AA6DDD6A45A9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331238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2055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759C215-8651-D249-81AE-0BE6656DDF6B}"/>
              </a:ext>
            </a:extLst>
          </p:cNvPr>
          <p:cNvSpPr/>
          <p:nvPr/>
        </p:nvSpPr>
        <p:spPr>
          <a:xfrm>
            <a:off x="11887200" y="0"/>
            <a:ext cx="304800" cy="6858000"/>
          </a:xfrm>
          <a:prstGeom prst="rect">
            <a:avLst/>
          </a:prstGeom>
          <a:solidFill>
            <a:srgbClr val="1A5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  <p:sp>
        <p:nvSpPr>
          <p:cNvPr id="11" name="Rectangle 10"/>
          <p:cNvSpPr/>
          <p:nvPr/>
        </p:nvSpPr>
        <p:spPr>
          <a:xfrm>
            <a:off x="11739701" y="0"/>
            <a:ext cx="46672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25" b="0" i="1">
                <a:latin typeface="Verdana"/>
                <a:cs typeface="Verdana"/>
              </a:defRPr>
            </a:lvl1pPr>
          </a:lstStyle>
          <a:p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38497" y="6451058"/>
            <a:ext cx="2844800" cy="270421"/>
          </a:xfrm>
        </p:spPr>
        <p:txBody>
          <a:bodyPr/>
          <a:lstStyle>
            <a:lvl1pPr>
              <a:defRPr/>
            </a:lvl1pPr>
          </a:lstStyle>
          <a:p>
            <a:fld id="{233B1418-639E-4819-A29C-859506D41FEE}" type="slidenum">
              <a:rPr lang="en-CA" smtClean="0"/>
              <a:t>‹#›</a:t>
            </a:fld>
            <a:endParaRPr lang="en-CA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34963" y="18000"/>
            <a:ext cx="11390312" cy="12636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17567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54412" y="6041682"/>
            <a:ext cx="11598489" cy="42860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CA" sz="180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1540" y="370524"/>
            <a:ext cx="641154" cy="641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8314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747642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C9E8B204-4560-4601-AED0-F679268E30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51941" y="398105"/>
            <a:ext cx="3169539" cy="19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" descr="Government of Canada Logo and symbol, meaning, history, PNG">
            <a:extLst>
              <a:ext uri="{FF2B5EF4-FFF2-40B4-BE49-F238E27FC236}">
                <a16:creationId xmlns:a16="http://schemas.microsoft.com/office/drawing/2014/main" id="{8568E5B9-28E7-4351-920F-4FD9BC7B3E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0845155" y="218289"/>
            <a:ext cx="792110" cy="53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E97CE8A-2868-4740-ACA3-ED5570B2E44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914900" y="2246521"/>
            <a:ext cx="2365453" cy="2359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082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50096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3BF4FA4-A668-1540-87E3-C0FDD8D1F6C9}"/>
              </a:ext>
            </a:extLst>
          </p:cNvPr>
          <p:cNvGrpSpPr/>
          <p:nvPr userDrawn="1"/>
        </p:nvGrpSpPr>
        <p:grpSpPr>
          <a:xfrm>
            <a:off x="868387" y="159487"/>
            <a:ext cx="10357821" cy="766132"/>
            <a:chOff x="868387" y="159487"/>
            <a:chExt cx="10357821" cy="766132"/>
          </a:xfrm>
        </p:grpSpPr>
        <p:sp>
          <p:nvSpPr>
            <p:cNvPr id="5" name="object 2">
              <a:extLst>
                <a:ext uri="{FF2B5EF4-FFF2-40B4-BE49-F238E27FC236}">
                  <a16:creationId xmlns:a16="http://schemas.microsoft.com/office/drawing/2014/main" id="{6DC29ED9-8FEB-10DF-E5C9-1DE2EAA9D6C8}"/>
                </a:ext>
              </a:extLst>
            </p:cNvPr>
            <p:cNvSpPr/>
            <p:nvPr/>
          </p:nvSpPr>
          <p:spPr>
            <a:xfrm>
              <a:off x="868387" y="319584"/>
              <a:ext cx="10040968" cy="606035"/>
            </a:xfrm>
            <a:prstGeom prst="rect">
              <a:avLst/>
            </a:prstGeom>
            <a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A14856C-0AF2-92BF-6AA0-7AE0FBB0FF0A}"/>
                </a:ext>
              </a:extLst>
            </p:cNvPr>
            <p:cNvSpPr txBox="1"/>
            <p:nvPr/>
          </p:nvSpPr>
          <p:spPr>
            <a:xfrm>
              <a:off x="9498418" y="159487"/>
              <a:ext cx="172779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8" name="Picture 7" descr="Chart&#10;&#10;Description automatically generated">
            <a:extLst>
              <a:ext uri="{FF2B5EF4-FFF2-40B4-BE49-F238E27FC236}">
                <a16:creationId xmlns:a16="http://schemas.microsoft.com/office/drawing/2014/main" id="{C8A4CE18-893C-55AC-D8FD-33C848E957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r="2604"/>
          <a:stretch/>
        </p:blipFill>
        <p:spPr>
          <a:xfrm>
            <a:off x="9498418" y="319584"/>
            <a:ext cx="1827857" cy="1812188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865724" y="5878664"/>
            <a:ext cx="8496809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en-US" sz="1600" dirty="0">
                <a:latin typeface="Aptos" panose="020B0004020202020204" pitchFamily="34" charset="0"/>
              </a:defRPr>
            </a:lvl1pPr>
          </a:lstStyle>
          <a:p>
            <a:pPr marL="228600" lvl="0" indent="-228600"/>
            <a:r>
              <a:rPr lang="en-US"/>
              <a:t>Edit dat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66865" y="4601364"/>
            <a:ext cx="1036750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en-US" sz="2000" dirty="0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marL="228600" lvl="0" indent="-228600"/>
            <a:r>
              <a:rPr lang="en-US"/>
              <a:t>Click to edit subtitle (if applicable)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866865" y="3793444"/>
            <a:ext cx="10367505" cy="6133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68A28149-6731-94E8-F1DE-DB0225C44B73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865724" y="5162500"/>
            <a:ext cx="8496809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en-US" sz="1600" dirty="0">
                <a:latin typeface="Aptos" panose="020B0004020202020204" pitchFamily="34" charset="0"/>
              </a:defRPr>
            </a:lvl1pPr>
          </a:lstStyle>
          <a:p>
            <a:pPr marL="228600" lvl="0" indent="-228600"/>
            <a:r>
              <a:rPr lang="en-US"/>
              <a:t>Insert Directorate</a:t>
            </a:r>
          </a:p>
        </p:txBody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A6AD5441-FBC4-D8CE-A981-34B0AB6BF5BC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865724" y="5408721"/>
            <a:ext cx="8496809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en-US" sz="1600" dirty="0">
                <a:latin typeface="Aptos" panose="020B0004020202020204" pitchFamily="34" charset="0"/>
              </a:defRPr>
            </a:lvl1pPr>
          </a:lstStyle>
          <a:p>
            <a:pPr marL="228600" lvl="0" indent="-228600"/>
            <a:r>
              <a:rPr lang="en-US"/>
              <a:t>Insert Branch</a:t>
            </a:r>
          </a:p>
        </p:txBody>
      </p:sp>
    </p:spTree>
    <p:extLst>
      <p:ext uri="{BB962C8B-B14F-4D97-AF65-F5344CB8AC3E}">
        <p14:creationId xmlns:p14="http://schemas.microsoft.com/office/powerpoint/2010/main" val="26788094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24-25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1A1EB04-9B08-C64B-964C-B9CBE73619AA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39CA3257-771A-7D6C-5980-57771120A1E4}"/>
              </a:ext>
            </a:extLst>
          </p:cNvPr>
          <p:cNvSpPr/>
          <p:nvPr userDrawn="1"/>
        </p:nvSpPr>
        <p:spPr>
          <a:xfrm>
            <a:off x="3181" y="4442779"/>
            <a:ext cx="12005939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0">
                <a:schemeClr val="bg1"/>
              </a:gs>
              <a:gs pos="0">
                <a:schemeClr val="accent3">
                  <a:lumMod val="20000"/>
                  <a:lumOff val="80000"/>
                </a:schemeClr>
              </a:gs>
              <a:gs pos="100000">
                <a:schemeClr val="accent3">
                  <a:lumMod val="40000"/>
                  <a:lumOff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AAD513D-0B97-6C80-20AC-D9C0F8EFE568}"/>
              </a:ext>
            </a:extLst>
          </p:cNvPr>
          <p:cNvGrpSpPr/>
          <p:nvPr userDrawn="1"/>
        </p:nvGrpSpPr>
        <p:grpSpPr>
          <a:xfrm>
            <a:off x="11131940" y="222189"/>
            <a:ext cx="668425" cy="634003"/>
            <a:chOff x="3973603" y="4088488"/>
            <a:chExt cx="1484852" cy="1414145"/>
          </a:xfrm>
        </p:grpSpPr>
        <p:sp>
          <p:nvSpPr>
            <p:cNvPr id="13" name="Pentagon 12">
              <a:extLst>
                <a:ext uri="{FF2B5EF4-FFF2-40B4-BE49-F238E27FC236}">
                  <a16:creationId xmlns:a16="http://schemas.microsoft.com/office/drawing/2014/main" id="{8EA90218-E859-F2EE-7E4B-791F7916E6B3}"/>
                </a:ext>
              </a:extLst>
            </p:cNvPr>
            <p:cNvSpPr/>
            <p:nvPr/>
          </p:nvSpPr>
          <p:spPr>
            <a:xfrm rot="5453">
              <a:off x="3973603" y="4088488"/>
              <a:ext cx="1484852" cy="1414145"/>
            </a:xfrm>
            <a:prstGeom prst="pentagon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2700">
              <a:solidFill>
                <a:schemeClr val="accent3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4" name="Graphic 13" descr="Group brainstorm with solid fill">
              <a:extLst>
                <a:ext uri="{FF2B5EF4-FFF2-40B4-BE49-F238E27FC236}">
                  <a16:creationId xmlns:a16="http://schemas.microsoft.com/office/drawing/2014/main" id="{483666CE-B30F-437D-1579-1C354A151830}"/>
                </a:ext>
              </a:extLst>
            </p:cNvPr>
            <p:cNvPicPr/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183555" y="4330498"/>
              <a:ext cx="1064948" cy="1045764"/>
            </a:xfrm>
            <a:prstGeom prst="rect">
              <a:avLst/>
            </a:prstGeom>
          </p:spPr>
        </p:pic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7ACFA44-2E66-DAFA-538A-AAF7EFB484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6110" b="25461"/>
          <a:stretch/>
        </p:blipFill>
        <p:spPr>
          <a:xfrm rot="16200000">
            <a:off x="10758604" y="19204"/>
            <a:ext cx="1249804" cy="1255044"/>
          </a:xfrm>
          <a:custGeom>
            <a:avLst/>
            <a:gdLst>
              <a:gd name="connsiteX0" fmla="*/ 0 w 997147"/>
              <a:gd name="connsiteY0" fmla="*/ 0 h 995205"/>
              <a:gd name="connsiteX1" fmla="*/ 997147 w 997147"/>
              <a:gd name="connsiteY1" fmla="*/ 0 h 995205"/>
              <a:gd name="connsiteX2" fmla="*/ 997147 w 997147"/>
              <a:gd name="connsiteY2" fmla="*/ 995205 h 995205"/>
              <a:gd name="connsiteX3" fmla="*/ 0 w 997147"/>
              <a:gd name="connsiteY3" fmla="*/ 995205 h 995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7147" h="995205">
                <a:moveTo>
                  <a:pt x="0" y="0"/>
                </a:moveTo>
                <a:lnTo>
                  <a:pt x="997147" y="0"/>
                </a:lnTo>
                <a:lnTo>
                  <a:pt x="997147" y="995205"/>
                </a:lnTo>
                <a:lnTo>
                  <a:pt x="0" y="995205"/>
                </a:lnTo>
                <a:close/>
              </a:path>
            </a:pathLst>
          </a:custGeom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954BC262-8681-6447-9CBD-21B26C8F5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5" name="Title 10">
            <a:extLst>
              <a:ext uri="{FF2B5EF4-FFF2-40B4-BE49-F238E27FC236}">
                <a16:creationId xmlns:a16="http://schemas.microsoft.com/office/drawing/2014/main" id="{28A07FCD-070B-F18F-E79F-D69170614B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8" name="Content Placeholder 13">
            <a:extLst>
              <a:ext uri="{FF2B5EF4-FFF2-40B4-BE49-F238E27FC236}">
                <a16:creationId xmlns:a16="http://schemas.microsoft.com/office/drawing/2014/main" id="{3C58D9F3-4AAF-B241-B8F9-2966397D005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9" name="Content Placeholder 13">
            <a:extLst>
              <a:ext uri="{FF2B5EF4-FFF2-40B4-BE49-F238E27FC236}">
                <a16:creationId xmlns:a16="http://schemas.microsoft.com/office/drawing/2014/main" id="{2905461A-8CF5-91CA-FC8D-85340948DDD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64412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035765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24-25 horizont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23B6A48-8DB5-6F43-AE6F-F74B4C6E5A6D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351C1722-AEAC-0AE7-3989-4C264735EB63}"/>
              </a:ext>
            </a:extLst>
          </p:cNvPr>
          <p:cNvSpPr/>
          <p:nvPr userDrawn="1"/>
        </p:nvSpPr>
        <p:spPr>
          <a:xfrm>
            <a:off x="0" y="4247692"/>
            <a:ext cx="12192000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0">
                <a:schemeClr val="bg1"/>
              </a:gs>
              <a:gs pos="0">
                <a:schemeClr val="accent3">
                  <a:lumMod val="20000"/>
                  <a:lumOff val="80000"/>
                </a:schemeClr>
              </a:gs>
              <a:gs pos="100000">
                <a:schemeClr val="accent3">
                  <a:lumMod val="40000"/>
                  <a:lumOff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51A8A67-BE21-3F44-D64C-6DAC099DDF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6110" b="25461"/>
          <a:stretch/>
        </p:blipFill>
        <p:spPr>
          <a:xfrm rot="16200000">
            <a:off x="10939576" y="24172"/>
            <a:ext cx="1249804" cy="1255044"/>
          </a:xfrm>
          <a:custGeom>
            <a:avLst/>
            <a:gdLst>
              <a:gd name="connsiteX0" fmla="*/ 0 w 997147"/>
              <a:gd name="connsiteY0" fmla="*/ 0 h 995205"/>
              <a:gd name="connsiteX1" fmla="*/ 997147 w 997147"/>
              <a:gd name="connsiteY1" fmla="*/ 0 h 995205"/>
              <a:gd name="connsiteX2" fmla="*/ 997147 w 997147"/>
              <a:gd name="connsiteY2" fmla="*/ 995205 h 995205"/>
              <a:gd name="connsiteX3" fmla="*/ 0 w 997147"/>
              <a:gd name="connsiteY3" fmla="*/ 995205 h 995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7147" h="995205">
                <a:moveTo>
                  <a:pt x="0" y="0"/>
                </a:moveTo>
                <a:lnTo>
                  <a:pt x="997147" y="0"/>
                </a:lnTo>
                <a:lnTo>
                  <a:pt x="997147" y="995205"/>
                </a:lnTo>
                <a:lnTo>
                  <a:pt x="0" y="995205"/>
                </a:lnTo>
                <a:close/>
              </a:path>
            </a:pathLst>
          </a:cu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44FCB474-A8E0-65C6-9AB0-57D27D67865B}"/>
              </a:ext>
            </a:extLst>
          </p:cNvPr>
          <p:cNvGrpSpPr/>
          <p:nvPr userDrawn="1"/>
        </p:nvGrpSpPr>
        <p:grpSpPr>
          <a:xfrm>
            <a:off x="11312912" y="268214"/>
            <a:ext cx="668425" cy="634003"/>
            <a:chOff x="3973603" y="4088488"/>
            <a:chExt cx="1484852" cy="1414145"/>
          </a:xfrm>
        </p:grpSpPr>
        <p:sp>
          <p:nvSpPr>
            <p:cNvPr id="7" name="Pentagon 6">
              <a:extLst>
                <a:ext uri="{FF2B5EF4-FFF2-40B4-BE49-F238E27FC236}">
                  <a16:creationId xmlns:a16="http://schemas.microsoft.com/office/drawing/2014/main" id="{449BF475-577C-2E6B-13E9-D89D9CB5A8F6}"/>
                </a:ext>
              </a:extLst>
            </p:cNvPr>
            <p:cNvSpPr/>
            <p:nvPr/>
          </p:nvSpPr>
          <p:spPr>
            <a:xfrm rot="5453">
              <a:off x="3973603" y="4088488"/>
              <a:ext cx="1484852" cy="1414145"/>
            </a:xfrm>
            <a:prstGeom prst="pentagon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2700">
              <a:solidFill>
                <a:schemeClr val="accent3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8" name="Graphic 7" descr="Group brainstorm with solid fill">
              <a:extLst>
                <a:ext uri="{FF2B5EF4-FFF2-40B4-BE49-F238E27FC236}">
                  <a16:creationId xmlns:a16="http://schemas.microsoft.com/office/drawing/2014/main" id="{7DDCD274-2190-0B05-BF88-A0C8E0E39487}"/>
                </a:ext>
              </a:extLst>
            </p:cNvPr>
            <p:cNvPicPr/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183555" y="4330498"/>
              <a:ext cx="1064948" cy="1045764"/>
            </a:xfrm>
            <a:prstGeom prst="rect">
              <a:avLst/>
            </a:prstGeom>
          </p:spPr>
        </p:pic>
      </p:grp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9212B8A-3744-8D14-2AD8-6711372F65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EB088277-7EBF-EDB2-6198-D822EF811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E817F89E-8EFD-A704-C2D7-E182332B823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71B50B9F-A97A-9E29-5DA1-615556FC27B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397109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24-25 vertical lin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1A1EB04-9B08-C64B-964C-B9CBE73619AA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39CA3257-771A-7D6C-5980-57771120A1E4}"/>
              </a:ext>
            </a:extLst>
          </p:cNvPr>
          <p:cNvSpPr/>
          <p:nvPr userDrawn="1"/>
        </p:nvSpPr>
        <p:spPr>
          <a:xfrm>
            <a:off x="3181" y="4442779"/>
            <a:ext cx="12005939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0">
                <a:schemeClr val="bg1"/>
              </a:gs>
              <a:gs pos="0">
                <a:schemeClr val="bg1">
                  <a:lumMod val="95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AAD513D-0B97-6C80-20AC-D9C0F8EFE568}"/>
              </a:ext>
            </a:extLst>
          </p:cNvPr>
          <p:cNvGrpSpPr/>
          <p:nvPr userDrawn="1"/>
        </p:nvGrpSpPr>
        <p:grpSpPr>
          <a:xfrm>
            <a:off x="11131940" y="222189"/>
            <a:ext cx="668425" cy="634003"/>
            <a:chOff x="3973603" y="4088488"/>
            <a:chExt cx="1484852" cy="1414145"/>
          </a:xfrm>
        </p:grpSpPr>
        <p:sp>
          <p:nvSpPr>
            <p:cNvPr id="13" name="Pentagon 12">
              <a:extLst>
                <a:ext uri="{FF2B5EF4-FFF2-40B4-BE49-F238E27FC236}">
                  <a16:creationId xmlns:a16="http://schemas.microsoft.com/office/drawing/2014/main" id="{8EA90218-E859-F2EE-7E4B-791F7916E6B3}"/>
                </a:ext>
              </a:extLst>
            </p:cNvPr>
            <p:cNvSpPr/>
            <p:nvPr/>
          </p:nvSpPr>
          <p:spPr>
            <a:xfrm rot="5453">
              <a:off x="3973603" y="4088488"/>
              <a:ext cx="1484852" cy="1414145"/>
            </a:xfrm>
            <a:prstGeom prst="pentagon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2700">
              <a:solidFill>
                <a:schemeClr val="accent3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4" name="Graphic 13" descr="Group brainstorm with solid fill">
              <a:extLst>
                <a:ext uri="{FF2B5EF4-FFF2-40B4-BE49-F238E27FC236}">
                  <a16:creationId xmlns:a16="http://schemas.microsoft.com/office/drawing/2014/main" id="{483666CE-B30F-437D-1579-1C354A151830}"/>
                </a:ext>
              </a:extLst>
            </p:cNvPr>
            <p:cNvPicPr/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183555" y="4330498"/>
              <a:ext cx="1064948" cy="1045764"/>
            </a:xfrm>
            <a:prstGeom prst="rect">
              <a:avLst/>
            </a:prstGeom>
          </p:spPr>
        </p:pic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7ACFA44-2E66-DAFA-538A-AAF7EFB484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6110" b="25461"/>
          <a:stretch/>
        </p:blipFill>
        <p:spPr>
          <a:xfrm rot="16200000">
            <a:off x="10758604" y="19204"/>
            <a:ext cx="1249804" cy="1255044"/>
          </a:xfrm>
          <a:custGeom>
            <a:avLst/>
            <a:gdLst>
              <a:gd name="connsiteX0" fmla="*/ 0 w 997147"/>
              <a:gd name="connsiteY0" fmla="*/ 0 h 995205"/>
              <a:gd name="connsiteX1" fmla="*/ 997147 w 997147"/>
              <a:gd name="connsiteY1" fmla="*/ 0 h 995205"/>
              <a:gd name="connsiteX2" fmla="*/ 997147 w 997147"/>
              <a:gd name="connsiteY2" fmla="*/ 995205 h 995205"/>
              <a:gd name="connsiteX3" fmla="*/ 0 w 997147"/>
              <a:gd name="connsiteY3" fmla="*/ 995205 h 995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7147" h="995205">
                <a:moveTo>
                  <a:pt x="0" y="0"/>
                </a:moveTo>
                <a:lnTo>
                  <a:pt x="997147" y="0"/>
                </a:lnTo>
                <a:lnTo>
                  <a:pt x="997147" y="995205"/>
                </a:lnTo>
                <a:lnTo>
                  <a:pt x="0" y="995205"/>
                </a:lnTo>
                <a:close/>
              </a:path>
            </a:pathLst>
          </a:custGeom>
        </p:spPr>
      </p:pic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51FA55CB-C7AF-C9EC-A49B-A4B2A8407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23" name="Title 10">
            <a:extLst>
              <a:ext uri="{FF2B5EF4-FFF2-40B4-BE49-F238E27FC236}">
                <a16:creationId xmlns:a16="http://schemas.microsoft.com/office/drawing/2014/main" id="{E969C993-D5A3-332A-9904-68FC0E61F2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24" name="Content Placeholder 13">
            <a:extLst>
              <a:ext uri="{FF2B5EF4-FFF2-40B4-BE49-F238E27FC236}">
                <a16:creationId xmlns:a16="http://schemas.microsoft.com/office/drawing/2014/main" id="{BE7341B6-C6FE-5AC4-C323-08B9189DC2D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25" name="Content Placeholder 13">
            <a:extLst>
              <a:ext uri="{FF2B5EF4-FFF2-40B4-BE49-F238E27FC236}">
                <a16:creationId xmlns:a16="http://schemas.microsoft.com/office/drawing/2014/main" id="{68F99836-3249-DB41-BB7F-E1C179B8893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2097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24-25 horizontal lin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23B6A48-8DB5-6F43-AE6F-F74B4C6E5A6D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351C1722-AEAC-0AE7-3989-4C264735EB63}"/>
              </a:ext>
            </a:extLst>
          </p:cNvPr>
          <p:cNvSpPr/>
          <p:nvPr userDrawn="1"/>
        </p:nvSpPr>
        <p:spPr>
          <a:xfrm>
            <a:off x="0" y="4247692"/>
            <a:ext cx="12192000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0">
                <a:schemeClr val="bg1"/>
              </a:gs>
              <a:gs pos="0">
                <a:schemeClr val="bg1">
                  <a:lumMod val="95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51A8A67-BE21-3F44-D64C-6DAC099DDF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6110" b="25461"/>
          <a:stretch/>
        </p:blipFill>
        <p:spPr>
          <a:xfrm rot="16200000">
            <a:off x="10939576" y="24172"/>
            <a:ext cx="1249804" cy="1255044"/>
          </a:xfrm>
          <a:custGeom>
            <a:avLst/>
            <a:gdLst>
              <a:gd name="connsiteX0" fmla="*/ 0 w 997147"/>
              <a:gd name="connsiteY0" fmla="*/ 0 h 995205"/>
              <a:gd name="connsiteX1" fmla="*/ 997147 w 997147"/>
              <a:gd name="connsiteY1" fmla="*/ 0 h 995205"/>
              <a:gd name="connsiteX2" fmla="*/ 997147 w 997147"/>
              <a:gd name="connsiteY2" fmla="*/ 995205 h 995205"/>
              <a:gd name="connsiteX3" fmla="*/ 0 w 997147"/>
              <a:gd name="connsiteY3" fmla="*/ 995205 h 995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7147" h="995205">
                <a:moveTo>
                  <a:pt x="0" y="0"/>
                </a:moveTo>
                <a:lnTo>
                  <a:pt x="997147" y="0"/>
                </a:lnTo>
                <a:lnTo>
                  <a:pt x="997147" y="995205"/>
                </a:lnTo>
                <a:lnTo>
                  <a:pt x="0" y="995205"/>
                </a:lnTo>
                <a:close/>
              </a:path>
            </a:pathLst>
          </a:cu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44FCB474-A8E0-65C6-9AB0-57D27D67865B}"/>
              </a:ext>
            </a:extLst>
          </p:cNvPr>
          <p:cNvGrpSpPr/>
          <p:nvPr userDrawn="1"/>
        </p:nvGrpSpPr>
        <p:grpSpPr>
          <a:xfrm>
            <a:off x="11312912" y="268214"/>
            <a:ext cx="668425" cy="634003"/>
            <a:chOff x="3973603" y="4088488"/>
            <a:chExt cx="1484852" cy="1414145"/>
          </a:xfrm>
        </p:grpSpPr>
        <p:sp>
          <p:nvSpPr>
            <p:cNvPr id="7" name="Pentagon 6">
              <a:extLst>
                <a:ext uri="{FF2B5EF4-FFF2-40B4-BE49-F238E27FC236}">
                  <a16:creationId xmlns:a16="http://schemas.microsoft.com/office/drawing/2014/main" id="{449BF475-577C-2E6B-13E9-D89D9CB5A8F6}"/>
                </a:ext>
              </a:extLst>
            </p:cNvPr>
            <p:cNvSpPr/>
            <p:nvPr/>
          </p:nvSpPr>
          <p:spPr>
            <a:xfrm rot="5453">
              <a:off x="3973603" y="4088488"/>
              <a:ext cx="1484852" cy="1414145"/>
            </a:xfrm>
            <a:prstGeom prst="pentagon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2700">
              <a:solidFill>
                <a:schemeClr val="accent3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8" name="Graphic 7" descr="Group brainstorm with solid fill">
              <a:extLst>
                <a:ext uri="{FF2B5EF4-FFF2-40B4-BE49-F238E27FC236}">
                  <a16:creationId xmlns:a16="http://schemas.microsoft.com/office/drawing/2014/main" id="{7DDCD274-2190-0B05-BF88-A0C8E0E39487}"/>
                </a:ext>
              </a:extLst>
            </p:cNvPr>
            <p:cNvPicPr/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183555" y="4330498"/>
              <a:ext cx="1064948" cy="1045764"/>
            </a:xfrm>
            <a:prstGeom prst="rect">
              <a:avLst/>
            </a:prstGeom>
          </p:spPr>
        </p:pic>
      </p:grp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BFC164CD-0A9B-44C3-53F5-2CCE7547B39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9" name="Title 10">
            <a:extLst>
              <a:ext uri="{FF2B5EF4-FFF2-40B4-BE49-F238E27FC236}">
                <a16:creationId xmlns:a16="http://schemas.microsoft.com/office/drawing/2014/main" id="{C8BF701E-79CA-611E-324D-7620AD513D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20" name="Content Placeholder 13">
            <a:extLst>
              <a:ext uri="{FF2B5EF4-FFF2-40B4-BE49-F238E27FC236}">
                <a16:creationId xmlns:a16="http://schemas.microsoft.com/office/drawing/2014/main" id="{22104C12-6F12-4D42-4AFA-4937978856E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21" name="Content Placeholder 13">
            <a:extLst>
              <a:ext uri="{FF2B5EF4-FFF2-40B4-BE49-F238E27FC236}">
                <a16:creationId xmlns:a16="http://schemas.microsoft.com/office/drawing/2014/main" id="{42FBD7F1-3362-AD5C-BAA8-755190A7CD6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390633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84BB479-2C3C-594C-AEA3-87EA17A682F3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CE56E5CC-F683-EE4A-8B7D-F8BE986503B7}"/>
              </a:ext>
            </a:extLst>
          </p:cNvPr>
          <p:cNvSpPr/>
          <p:nvPr userDrawn="1"/>
        </p:nvSpPr>
        <p:spPr>
          <a:xfrm>
            <a:off x="0" y="4445699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0">
                <a:srgbClr val="FAE4E0"/>
              </a:gs>
              <a:gs pos="0">
                <a:srgbClr val="DDEFF4"/>
              </a:gs>
              <a:gs pos="100000">
                <a:srgbClr val="FEEDD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9C1E044-1E26-004E-A622-23CF65AA0B19}"/>
              </a:ext>
            </a:extLst>
          </p:cNvPr>
          <p:cNvPicPr/>
          <p:nvPr userDrawn="1"/>
        </p:nvPicPr>
        <p:blipFill>
          <a:blip r:embed="rId2"/>
          <a:srcRect r="25772" b="25461"/>
          <a:stretch>
            <a:fillRect/>
          </a:stretch>
        </p:blipFill>
        <p:spPr>
          <a:xfrm rot="16200000">
            <a:off x="10758604" y="24172"/>
            <a:ext cx="1249804" cy="1255043"/>
          </a:xfrm>
          <a:custGeom>
            <a:avLst/>
            <a:gdLst>
              <a:gd name="connsiteX0" fmla="*/ 0 w 991050"/>
              <a:gd name="connsiteY0" fmla="*/ 0 h 995204"/>
              <a:gd name="connsiteX1" fmla="*/ 991050 w 991050"/>
              <a:gd name="connsiteY1" fmla="*/ 0 h 995204"/>
              <a:gd name="connsiteX2" fmla="*/ 991050 w 991050"/>
              <a:gd name="connsiteY2" fmla="*/ 995204 h 995204"/>
              <a:gd name="connsiteX3" fmla="*/ 0 w 991050"/>
              <a:gd name="connsiteY3" fmla="*/ 995204 h 995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1050" h="995204">
                <a:moveTo>
                  <a:pt x="0" y="0"/>
                </a:moveTo>
                <a:lnTo>
                  <a:pt x="991050" y="0"/>
                </a:lnTo>
                <a:lnTo>
                  <a:pt x="991050" y="995204"/>
                </a:lnTo>
                <a:lnTo>
                  <a:pt x="0" y="995204"/>
                </a:lnTo>
                <a:close/>
              </a:path>
            </a:pathLst>
          </a:custGeom>
        </p:spPr>
      </p:pic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F2C9333-F716-70ED-199B-3E01B557FBBF}"/>
              </a:ext>
            </a:extLst>
          </p:cNvPr>
          <p:cNvGrpSpPr/>
          <p:nvPr userDrawn="1"/>
        </p:nvGrpSpPr>
        <p:grpSpPr>
          <a:xfrm>
            <a:off x="11132946" y="221129"/>
            <a:ext cx="668425" cy="634003"/>
            <a:chOff x="11124152" y="268744"/>
            <a:chExt cx="1484852" cy="1414145"/>
          </a:xfrm>
        </p:grpSpPr>
        <p:sp>
          <p:nvSpPr>
            <p:cNvPr id="10" name="Pentagon 9">
              <a:extLst>
                <a:ext uri="{FF2B5EF4-FFF2-40B4-BE49-F238E27FC236}">
                  <a16:creationId xmlns:a16="http://schemas.microsoft.com/office/drawing/2014/main" id="{8C967E27-1B3A-D70F-C781-7DA55F4A65B1}"/>
                </a:ext>
              </a:extLst>
            </p:cNvPr>
            <p:cNvSpPr/>
            <p:nvPr/>
          </p:nvSpPr>
          <p:spPr>
            <a:xfrm rot="5453">
              <a:off x="11124152" y="268744"/>
              <a:ext cx="1484852" cy="1414145"/>
            </a:xfrm>
            <a:prstGeom prst="pentagon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>
              <a:solidFill>
                <a:schemeClr val="accent4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" name="Graphic 3" descr="Lightbulb and gear with solid fill">
              <a:extLst>
                <a:ext uri="{FF2B5EF4-FFF2-40B4-BE49-F238E27FC236}">
                  <a16:creationId xmlns:a16="http://schemas.microsoft.com/office/drawing/2014/main" id="{E6C4A304-48A2-6301-CA67-23666D545FE0}"/>
                </a:ext>
              </a:extLst>
            </p:cNvPr>
            <p:cNvPicPr/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409647" y="609422"/>
              <a:ext cx="931174" cy="914400"/>
            </a:xfrm>
            <a:prstGeom prst="rect">
              <a:avLst/>
            </a:prstGeom>
          </p:spPr>
        </p:pic>
      </p:grp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B4B8AEC0-2159-89F3-5B9E-B0841DFCDEB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7" name="Title 10">
            <a:extLst>
              <a:ext uri="{FF2B5EF4-FFF2-40B4-BE49-F238E27FC236}">
                <a16:creationId xmlns:a16="http://schemas.microsoft.com/office/drawing/2014/main" id="{6DC71DE5-8F5F-170A-5A1D-CD7D2D82ED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8" name="Content Placeholder 13">
            <a:extLst>
              <a:ext uri="{FF2B5EF4-FFF2-40B4-BE49-F238E27FC236}">
                <a16:creationId xmlns:a16="http://schemas.microsoft.com/office/drawing/2014/main" id="{FFC5E110-3BCB-CD5D-BB10-C70DA0660E1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078645FE-A3E9-991A-6814-DE8B843A15C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17406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 horizont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2BFCCE-2E03-284D-A6B3-66BBA4049B9D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94B6D05F-0DC5-5E16-FE8F-8C2ADF2DBBED}"/>
              </a:ext>
            </a:extLst>
          </p:cNvPr>
          <p:cNvSpPr/>
          <p:nvPr userDrawn="1"/>
        </p:nvSpPr>
        <p:spPr>
          <a:xfrm>
            <a:off x="0" y="4247692"/>
            <a:ext cx="12192000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0">
                <a:srgbClr val="FAE4E0"/>
              </a:gs>
              <a:gs pos="0">
                <a:srgbClr val="DDEFF4"/>
              </a:gs>
              <a:gs pos="100000">
                <a:srgbClr val="FEEDD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5FF8171-5C9A-2F10-2FD4-9BBD84958490}"/>
              </a:ext>
            </a:extLst>
          </p:cNvPr>
          <p:cNvGrpSpPr/>
          <p:nvPr userDrawn="1"/>
        </p:nvGrpSpPr>
        <p:grpSpPr>
          <a:xfrm>
            <a:off x="11305125" y="268744"/>
            <a:ext cx="668425" cy="634003"/>
            <a:chOff x="11124152" y="268744"/>
            <a:chExt cx="1484852" cy="1414145"/>
          </a:xfrm>
        </p:grpSpPr>
        <p:sp>
          <p:nvSpPr>
            <p:cNvPr id="5" name="Pentagon 4">
              <a:extLst>
                <a:ext uri="{FF2B5EF4-FFF2-40B4-BE49-F238E27FC236}">
                  <a16:creationId xmlns:a16="http://schemas.microsoft.com/office/drawing/2014/main" id="{297B573E-0CA8-63E7-59DA-7FAD0502913E}"/>
                </a:ext>
              </a:extLst>
            </p:cNvPr>
            <p:cNvSpPr/>
            <p:nvPr/>
          </p:nvSpPr>
          <p:spPr>
            <a:xfrm rot="5453">
              <a:off x="11124152" y="268744"/>
              <a:ext cx="1484852" cy="1414145"/>
            </a:xfrm>
            <a:prstGeom prst="pentagon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>
              <a:solidFill>
                <a:schemeClr val="accent4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7" name="Graphic 3" descr="Lightbulb and gear with solid fill">
              <a:extLst>
                <a:ext uri="{FF2B5EF4-FFF2-40B4-BE49-F238E27FC236}">
                  <a16:creationId xmlns:a16="http://schemas.microsoft.com/office/drawing/2014/main" id="{3C2E31DA-B0FE-322F-7656-E421ECF29175}"/>
                </a:ext>
              </a:extLst>
            </p:cNvPr>
            <p:cNvPicPr/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409647" y="609422"/>
              <a:ext cx="931174" cy="914400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FBC48CF-5F8B-B2D8-557F-7AE5882BE3C3}"/>
              </a:ext>
            </a:extLst>
          </p:cNvPr>
          <p:cNvPicPr/>
          <p:nvPr userDrawn="1"/>
        </p:nvPicPr>
        <p:blipFill>
          <a:blip r:embed="rId4"/>
          <a:srcRect r="25772" b="25461"/>
          <a:stretch>
            <a:fillRect/>
          </a:stretch>
        </p:blipFill>
        <p:spPr>
          <a:xfrm rot="16200000">
            <a:off x="10939577" y="24172"/>
            <a:ext cx="1249804" cy="1255043"/>
          </a:xfrm>
          <a:custGeom>
            <a:avLst/>
            <a:gdLst>
              <a:gd name="connsiteX0" fmla="*/ 0 w 991050"/>
              <a:gd name="connsiteY0" fmla="*/ 0 h 995204"/>
              <a:gd name="connsiteX1" fmla="*/ 991050 w 991050"/>
              <a:gd name="connsiteY1" fmla="*/ 0 h 995204"/>
              <a:gd name="connsiteX2" fmla="*/ 991050 w 991050"/>
              <a:gd name="connsiteY2" fmla="*/ 995204 h 995204"/>
              <a:gd name="connsiteX3" fmla="*/ 0 w 991050"/>
              <a:gd name="connsiteY3" fmla="*/ 995204 h 995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1050" h="995204">
                <a:moveTo>
                  <a:pt x="0" y="0"/>
                </a:moveTo>
                <a:lnTo>
                  <a:pt x="991050" y="0"/>
                </a:lnTo>
                <a:lnTo>
                  <a:pt x="991050" y="995204"/>
                </a:lnTo>
                <a:lnTo>
                  <a:pt x="0" y="995204"/>
                </a:lnTo>
                <a:close/>
              </a:path>
            </a:pathLst>
          </a:custGeom>
        </p:spPr>
      </p:pic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C9251C6-9347-E3A8-16AE-5B10A2BF97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7" name="Title 10">
            <a:extLst>
              <a:ext uri="{FF2B5EF4-FFF2-40B4-BE49-F238E27FC236}">
                <a16:creationId xmlns:a16="http://schemas.microsoft.com/office/drawing/2014/main" id="{C3EBD240-786F-3893-703F-9FE07C7725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8" name="Content Placeholder 13">
            <a:extLst>
              <a:ext uri="{FF2B5EF4-FFF2-40B4-BE49-F238E27FC236}">
                <a16:creationId xmlns:a16="http://schemas.microsoft.com/office/drawing/2014/main" id="{61320A01-2B8B-61AF-987B-5F57CEF283A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F671A0CC-0ACC-E922-0C9E-CCBA2261288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6713249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 vertical lin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84BB479-2C3C-594C-AEA3-87EA17A682F3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CE56E5CC-F683-EE4A-8B7D-F8BE986503B7}"/>
              </a:ext>
            </a:extLst>
          </p:cNvPr>
          <p:cNvSpPr/>
          <p:nvPr userDrawn="1"/>
        </p:nvSpPr>
        <p:spPr>
          <a:xfrm>
            <a:off x="0" y="4445699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0">
                <a:schemeClr val="bg1"/>
              </a:gs>
              <a:gs pos="0">
                <a:schemeClr val="bg1">
                  <a:lumMod val="95000"/>
                </a:schemeClr>
              </a:gs>
              <a:gs pos="100000">
                <a:srgbClr val="FEEDD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9C1E044-1E26-004E-A622-23CF65AA0B19}"/>
              </a:ext>
            </a:extLst>
          </p:cNvPr>
          <p:cNvPicPr/>
          <p:nvPr userDrawn="1"/>
        </p:nvPicPr>
        <p:blipFill>
          <a:blip r:embed="rId2"/>
          <a:srcRect r="25772" b="25461"/>
          <a:stretch>
            <a:fillRect/>
          </a:stretch>
        </p:blipFill>
        <p:spPr>
          <a:xfrm rot="16200000">
            <a:off x="10758604" y="24172"/>
            <a:ext cx="1249804" cy="1255043"/>
          </a:xfrm>
          <a:custGeom>
            <a:avLst/>
            <a:gdLst>
              <a:gd name="connsiteX0" fmla="*/ 0 w 991050"/>
              <a:gd name="connsiteY0" fmla="*/ 0 h 995204"/>
              <a:gd name="connsiteX1" fmla="*/ 991050 w 991050"/>
              <a:gd name="connsiteY1" fmla="*/ 0 h 995204"/>
              <a:gd name="connsiteX2" fmla="*/ 991050 w 991050"/>
              <a:gd name="connsiteY2" fmla="*/ 995204 h 995204"/>
              <a:gd name="connsiteX3" fmla="*/ 0 w 991050"/>
              <a:gd name="connsiteY3" fmla="*/ 995204 h 995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1050" h="995204">
                <a:moveTo>
                  <a:pt x="0" y="0"/>
                </a:moveTo>
                <a:lnTo>
                  <a:pt x="991050" y="0"/>
                </a:lnTo>
                <a:lnTo>
                  <a:pt x="991050" y="995204"/>
                </a:lnTo>
                <a:lnTo>
                  <a:pt x="0" y="995204"/>
                </a:lnTo>
                <a:close/>
              </a:path>
            </a:pathLst>
          </a:custGeom>
        </p:spPr>
      </p:pic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F2C9333-F716-70ED-199B-3E01B557FBBF}"/>
              </a:ext>
            </a:extLst>
          </p:cNvPr>
          <p:cNvGrpSpPr/>
          <p:nvPr userDrawn="1"/>
        </p:nvGrpSpPr>
        <p:grpSpPr>
          <a:xfrm>
            <a:off x="11132946" y="221129"/>
            <a:ext cx="668425" cy="634003"/>
            <a:chOff x="11124152" y="268744"/>
            <a:chExt cx="1484852" cy="1414145"/>
          </a:xfrm>
        </p:grpSpPr>
        <p:sp>
          <p:nvSpPr>
            <p:cNvPr id="10" name="Pentagon 9">
              <a:extLst>
                <a:ext uri="{FF2B5EF4-FFF2-40B4-BE49-F238E27FC236}">
                  <a16:creationId xmlns:a16="http://schemas.microsoft.com/office/drawing/2014/main" id="{8C967E27-1B3A-D70F-C781-7DA55F4A65B1}"/>
                </a:ext>
              </a:extLst>
            </p:cNvPr>
            <p:cNvSpPr/>
            <p:nvPr/>
          </p:nvSpPr>
          <p:spPr>
            <a:xfrm rot="5453">
              <a:off x="11124152" y="268744"/>
              <a:ext cx="1484852" cy="1414145"/>
            </a:xfrm>
            <a:prstGeom prst="pentagon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>
              <a:solidFill>
                <a:schemeClr val="accent4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" name="Graphic 3" descr="Lightbulb and gear with solid fill">
              <a:extLst>
                <a:ext uri="{FF2B5EF4-FFF2-40B4-BE49-F238E27FC236}">
                  <a16:creationId xmlns:a16="http://schemas.microsoft.com/office/drawing/2014/main" id="{E6C4A304-48A2-6301-CA67-23666D545FE0}"/>
                </a:ext>
              </a:extLst>
            </p:cNvPr>
            <p:cNvPicPr/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409647" y="609422"/>
              <a:ext cx="931174" cy="914400"/>
            </a:xfrm>
            <a:prstGeom prst="rect">
              <a:avLst/>
            </a:prstGeom>
          </p:spPr>
        </p:pic>
      </p:grp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65403E0-DF61-3400-C827-4367C1B5C0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5" name="Title 10">
            <a:extLst>
              <a:ext uri="{FF2B5EF4-FFF2-40B4-BE49-F238E27FC236}">
                <a16:creationId xmlns:a16="http://schemas.microsoft.com/office/drawing/2014/main" id="{9D533DFD-7CC6-FE37-C4CF-5D911E21F3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6" name="Content Placeholder 13">
            <a:extLst>
              <a:ext uri="{FF2B5EF4-FFF2-40B4-BE49-F238E27FC236}">
                <a16:creationId xmlns:a16="http://schemas.microsoft.com/office/drawing/2014/main" id="{16CD6836-0113-F6A4-286B-D0C027ECFB5F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150288AD-6B95-EFA1-FF7D-0E825FA7570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45234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 horizontal lin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2BFCCE-2E03-284D-A6B3-66BBA4049B9D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94B6D05F-0DC5-5E16-FE8F-8C2ADF2DBBED}"/>
              </a:ext>
            </a:extLst>
          </p:cNvPr>
          <p:cNvSpPr/>
          <p:nvPr userDrawn="1"/>
        </p:nvSpPr>
        <p:spPr>
          <a:xfrm>
            <a:off x="0" y="4247692"/>
            <a:ext cx="12192000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0">
                <a:schemeClr val="bg1"/>
              </a:gs>
              <a:gs pos="0">
                <a:schemeClr val="bg1">
                  <a:lumMod val="95000"/>
                </a:schemeClr>
              </a:gs>
              <a:gs pos="100000">
                <a:srgbClr val="FEEDD2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5FF8171-5C9A-2F10-2FD4-9BBD84958490}"/>
              </a:ext>
            </a:extLst>
          </p:cNvPr>
          <p:cNvGrpSpPr/>
          <p:nvPr userDrawn="1"/>
        </p:nvGrpSpPr>
        <p:grpSpPr>
          <a:xfrm>
            <a:off x="11305125" y="268744"/>
            <a:ext cx="668425" cy="634003"/>
            <a:chOff x="11124152" y="268744"/>
            <a:chExt cx="1484852" cy="1414145"/>
          </a:xfrm>
        </p:grpSpPr>
        <p:sp>
          <p:nvSpPr>
            <p:cNvPr id="5" name="Pentagon 4">
              <a:extLst>
                <a:ext uri="{FF2B5EF4-FFF2-40B4-BE49-F238E27FC236}">
                  <a16:creationId xmlns:a16="http://schemas.microsoft.com/office/drawing/2014/main" id="{297B573E-0CA8-63E7-59DA-7FAD0502913E}"/>
                </a:ext>
              </a:extLst>
            </p:cNvPr>
            <p:cNvSpPr/>
            <p:nvPr/>
          </p:nvSpPr>
          <p:spPr>
            <a:xfrm rot="5453">
              <a:off x="11124152" y="268744"/>
              <a:ext cx="1484852" cy="1414145"/>
            </a:xfrm>
            <a:prstGeom prst="pentagon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>
              <a:solidFill>
                <a:schemeClr val="accent4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7" name="Graphic 3" descr="Lightbulb and gear with solid fill">
              <a:extLst>
                <a:ext uri="{FF2B5EF4-FFF2-40B4-BE49-F238E27FC236}">
                  <a16:creationId xmlns:a16="http://schemas.microsoft.com/office/drawing/2014/main" id="{3C2E31DA-B0FE-322F-7656-E421ECF29175}"/>
                </a:ext>
              </a:extLst>
            </p:cNvPr>
            <p:cNvPicPr/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409647" y="609422"/>
              <a:ext cx="931174" cy="914400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FBC48CF-5F8B-B2D8-557F-7AE5882BE3C3}"/>
              </a:ext>
            </a:extLst>
          </p:cNvPr>
          <p:cNvPicPr/>
          <p:nvPr userDrawn="1"/>
        </p:nvPicPr>
        <p:blipFill>
          <a:blip r:embed="rId4"/>
          <a:srcRect r="25772" b="25461"/>
          <a:stretch>
            <a:fillRect/>
          </a:stretch>
        </p:blipFill>
        <p:spPr>
          <a:xfrm rot="16200000">
            <a:off x="10939577" y="24172"/>
            <a:ext cx="1249804" cy="1255043"/>
          </a:xfrm>
          <a:custGeom>
            <a:avLst/>
            <a:gdLst>
              <a:gd name="connsiteX0" fmla="*/ 0 w 991050"/>
              <a:gd name="connsiteY0" fmla="*/ 0 h 995204"/>
              <a:gd name="connsiteX1" fmla="*/ 991050 w 991050"/>
              <a:gd name="connsiteY1" fmla="*/ 0 h 995204"/>
              <a:gd name="connsiteX2" fmla="*/ 991050 w 991050"/>
              <a:gd name="connsiteY2" fmla="*/ 995204 h 995204"/>
              <a:gd name="connsiteX3" fmla="*/ 0 w 991050"/>
              <a:gd name="connsiteY3" fmla="*/ 995204 h 995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1050" h="995204">
                <a:moveTo>
                  <a:pt x="0" y="0"/>
                </a:moveTo>
                <a:lnTo>
                  <a:pt x="991050" y="0"/>
                </a:lnTo>
                <a:lnTo>
                  <a:pt x="991050" y="995204"/>
                </a:lnTo>
                <a:lnTo>
                  <a:pt x="0" y="995204"/>
                </a:lnTo>
                <a:close/>
              </a:path>
            </a:pathLst>
          </a:custGeom>
        </p:spPr>
      </p:pic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47AF789-615B-4CA8-58EC-9C9B4B4A179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5" name="Title 10">
            <a:extLst>
              <a:ext uri="{FF2B5EF4-FFF2-40B4-BE49-F238E27FC236}">
                <a16:creationId xmlns:a16="http://schemas.microsoft.com/office/drawing/2014/main" id="{3F098422-955A-9395-9D7F-2E004D63A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6" name="Content Placeholder 13">
            <a:extLst>
              <a:ext uri="{FF2B5EF4-FFF2-40B4-BE49-F238E27FC236}">
                <a16:creationId xmlns:a16="http://schemas.microsoft.com/office/drawing/2014/main" id="{970A606A-C5DD-5DE0-1BEB-83F69F7527D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F79F65B9-EE1D-BAF5-E34C-BECF1FC5549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396232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MO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C0FCD67-1E61-A541-94F3-DF6A9DAC8F1A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A2C5B119-1B4A-3FDA-D295-50AD184A9C6D}"/>
              </a:ext>
            </a:extLst>
          </p:cNvPr>
          <p:cNvSpPr/>
          <p:nvPr userDrawn="1"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AEC3007-45A1-35BA-E4F6-12A46D1B5B36}"/>
              </a:ext>
            </a:extLst>
          </p:cNvPr>
          <p:cNvGrpSpPr/>
          <p:nvPr userDrawn="1"/>
        </p:nvGrpSpPr>
        <p:grpSpPr>
          <a:xfrm>
            <a:off x="11121118" y="222189"/>
            <a:ext cx="668425" cy="634003"/>
            <a:chOff x="11124979" y="272737"/>
            <a:chExt cx="1484852" cy="1414145"/>
          </a:xfrm>
        </p:grpSpPr>
        <p:sp>
          <p:nvSpPr>
            <p:cNvPr id="10" name="Pentagon 9">
              <a:extLst>
                <a:ext uri="{FF2B5EF4-FFF2-40B4-BE49-F238E27FC236}">
                  <a16:creationId xmlns:a16="http://schemas.microsoft.com/office/drawing/2014/main" id="{D4BD86CB-2DAE-EB47-C05E-B1CB67A920AC}"/>
                </a:ext>
              </a:extLst>
            </p:cNvPr>
            <p:cNvSpPr/>
            <p:nvPr/>
          </p:nvSpPr>
          <p:spPr>
            <a:xfrm rot="5453">
              <a:off x="11124979" y="272737"/>
              <a:ext cx="1484852" cy="1414145"/>
            </a:xfrm>
            <a:prstGeom prst="pentagon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>
              <a:solidFill>
                <a:srgbClr val="7030A0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CA"/>
            </a:p>
          </p:txBody>
        </p:sp>
        <p:pic>
          <p:nvPicPr>
            <p:cNvPr id="11" name="Graphic 3" descr="Megaphone1 with solid fill">
              <a:extLst>
                <a:ext uri="{FF2B5EF4-FFF2-40B4-BE49-F238E27FC236}">
                  <a16:creationId xmlns:a16="http://schemas.microsoft.com/office/drawing/2014/main" id="{DD8518AA-72EB-8207-9244-4D13E8E942D9}"/>
                </a:ext>
              </a:extLst>
            </p:cNvPr>
            <p:cNvPicPr/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418868" y="570400"/>
              <a:ext cx="931174" cy="914400"/>
            </a:xfrm>
            <a:prstGeom prst="rect">
              <a:avLst/>
            </a:prstGeom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5DFC9121-A723-3CCC-5576-52A73891DF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7217" b="26406"/>
          <a:stretch/>
        </p:blipFill>
        <p:spPr>
          <a:xfrm rot="16200000">
            <a:off x="10761230" y="43458"/>
            <a:ext cx="1228384" cy="1236421"/>
          </a:xfrm>
          <a:prstGeom prst="rect">
            <a:avLst/>
          </a:pr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9EEC247-575C-78F7-38E8-D2029B3847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5" name="Title 10">
            <a:extLst>
              <a:ext uri="{FF2B5EF4-FFF2-40B4-BE49-F238E27FC236}">
                <a16:creationId xmlns:a16="http://schemas.microsoft.com/office/drawing/2014/main" id="{2813C998-72DA-64C8-EC58-E0CAADE106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6" name="Content Placeholder 13">
            <a:extLst>
              <a:ext uri="{FF2B5EF4-FFF2-40B4-BE49-F238E27FC236}">
                <a16:creationId xmlns:a16="http://schemas.microsoft.com/office/drawing/2014/main" id="{8B202697-412C-8CCB-115D-AB147246DA6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E9512450-A5B1-F49C-2936-B4BF60A3BB8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42857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MO horizont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6147353-67BF-3B4B-A02D-23D3112B5C45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BE7581F6-0C0D-66DC-8CDE-9E7BA2B4C526}"/>
              </a:ext>
            </a:extLst>
          </p:cNvPr>
          <p:cNvSpPr/>
          <p:nvPr userDrawn="1"/>
        </p:nvSpPr>
        <p:spPr>
          <a:xfrm>
            <a:off x="0" y="4247692"/>
            <a:ext cx="12192000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79293E8-F4BC-E93D-7A5A-8FC19644F9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7217" b="26406"/>
          <a:stretch/>
        </p:blipFill>
        <p:spPr>
          <a:xfrm rot="16200000">
            <a:off x="10940975" y="43458"/>
            <a:ext cx="1228384" cy="1236421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C44B160-9C96-1A37-48B0-ED44093C430D}"/>
              </a:ext>
            </a:extLst>
          </p:cNvPr>
          <p:cNvGrpSpPr/>
          <p:nvPr userDrawn="1"/>
        </p:nvGrpSpPr>
        <p:grpSpPr>
          <a:xfrm>
            <a:off x="11313918" y="268214"/>
            <a:ext cx="668425" cy="634003"/>
            <a:chOff x="11124979" y="272737"/>
            <a:chExt cx="1484852" cy="1414145"/>
          </a:xfrm>
        </p:grpSpPr>
        <p:sp>
          <p:nvSpPr>
            <p:cNvPr id="4" name="Pentagon 3">
              <a:extLst>
                <a:ext uri="{FF2B5EF4-FFF2-40B4-BE49-F238E27FC236}">
                  <a16:creationId xmlns:a16="http://schemas.microsoft.com/office/drawing/2014/main" id="{C4333A72-024F-4093-41FB-D7A181D65E06}"/>
                </a:ext>
              </a:extLst>
            </p:cNvPr>
            <p:cNvSpPr/>
            <p:nvPr/>
          </p:nvSpPr>
          <p:spPr>
            <a:xfrm rot="5453">
              <a:off x="11124979" y="272737"/>
              <a:ext cx="1484852" cy="1414145"/>
            </a:xfrm>
            <a:prstGeom prst="pentagon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>
              <a:solidFill>
                <a:srgbClr val="7030A0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CA"/>
            </a:p>
          </p:txBody>
        </p:sp>
        <p:pic>
          <p:nvPicPr>
            <p:cNvPr id="7" name="Graphic 3" descr="Megaphone1 with solid fill">
              <a:extLst>
                <a:ext uri="{FF2B5EF4-FFF2-40B4-BE49-F238E27FC236}">
                  <a16:creationId xmlns:a16="http://schemas.microsoft.com/office/drawing/2014/main" id="{2D9A679C-C27F-DCE7-CF57-D03572F1B063}"/>
                </a:ext>
              </a:extLst>
            </p:cNvPr>
            <p:cNvPicPr/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418868" y="570400"/>
              <a:ext cx="931174" cy="914400"/>
            </a:xfrm>
            <a:prstGeom prst="rect">
              <a:avLst/>
            </a:prstGeom>
          </p:spPr>
        </p:pic>
      </p:grp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2F628077-25B1-EF2F-A654-855F550079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9" name="Title 10">
            <a:extLst>
              <a:ext uri="{FF2B5EF4-FFF2-40B4-BE49-F238E27FC236}">
                <a16:creationId xmlns:a16="http://schemas.microsoft.com/office/drawing/2014/main" id="{4C14EAD5-0AFF-2BFF-2F89-613DB1F09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20" name="Content Placeholder 13">
            <a:extLst>
              <a:ext uri="{FF2B5EF4-FFF2-40B4-BE49-F238E27FC236}">
                <a16:creationId xmlns:a16="http://schemas.microsoft.com/office/drawing/2014/main" id="{E60C8C9B-FFF7-8B3A-F487-1FC8537E91C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21" name="Content Placeholder 13">
            <a:extLst>
              <a:ext uri="{FF2B5EF4-FFF2-40B4-BE49-F238E27FC236}">
                <a16:creationId xmlns:a16="http://schemas.microsoft.com/office/drawing/2014/main" id="{C42A32C6-E38B-AA5F-D358-4BFAC5AC4B9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914057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MO vertical lin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C0FCD67-1E61-A541-94F3-DF6A9DAC8F1A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A2C5B119-1B4A-3FDA-D295-50AD184A9C6D}"/>
              </a:ext>
            </a:extLst>
          </p:cNvPr>
          <p:cNvSpPr/>
          <p:nvPr userDrawn="1"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0">
                <a:schemeClr val="bg1"/>
              </a:gs>
              <a:gs pos="0">
                <a:schemeClr val="bg1">
                  <a:lumMod val="95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AEC3007-45A1-35BA-E4F6-12A46D1B5B36}"/>
              </a:ext>
            </a:extLst>
          </p:cNvPr>
          <p:cNvGrpSpPr/>
          <p:nvPr userDrawn="1"/>
        </p:nvGrpSpPr>
        <p:grpSpPr>
          <a:xfrm>
            <a:off x="11121118" y="222189"/>
            <a:ext cx="668425" cy="634003"/>
            <a:chOff x="11124979" y="272737"/>
            <a:chExt cx="1484852" cy="1414145"/>
          </a:xfrm>
        </p:grpSpPr>
        <p:sp>
          <p:nvSpPr>
            <p:cNvPr id="10" name="Pentagon 9">
              <a:extLst>
                <a:ext uri="{FF2B5EF4-FFF2-40B4-BE49-F238E27FC236}">
                  <a16:creationId xmlns:a16="http://schemas.microsoft.com/office/drawing/2014/main" id="{D4BD86CB-2DAE-EB47-C05E-B1CB67A920AC}"/>
                </a:ext>
              </a:extLst>
            </p:cNvPr>
            <p:cNvSpPr/>
            <p:nvPr/>
          </p:nvSpPr>
          <p:spPr>
            <a:xfrm rot="5453">
              <a:off x="11124979" y="272737"/>
              <a:ext cx="1484852" cy="1414145"/>
            </a:xfrm>
            <a:prstGeom prst="pentagon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>
              <a:solidFill>
                <a:srgbClr val="7030A0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CA"/>
            </a:p>
          </p:txBody>
        </p:sp>
        <p:pic>
          <p:nvPicPr>
            <p:cNvPr id="11" name="Graphic 3" descr="Megaphone1 with solid fill">
              <a:extLst>
                <a:ext uri="{FF2B5EF4-FFF2-40B4-BE49-F238E27FC236}">
                  <a16:creationId xmlns:a16="http://schemas.microsoft.com/office/drawing/2014/main" id="{DD8518AA-72EB-8207-9244-4D13E8E942D9}"/>
                </a:ext>
              </a:extLst>
            </p:cNvPr>
            <p:cNvPicPr/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418868" y="570400"/>
              <a:ext cx="931174" cy="914400"/>
            </a:xfrm>
            <a:prstGeom prst="rect">
              <a:avLst/>
            </a:prstGeom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5DFC9121-A723-3CCC-5576-52A73891DF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7217" b="26406"/>
          <a:stretch/>
        </p:blipFill>
        <p:spPr>
          <a:xfrm rot="16200000">
            <a:off x="10761230" y="43458"/>
            <a:ext cx="1228384" cy="1236421"/>
          </a:xfrm>
          <a:prstGeom prst="rect">
            <a:avLst/>
          </a:pr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DC32E7F-8EDD-8A79-97C3-DE085BBB76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5" name="Title 10">
            <a:extLst>
              <a:ext uri="{FF2B5EF4-FFF2-40B4-BE49-F238E27FC236}">
                <a16:creationId xmlns:a16="http://schemas.microsoft.com/office/drawing/2014/main" id="{70B1D18B-BE2D-70C5-AB13-7AAE48361D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6" name="Content Placeholder 13">
            <a:extLst>
              <a:ext uri="{FF2B5EF4-FFF2-40B4-BE49-F238E27FC236}">
                <a16:creationId xmlns:a16="http://schemas.microsoft.com/office/drawing/2014/main" id="{87C7A97F-11C5-85CD-8DCC-5441996499C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624F47B9-1640-97B1-D843-798E7C50B32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63804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432161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MO horizontal lin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6147353-67BF-3B4B-A02D-23D3112B5C45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BE7581F6-0C0D-66DC-8CDE-9E7BA2B4C526}"/>
              </a:ext>
            </a:extLst>
          </p:cNvPr>
          <p:cNvSpPr/>
          <p:nvPr userDrawn="1"/>
        </p:nvSpPr>
        <p:spPr>
          <a:xfrm>
            <a:off x="0" y="4247692"/>
            <a:ext cx="12192000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0">
                <a:schemeClr val="bg1"/>
              </a:gs>
              <a:gs pos="0">
                <a:schemeClr val="bg1">
                  <a:lumMod val="95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44D0BB5-2BDA-374C-2E0F-F2E38F750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7217" b="26406"/>
          <a:stretch/>
        </p:blipFill>
        <p:spPr>
          <a:xfrm rot="16200000">
            <a:off x="10940975" y="43458"/>
            <a:ext cx="1228384" cy="1236421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F78E24-2E92-7CE5-1715-46D849BD73AC}"/>
              </a:ext>
            </a:extLst>
          </p:cNvPr>
          <p:cNvGrpSpPr/>
          <p:nvPr userDrawn="1"/>
        </p:nvGrpSpPr>
        <p:grpSpPr>
          <a:xfrm>
            <a:off x="11313918" y="268214"/>
            <a:ext cx="668425" cy="634003"/>
            <a:chOff x="11124979" y="272737"/>
            <a:chExt cx="1484852" cy="1414145"/>
          </a:xfrm>
        </p:grpSpPr>
        <p:sp>
          <p:nvSpPr>
            <p:cNvPr id="4" name="Pentagon 3">
              <a:extLst>
                <a:ext uri="{FF2B5EF4-FFF2-40B4-BE49-F238E27FC236}">
                  <a16:creationId xmlns:a16="http://schemas.microsoft.com/office/drawing/2014/main" id="{9397C94C-CF55-17DE-DACD-CB71C1A7A96F}"/>
                </a:ext>
              </a:extLst>
            </p:cNvPr>
            <p:cNvSpPr/>
            <p:nvPr/>
          </p:nvSpPr>
          <p:spPr>
            <a:xfrm rot="5453">
              <a:off x="11124979" y="272737"/>
              <a:ext cx="1484852" cy="1414145"/>
            </a:xfrm>
            <a:prstGeom prst="pentagon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>
              <a:solidFill>
                <a:srgbClr val="7030A0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CA"/>
            </a:p>
          </p:txBody>
        </p:sp>
        <p:pic>
          <p:nvPicPr>
            <p:cNvPr id="7" name="Graphic 3" descr="Megaphone1 with solid fill">
              <a:extLst>
                <a:ext uri="{FF2B5EF4-FFF2-40B4-BE49-F238E27FC236}">
                  <a16:creationId xmlns:a16="http://schemas.microsoft.com/office/drawing/2014/main" id="{36D06509-219A-ABDD-7992-2F4787CBBAD5}"/>
                </a:ext>
              </a:extLst>
            </p:cNvPr>
            <p:cNvPicPr/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418868" y="570400"/>
              <a:ext cx="931174" cy="914400"/>
            </a:xfrm>
            <a:prstGeom prst="rect">
              <a:avLst/>
            </a:prstGeom>
          </p:spPr>
        </p:pic>
      </p:grp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962A01C-0362-BD76-5ADB-23808BE6F8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9" name="Title 10">
            <a:extLst>
              <a:ext uri="{FF2B5EF4-FFF2-40B4-BE49-F238E27FC236}">
                <a16:creationId xmlns:a16="http://schemas.microsoft.com/office/drawing/2014/main" id="{6D3A175F-048E-10FF-7676-01E9B55526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20" name="Content Placeholder 13">
            <a:extLst>
              <a:ext uri="{FF2B5EF4-FFF2-40B4-BE49-F238E27FC236}">
                <a16:creationId xmlns:a16="http://schemas.microsoft.com/office/drawing/2014/main" id="{596913F6-66F0-99A2-FAEF-618A4D49CD2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21" name="Content Placeholder 13">
            <a:extLst>
              <a:ext uri="{FF2B5EF4-FFF2-40B4-BE49-F238E27FC236}">
                <a16:creationId xmlns:a16="http://schemas.microsoft.com/office/drawing/2014/main" id="{6474A272-8674-5C3B-79F7-3DC8AC95BB6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5934704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MO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08D3264-D18D-E54D-A675-D3B8AC96A408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33162FA-58E2-B975-048F-A75885242A17}"/>
              </a:ext>
            </a:extLst>
          </p:cNvPr>
          <p:cNvGrpSpPr>
            <a:grpSpLocks/>
          </p:cNvGrpSpPr>
          <p:nvPr userDrawn="1"/>
        </p:nvGrpSpPr>
        <p:grpSpPr>
          <a:xfrm>
            <a:off x="11121117" y="221659"/>
            <a:ext cx="668425" cy="634003"/>
            <a:chOff x="11121062" y="270113"/>
            <a:chExt cx="1484852" cy="1414145"/>
          </a:xfrm>
        </p:grpSpPr>
        <p:sp>
          <p:nvSpPr>
            <p:cNvPr id="3" name="Pentagon 2">
              <a:extLst>
                <a:ext uri="{FF2B5EF4-FFF2-40B4-BE49-F238E27FC236}">
                  <a16:creationId xmlns:a16="http://schemas.microsoft.com/office/drawing/2014/main" id="{B7D7C902-57F5-0805-5922-8C7636DF0961}"/>
                </a:ext>
              </a:extLst>
            </p:cNvPr>
            <p:cNvSpPr>
              <a:spLocks/>
            </p:cNvSpPr>
            <p:nvPr/>
          </p:nvSpPr>
          <p:spPr>
            <a:xfrm rot="5453">
              <a:off x="11121062" y="270113"/>
              <a:ext cx="1484852" cy="1414145"/>
            </a:xfrm>
            <a:prstGeom prst="pentagon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CA"/>
            </a:p>
          </p:txBody>
        </p:sp>
        <p:pic>
          <p:nvPicPr>
            <p:cNvPr id="5" name="Graphic 3" descr="Cycle with people with solid fill">
              <a:extLst>
                <a:ext uri="{FF2B5EF4-FFF2-40B4-BE49-F238E27FC236}">
                  <a16:creationId xmlns:a16="http://schemas.microsoft.com/office/drawing/2014/main" id="{33343229-DDB1-B226-FF3A-A45058E33D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315493" y="492753"/>
              <a:ext cx="1095990" cy="1076247"/>
            </a:xfrm>
            <a:prstGeom prst="rect">
              <a:avLst/>
            </a:prstGeom>
          </p:spPr>
        </p:pic>
      </p:grpSp>
      <p:sp>
        <p:nvSpPr>
          <p:cNvPr id="7" name="Rectangle 21">
            <a:extLst>
              <a:ext uri="{FF2B5EF4-FFF2-40B4-BE49-F238E27FC236}">
                <a16:creationId xmlns:a16="http://schemas.microsoft.com/office/drawing/2014/main" id="{91F1688A-1471-9907-34C4-9C83A6DDF1A8}"/>
              </a:ext>
            </a:extLst>
          </p:cNvPr>
          <p:cNvSpPr/>
          <p:nvPr userDrawn="1"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DE1291-9C67-3A9A-2C13-C5B3BED1D8A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r="25772" b="25461"/>
          <a:stretch>
            <a:fillRect/>
          </a:stretch>
        </p:blipFill>
        <p:spPr>
          <a:xfrm rot="16200000">
            <a:off x="10758604" y="24172"/>
            <a:ext cx="1249804" cy="1255043"/>
          </a:xfrm>
          <a:custGeom>
            <a:avLst/>
            <a:gdLst>
              <a:gd name="connsiteX0" fmla="*/ 0 w 991051"/>
              <a:gd name="connsiteY0" fmla="*/ 0 h 995205"/>
              <a:gd name="connsiteX1" fmla="*/ 991051 w 991051"/>
              <a:gd name="connsiteY1" fmla="*/ 0 h 995205"/>
              <a:gd name="connsiteX2" fmla="*/ 991051 w 991051"/>
              <a:gd name="connsiteY2" fmla="*/ 995205 h 995205"/>
              <a:gd name="connsiteX3" fmla="*/ 0 w 991051"/>
              <a:gd name="connsiteY3" fmla="*/ 995205 h 995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1051" h="995205">
                <a:moveTo>
                  <a:pt x="0" y="0"/>
                </a:moveTo>
                <a:lnTo>
                  <a:pt x="991051" y="0"/>
                </a:lnTo>
                <a:lnTo>
                  <a:pt x="991051" y="995205"/>
                </a:lnTo>
                <a:lnTo>
                  <a:pt x="0" y="995205"/>
                </a:lnTo>
                <a:close/>
              </a:path>
            </a:pathLst>
          </a:cu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49FDA8B-BD0B-86E5-D218-7F35839746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5" name="Title 10">
            <a:extLst>
              <a:ext uri="{FF2B5EF4-FFF2-40B4-BE49-F238E27FC236}">
                <a16:creationId xmlns:a16="http://schemas.microsoft.com/office/drawing/2014/main" id="{43901719-B4E0-2B16-44E0-C45ED990E3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6" name="Content Placeholder 13">
            <a:extLst>
              <a:ext uri="{FF2B5EF4-FFF2-40B4-BE49-F238E27FC236}">
                <a16:creationId xmlns:a16="http://schemas.microsoft.com/office/drawing/2014/main" id="{88107E9B-2572-B6D8-524E-704F4345475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0B28D494-5F2D-43FB-EF9E-825D46A2260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871527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MO horizont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12E873-D3FB-D84A-99D9-A8B230D6B8B7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5C7E40C4-BA03-838C-596A-B1020A74F9AF}"/>
              </a:ext>
            </a:extLst>
          </p:cNvPr>
          <p:cNvSpPr/>
          <p:nvPr userDrawn="1"/>
        </p:nvSpPr>
        <p:spPr>
          <a:xfrm>
            <a:off x="-1" y="4247692"/>
            <a:ext cx="12192000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1B0EB38-EB05-81C2-7817-88D5FD3B16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25772" b="25461"/>
          <a:stretch>
            <a:fillRect/>
          </a:stretch>
        </p:blipFill>
        <p:spPr>
          <a:xfrm rot="16200000">
            <a:off x="10939577" y="24172"/>
            <a:ext cx="1249804" cy="1255043"/>
          </a:xfrm>
          <a:custGeom>
            <a:avLst/>
            <a:gdLst>
              <a:gd name="connsiteX0" fmla="*/ 0 w 991051"/>
              <a:gd name="connsiteY0" fmla="*/ 0 h 995205"/>
              <a:gd name="connsiteX1" fmla="*/ 991051 w 991051"/>
              <a:gd name="connsiteY1" fmla="*/ 0 h 995205"/>
              <a:gd name="connsiteX2" fmla="*/ 991051 w 991051"/>
              <a:gd name="connsiteY2" fmla="*/ 995205 h 995205"/>
              <a:gd name="connsiteX3" fmla="*/ 0 w 991051"/>
              <a:gd name="connsiteY3" fmla="*/ 995205 h 995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1051" h="995205">
                <a:moveTo>
                  <a:pt x="0" y="0"/>
                </a:moveTo>
                <a:lnTo>
                  <a:pt x="991051" y="0"/>
                </a:lnTo>
                <a:lnTo>
                  <a:pt x="991051" y="995205"/>
                </a:lnTo>
                <a:lnTo>
                  <a:pt x="0" y="995205"/>
                </a:lnTo>
                <a:close/>
              </a:path>
            </a:pathLst>
          </a:cu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EC856B8-7113-2909-32D6-2F1489067F46}"/>
              </a:ext>
            </a:extLst>
          </p:cNvPr>
          <p:cNvGrpSpPr>
            <a:grpSpLocks/>
          </p:cNvGrpSpPr>
          <p:nvPr userDrawn="1"/>
        </p:nvGrpSpPr>
        <p:grpSpPr>
          <a:xfrm>
            <a:off x="11313415" y="268744"/>
            <a:ext cx="668425" cy="634003"/>
            <a:chOff x="11121062" y="270113"/>
            <a:chExt cx="1484852" cy="1414145"/>
          </a:xfrm>
        </p:grpSpPr>
        <p:sp>
          <p:nvSpPr>
            <p:cNvPr id="7" name="Pentagon 6">
              <a:extLst>
                <a:ext uri="{FF2B5EF4-FFF2-40B4-BE49-F238E27FC236}">
                  <a16:creationId xmlns:a16="http://schemas.microsoft.com/office/drawing/2014/main" id="{929B0B6A-F6E9-F8BE-9CC2-B7839EB2FDCF}"/>
                </a:ext>
              </a:extLst>
            </p:cNvPr>
            <p:cNvSpPr>
              <a:spLocks/>
            </p:cNvSpPr>
            <p:nvPr/>
          </p:nvSpPr>
          <p:spPr>
            <a:xfrm rot="5453">
              <a:off x="11121062" y="270113"/>
              <a:ext cx="1484852" cy="1414145"/>
            </a:xfrm>
            <a:prstGeom prst="pentagon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CA"/>
            </a:p>
          </p:txBody>
        </p:sp>
        <p:pic>
          <p:nvPicPr>
            <p:cNvPr id="8" name="Graphic 3" descr="Cycle with people with solid fill">
              <a:extLst>
                <a:ext uri="{FF2B5EF4-FFF2-40B4-BE49-F238E27FC236}">
                  <a16:creationId xmlns:a16="http://schemas.microsoft.com/office/drawing/2014/main" id="{F8086887-2DA3-E820-CA19-4BDAE3AC165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315493" y="492753"/>
              <a:ext cx="1095990" cy="1076247"/>
            </a:xfrm>
            <a:prstGeom prst="rect">
              <a:avLst/>
            </a:prstGeom>
          </p:spPr>
        </p:pic>
      </p:grp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22A333BC-9117-74D3-6DDF-813701491C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5" name="Title 10">
            <a:extLst>
              <a:ext uri="{FF2B5EF4-FFF2-40B4-BE49-F238E27FC236}">
                <a16:creationId xmlns:a16="http://schemas.microsoft.com/office/drawing/2014/main" id="{3110CA2D-8A65-B802-8F4A-13904FFB84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6" name="Content Placeholder 13">
            <a:extLst>
              <a:ext uri="{FF2B5EF4-FFF2-40B4-BE49-F238E27FC236}">
                <a16:creationId xmlns:a16="http://schemas.microsoft.com/office/drawing/2014/main" id="{AA127662-B3C4-D764-DE28-0697C7E704A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469D02DE-A8CE-4528-5F99-E7B5FE148D0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4865017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MO vertical lin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08D3264-D18D-E54D-A675-D3B8AC96A408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33162FA-58E2-B975-048F-A75885242A17}"/>
              </a:ext>
            </a:extLst>
          </p:cNvPr>
          <p:cNvGrpSpPr>
            <a:grpSpLocks/>
          </p:cNvGrpSpPr>
          <p:nvPr userDrawn="1"/>
        </p:nvGrpSpPr>
        <p:grpSpPr>
          <a:xfrm>
            <a:off x="11121117" y="221659"/>
            <a:ext cx="668425" cy="634003"/>
            <a:chOff x="11121062" y="270113"/>
            <a:chExt cx="1484852" cy="1414145"/>
          </a:xfrm>
        </p:grpSpPr>
        <p:sp>
          <p:nvSpPr>
            <p:cNvPr id="3" name="Pentagon 2">
              <a:extLst>
                <a:ext uri="{FF2B5EF4-FFF2-40B4-BE49-F238E27FC236}">
                  <a16:creationId xmlns:a16="http://schemas.microsoft.com/office/drawing/2014/main" id="{B7D7C902-57F5-0805-5922-8C7636DF0961}"/>
                </a:ext>
              </a:extLst>
            </p:cNvPr>
            <p:cNvSpPr>
              <a:spLocks/>
            </p:cNvSpPr>
            <p:nvPr/>
          </p:nvSpPr>
          <p:spPr>
            <a:xfrm rot="5453">
              <a:off x="11121062" y="270113"/>
              <a:ext cx="1484852" cy="1414145"/>
            </a:xfrm>
            <a:prstGeom prst="pentagon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CA"/>
            </a:p>
          </p:txBody>
        </p:sp>
        <p:pic>
          <p:nvPicPr>
            <p:cNvPr id="5" name="Graphic 3" descr="Cycle with people with solid fill">
              <a:extLst>
                <a:ext uri="{FF2B5EF4-FFF2-40B4-BE49-F238E27FC236}">
                  <a16:creationId xmlns:a16="http://schemas.microsoft.com/office/drawing/2014/main" id="{33343229-DDB1-B226-FF3A-A45058E33D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315493" y="492753"/>
              <a:ext cx="1095990" cy="1076247"/>
            </a:xfrm>
            <a:prstGeom prst="rect">
              <a:avLst/>
            </a:prstGeom>
          </p:spPr>
        </p:pic>
      </p:grpSp>
      <p:sp>
        <p:nvSpPr>
          <p:cNvPr id="7" name="Rectangle 21">
            <a:extLst>
              <a:ext uri="{FF2B5EF4-FFF2-40B4-BE49-F238E27FC236}">
                <a16:creationId xmlns:a16="http://schemas.microsoft.com/office/drawing/2014/main" id="{91F1688A-1471-9907-34C4-9C83A6DDF1A8}"/>
              </a:ext>
            </a:extLst>
          </p:cNvPr>
          <p:cNvSpPr/>
          <p:nvPr userDrawn="1"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0">
                <a:schemeClr val="bg1"/>
              </a:gs>
              <a:gs pos="0">
                <a:schemeClr val="bg1">
                  <a:lumMod val="95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6B3045-22C8-3D0E-E88D-BD79D695C1D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r="25772" b="25461"/>
          <a:stretch>
            <a:fillRect/>
          </a:stretch>
        </p:blipFill>
        <p:spPr>
          <a:xfrm rot="16200000">
            <a:off x="10758604" y="24172"/>
            <a:ext cx="1249804" cy="1255043"/>
          </a:xfrm>
          <a:custGeom>
            <a:avLst/>
            <a:gdLst>
              <a:gd name="connsiteX0" fmla="*/ 0 w 991051"/>
              <a:gd name="connsiteY0" fmla="*/ 0 h 995205"/>
              <a:gd name="connsiteX1" fmla="*/ 991051 w 991051"/>
              <a:gd name="connsiteY1" fmla="*/ 0 h 995205"/>
              <a:gd name="connsiteX2" fmla="*/ 991051 w 991051"/>
              <a:gd name="connsiteY2" fmla="*/ 995205 h 995205"/>
              <a:gd name="connsiteX3" fmla="*/ 0 w 991051"/>
              <a:gd name="connsiteY3" fmla="*/ 995205 h 995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1051" h="995205">
                <a:moveTo>
                  <a:pt x="0" y="0"/>
                </a:moveTo>
                <a:lnTo>
                  <a:pt x="991051" y="0"/>
                </a:lnTo>
                <a:lnTo>
                  <a:pt x="991051" y="995205"/>
                </a:lnTo>
                <a:lnTo>
                  <a:pt x="0" y="995205"/>
                </a:lnTo>
                <a:close/>
              </a:path>
            </a:pathLst>
          </a:custGeom>
        </p:spPr>
      </p:pic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480D2479-7D0D-4A72-CFF5-686C591461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9" name="Title 10">
            <a:extLst>
              <a:ext uri="{FF2B5EF4-FFF2-40B4-BE49-F238E27FC236}">
                <a16:creationId xmlns:a16="http://schemas.microsoft.com/office/drawing/2014/main" id="{F9DA71D3-BF9C-E44F-AFF1-D83D0B0DF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20" name="Content Placeholder 13">
            <a:extLst>
              <a:ext uri="{FF2B5EF4-FFF2-40B4-BE49-F238E27FC236}">
                <a16:creationId xmlns:a16="http://schemas.microsoft.com/office/drawing/2014/main" id="{477BEB97-1DE2-6ADD-A723-A8CAAF25DAB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21" name="Content Placeholder 13">
            <a:extLst>
              <a:ext uri="{FF2B5EF4-FFF2-40B4-BE49-F238E27FC236}">
                <a16:creationId xmlns:a16="http://schemas.microsoft.com/office/drawing/2014/main" id="{7BB878B9-962A-E5E7-65B1-D7AA4290878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03258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MO horizontal lin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12E873-D3FB-D84A-99D9-A8B230D6B8B7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5C7E40C4-BA03-838C-596A-B1020A74F9AF}"/>
              </a:ext>
            </a:extLst>
          </p:cNvPr>
          <p:cNvSpPr/>
          <p:nvPr userDrawn="1"/>
        </p:nvSpPr>
        <p:spPr>
          <a:xfrm>
            <a:off x="-1" y="4247692"/>
            <a:ext cx="12192000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50000">
                <a:schemeClr val="bg1"/>
              </a:gs>
              <a:gs pos="100000">
                <a:schemeClr val="accent5">
                  <a:lumMod val="20000"/>
                  <a:lumOff val="8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2EF316-3B47-8F14-43E0-55DBB246FD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r="25772" b="25461"/>
          <a:stretch>
            <a:fillRect/>
          </a:stretch>
        </p:blipFill>
        <p:spPr>
          <a:xfrm rot="16200000">
            <a:off x="10939577" y="24172"/>
            <a:ext cx="1249804" cy="1255043"/>
          </a:xfrm>
          <a:custGeom>
            <a:avLst/>
            <a:gdLst>
              <a:gd name="connsiteX0" fmla="*/ 0 w 991051"/>
              <a:gd name="connsiteY0" fmla="*/ 0 h 995205"/>
              <a:gd name="connsiteX1" fmla="*/ 991051 w 991051"/>
              <a:gd name="connsiteY1" fmla="*/ 0 h 995205"/>
              <a:gd name="connsiteX2" fmla="*/ 991051 w 991051"/>
              <a:gd name="connsiteY2" fmla="*/ 995205 h 995205"/>
              <a:gd name="connsiteX3" fmla="*/ 0 w 991051"/>
              <a:gd name="connsiteY3" fmla="*/ 995205 h 995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1051" h="995205">
                <a:moveTo>
                  <a:pt x="0" y="0"/>
                </a:moveTo>
                <a:lnTo>
                  <a:pt x="991051" y="0"/>
                </a:lnTo>
                <a:lnTo>
                  <a:pt x="991051" y="995205"/>
                </a:lnTo>
                <a:lnTo>
                  <a:pt x="0" y="995205"/>
                </a:lnTo>
                <a:close/>
              </a:path>
            </a:pathLst>
          </a:cu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4406FFA-7358-B582-92B6-82B5EA79692D}"/>
              </a:ext>
            </a:extLst>
          </p:cNvPr>
          <p:cNvGrpSpPr>
            <a:grpSpLocks/>
          </p:cNvGrpSpPr>
          <p:nvPr userDrawn="1"/>
        </p:nvGrpSpPr>
        <p:grpSpPr>
          <a:xfrm>
            <a:off x="11313415" y="268744"/>
            <a:ext cx="668425" cy="634003"/>
            <a:chOff x="11121062" y="270113"/>
            <a:chExt cx="1484852" cy="1414145"/>
          </a:xfrm>
        </p:grpSpPr>
        <p:sp>
          <p:nvSpPr>
            <p:cNvPr id="7" name="Pentagon 6">
              <a:extLst>
                <a:ext uri="{FF2B5EF4-FFF2-40B4-BE49-F238E27FC236}">
                  <a16:creationId xmlns:a16="http://schemas.microsoft.com/office/drawing/2014/main" id="{40CA5848-C349-78E4-ABB9-63ABEE6EC792}"/>
                </a:ext>
              </a:extLst>
            </p:cNvPr>
            <p:cNvSpPr>
              <a:spLocks/>
            </p:cNvSpPr>
            <p:nvPr/>
          </p:nvSpPr>
          <p:spPr>
            <a:xfrm rot="5453">
              <a:off x="11121062" y="270113"/>
              <a:ext cx="1484852" cy="1414145"/>
            </a:xfrm>
            <a:prstGeom prst="pentagon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2700">
              <a:solidFill>
                <a:schemeClr val="accent5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CA"/>
            </a:p>
          </p:txBody>
        </p:sp>
        <p:pic>
          <p:nvPicPr>
            <p:cNvPr id="8" name="Graphic 3" descr="Cycle with people with solid fill">
              <a:extLst>
                <a:ext uri="{FF2B5EF4-FFF2-40B4-BE49-F238E27FC236}">
                  <a16:creationId xmlns:a16="http://schemas.microsoft.com/office/drawing/2014/main" id="{9E00E69F-2E0A-213C-953C-D7A3FFD5834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315493" y="492753"/>
              <a:ext cx="1095990" cy="1076247"/>
            </a:xfrm>
            <a:prstGeom prst="rect">
              <a:avLst/>
            </a:prstGeom>
          </p:spPr>
        </p:pic>
      </p:grp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90E2924-4B1E-2909-8D3A-C692676722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5" name="Title 10">
            <a:extLst>
              <a:ext uri="{FF2B5EF4-FFF2-40B4-BE49-F238E27FC236}">
                <a16:creationId xmlns:a16="http://schemas.microsoft.com/office/drawing/2014/main" id="{60CA44AA-B8C9-9B52-B656-CEE9B21B6C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6" name="Content Placeholder 13">
            <a:extLst>
              <a:ext uri="{FF2B5EF4-FFF2-40B4-BE49-F238E27FC236}">
                <a16:creationId xmlns:a16="http://schemas.microsoft.com/office/drawing/2014/main" id="{5430E11C-B94E-F43E-0FC2-92B70131ED6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2193F717-78A1-B143-45B9-A68EFE91E1F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6445275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zArch vertic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8C37AE7-11B7-CB48-BBF8-9C0F23120258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4D9818A2-1CDB-EE38-3020-32F2E637729D}"/>
              </a:ext>
            </a:extLst>
          </p:cNvPr>
          <p:cNvSpPr/>
          <p:nvPr userDrawn="1"/>
        </p:nvSpPr>
        <p:spPr>
          <a:xfrm>
            <a:off x="3181" y="4442779"/>
            <a:ext cx="12005939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100000">
                <a:schemeClr val="bg1">
                  <a:lumMod val="9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AE07961-2A2A-2D5E-690D-7626CBD9E569}"/>
              </a:ext>
            </a:extLst>
          </p:cNvPr>
          <p:cNvGrpSpPr/>
          <p:nvPr userDrawn="1"/>
        </p:nvGrpSpPr>
        <p:grpSpPr>
          <a:xfrm>
            <a:off x="11132443" y="221659"/>
            <a:ext cx="668425" cy="634003"/>
            <a:chOff x="11125090" y="272507"/>
            <a:chExt cx="1484852" cy="1414145"/>
          </a:xfrm>
        </p:grpSpPr>
        <p:sp>
          <p:nvSpPr>
            <p:cNvPr id="5" name="Pentagon 4">
              <a:extLst>
                <a:ext uri="{FF2B5EF4-FFF2-40B4-BE49-F238E27FC236}">
                  <a16:creationId xmlns:a16="http://schemas.microsoft.com/office/drawing/2014/main" id="{0E3EC3D3-0C92-2BCD-1CD1-D99E41D909B7}"/>
                </a:ext>
              </a:extLst>
            </p:cNvPr>
            <p:cNvSpPr/>
            <p:nvPr/>
          </p:nvSpPr>
          <p:spPr>
            <a:xfrm rot="5453">
              <a:off x="11125090" y="272507"/>
              <a:ext cx="1484852" cy="1414145"/>
            </a:xfrm>
            <a:prstGeom prst="pentagon">
              <a:avLst/>
            </a:prstGeom>
            <a:solidFill>
              <a:schemeClr val="bg2">
                <a:lumMod val="7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CA"/>
            </a:p>
          </p:txBody>
        </p:sp>
        <p:pic>
          <p:nvPicPr>
            <p:cNvPr id="7" name="Graphic 3" descr="Gears with solid fill">
              <a:extLst>
                <a:ext uri="{FF2B5EF4-FFF2-40B4-BE49-F238E27FC236}">
                  <a16:creationId xmlns:a16="http://schemas.microsoft.com/office/drawing/2014/main" id="{C8E2ED38-1F30-B65A-561A-098F88B33100}"/>
                </a:ext>
              </a:extLst>
            </p:cNvPr>
            <p:cNvPicPr/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376773" y="626138"/>
              <a:ext cx="931174" cy="914400"/>
            </a:xfrm>
            <a:prstGeom prst="rect">
              <a:avLst/>
            </a:prstGeom>
          </p:spPr>
        </p:pic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960B6419-3717-0317-DE6F-94CC7E8C77F3}"/>
              </a:ext>
            </a:extLst>
          </p:cNvPr>
          <p:cNvPicPr/>
          <p:nvPr userDrawn="1"/>
        </p:nvPicPr>
        <p:blipFill>
          <a:blip r:embed="rId4"/>
          <a:srcRect r="25772" b="27688"/>
          <a:stretch>
            <a:fillRect/>
          </a:stretch>
        </p:blipFill>
        <p:spPr>
          <a:xfrm rot="16200000">
            <a:off x="10739863" y="42912"/>
            <a:ext cx="1249070" cy="1216828"/>
          </a:xfrm>
          <a:custGeom>
            <a:avLst/>
            <a:gdLst>
              <a:gd name="connsiteX0" fmla="*/ 0 w 991051"/>
              <a:gd name="connsiteY0" fmla="*/ 0 h 965469"/>
              <a:gd name="connsiteX1" fmla="*/ 991051 w 991051"/>
              <a:gd name="connsiteY1" fmla="*/ 0 h 965469"/>
              <a:gd name="connsiteX2" fmla="*/ 991051 w 991051"/>
              <a:gd name="connsiteY2" fmla="*/ 965469 h 965469"/>
              <a:gd name="connsiteX3" fmla="*/ 0 w 991051"/>
              <a:gd name="connsiteY3" fmla="*/ 965469 h 96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1051" h="965469">
                <a:moveTo>
                  <a:pt x="0" y="0"/>
                </a:moveTo>
                <a:lnTo>
                  <a:pt x="991051" y="0"/>
                </a:lnTo>
                <a:lnTo>
                  <a:pt x="991051" y="965469"/>
                </a:lnTo>
                <a:lnTo>
                  <a:pt x="0" y="965469"/>
                </a:lnTo>
                <a:close/>
              </a:path>
            </a:pathLst>
          </a:custGeom>
        </p:spPr>
      </p:pic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5F333DE-2855-5DCF-38D0-EAB1AD2C37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6C5A5EB4-D732-E940-35C7-D6555164DC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6" name="Content Placeholder 13">
            <a:extLst>
              <a:ext uri="{FF2B5EF4-FFF2-40B4-BE49-F238E27FC236}">
                <a16:creationId xmlns:a16="http://schemas.microsoft.com/office/drawing/2014/main" id="{DB6622CD-D6FC-1837-CE15-013504CD822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AA9E9F24-5CD1-289D-6EE7-182891C5145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3595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zArch horizontal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6147353-67BF-3B4B-A02D-23D3112B5C45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C13D6970-C8F7-703C-4D70-B0F4A8CEC804}"/>
              </a:ext>
            </a:extLst>
          </p:cNvPr>
          <p:cNvSpPr/>
          <p:nvPr userDrawn="1"/>
        </p:nvSpPr>
        <p:spPr>
          <a:xfrm>
            <a:off x="0" y="4247692"/>
            <a:ext cx="12192000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100000">
                <a:schemeClr val="bg1">
                  <a:lumMod val="9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05A8CE-1AD7-BF73-DCE9-CD60EF85744E}"/>
              </a:ext>
            </a:extLst>
          </p:cNvPr>
          <p:cNvPicPr/>
          <p:nvPr userDrawn="1"/>
        </p:nvPicPr>
        <p:blipFill>
          <a:blip r:embed="rId2"/>
          <a:srcRect r="25772" b="27688"/>
          <a:stretch>
            <a:fillRect/>
          </a:stretch>
        </p:blipFill>
        <p:spPr>
          <a:xfrm rot="16200000">
            <a:off x="10920835" y="42912"/>
            <a:ext cx="1249070" cy="1216828"/>
          </a:xfrm>
          <a:custGeom>
            <a:avLst/>
            <a:gdLst>
              <a:gd name="connsiteX0" fmla="*/ 0 w 991051"/>
              <a:gd name="connsiteY0" fmla="*/ 0 h 965469"/>
              <a:gd name="connsiteX1" fmla="*/ 991051 w 991051"/>
              <a:gd name="connsiteY1" fmla="*/ 0 h 965469"/>
              <a:gd name="connsiteX2" fmla="*/ 991051 w 991051"/>
              <a:gd name="connsiteY2" fmla="*/ 965469 h 965469"/>
              <a:gd name="connsiteX3" fmla="*/ 0 w 991051"/>
              <a:gd name="connsiteY3" fmla="*/ 965469 h 96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1051" h="965469">
                <a:moveTo>
                  <a:pt x="0" y="0"/>
                </a:moveTo>
                <a:lnTo>
                  <a:pt x="991051" y="0"/>
                </a:lnTo>
                <a:lnTo>
                  <a:pt x="991051" y="965469"/>
                </a:lnTo>
                <a:lnTo>
                  <a:pt x="0" y="965469"/>
                </a:lnTo>
                <a:close/>
              </a:path>
            </a:pathLst>
          </a:cu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369F77DD-FAFC-00C0-5E7B-B654E2B50914}"/>
              </a:ext>
            </a:extLst>
          </p:cNvPr>
          <p:cNvGrpSpPr/>
          <p:nvPr userDrawn="1"/>
        </p:nvGrpSpPr>
        <p:grpSpPr>
          <a:xfrm>
            <a:off x="11313415" y="267684"/>
            <a:ext cx="668425" cy="634003"/>
            <a:chOff x="11125090" y="272507"/>
            <a:chExt cx="1484852" cy="1414145"/>
          </a:xfrm>
        </p:grpSpPr>
        <p:sp>
          <p:nvSpPr>
            <p:cNvPr id="7" name="Pentagon 6">
              <a:extLst>
                <a:ext uri="{FF2B5EF4-FFF2-40B4-BE49-F238E27FC236}">
                  <a16:creationId xmlns:a16="http://schemas.microsoft.com/office/drawing/2014/main" id="{7EBEAB7B-E2BB-0F7E-9ED6-A8B09CA6E708}"/>
                </a:ext>
              </a:extLst>
            </p:cNvPr>
            <p:cNvSpPr/>
            <p:nvPr/>
          </p:nvSpPr>
          <p:spPr>
            <a:xfrm rot="5453">
              <a:off x="11125090" y="272507"/>
              <a:ext cx="1484852" cy="1414145"/>
            </a:xfrm>
            <a:prstGeom prst="pentagon">
              <a:avLst/>
            </a:prstGeom>
            <a:solidFill>
              <a:schemeClr val="bg2">
                <a:lumMod val="7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CA"/>
            </a:p>
          </p:txBody>
        </p:sp>
        <p:pic>
          <p:nvPicPr>
            <p:cNvPr id="8" name="Graphic 3" descr="Gears with solid fill">
              <a:extLst>
                <a:ext uri="{FF2B5EF4-FFF2-40B4-BE49-F238E27FC236}">
                  <a16:creationId xmlns:a16="http://schemas.microsoft.com/office/drawing/2014/main" id="{D8CF8EC0-E60A-835F-19BF-97270E013747}"/>
                </a:ext>
              </a:extLst>
            </p:cNvPr>
            <p:cNvPicPr/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376773" y="626138"/>
              <a:ext cx="931174" cy="914400"/>
            </a:xfrm>
            <a:prstGeom prst="rect">
              <a:avLst/>
            </a:prstGeom>
          </p:spPr>
        </p:pic>
      </p:grp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A4264182-78C3-B4CB-FE59-F91A5F83F15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9" name="Title 10">
            <a:extLst>
              <a:ext uri="{FF2B5EF4-FFF2-40B4-BE49-F238E27FC236}">
                <a16:creationId xmlns:a16="http://schemas.microsoft.com/office/drawing/2014/main" id="{9EBDB584-6494-F8F9-AC9D-FDCC1A727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20" name="Content Placeholder 13">
            <a:extLst>
              <a:ext uri="{FF2B5EF4-FFF2-40B4-BE49-F238E27FC236}">
                <a16:creationId xmlns:a16="http://schemas.microsoft.com/office/drawing/2014/main" id="{AA8442B9-58AA-68F6-6711-317A5215567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21" name="Content Placeholder 13">
            <a:extLst>
              <a:ext uri="{FF2B5EF4-FFF2-40B4-BE49-F238E27FC236}">
                <a16:creationId xmlns:a16="http://schemas.microsoft.com/office/drawing/2014/main" id="{F1CBEA7F-0173-B7DF-0E84-2E50B5E58F2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196933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zArch vertical lin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8C37AE7-11B7-CB48-BBF8-9C0F23120258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4D9818A2-1CDB-EE38-3020-32F2E637729D}"/>
              </a:ext>
            </a:extLst>
          </p:cNvPr>
          <p:cNvSpPr/>
          <p:nvPr userDrawn="1"/>
        </p:nvSpPr>
        <p:spPr>
          <a:xfrm>
            <a:off x="3181" y="4442779"/>
            <a:ext cx="12005939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0">
                <a:schemeClr val="bg1"/>
              </a:gs>
              <a:gs pos="0">
                <a:schemeClr val="accent3">
                  <a:lumMod val="20000"/>
                  <a:lumOff val="80000"/>
                </a:schemeClr>
              </a:gs>
              <a:gs pos="100000">
                <a:schemeClr val="bg1">
                  <a:lumMod val="9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AE07961-2A2A-2D5E-690D-7626CBD9E569}"/>
              </a:ext>
            </a:extLst>
          </p:cNvPr>
          <p:cNvGrpSpPr/>
          <p:nvPr userDrawn="1"/>
        </p:nvGrpSpPr>
        <p:grpSpPr>
          <a:xfrm>
            <a:off x="11132443" y="221659"/>
            <a:ext cx="668425" cy="634003"/>
            <a:chOff x="11125090" y="272507"/>
            <a:chExt cx="1484852" cy="1414145"/>
          </a:xfrm>
        </p:grpSpPr>
        <p:sp>
          <p:nvSpPr>
            <p:cNvPr id="5" name="Pentagon 4">
              <a:extLst>
                <a:ext uri="{FF2B5EF4-FFF2-40B4-BE49-F238E27FC236}">
                  <a16:creationId xmlns:a16="http://schemas.microsoft.com/office/drawing/2014/main" id="{0E3EC3D3-0C92-2BCD-1CD1-D99E41D909B7}"/>
                </a:ext>
              </a:extLst>
            </p:cNvPr>
            <p:cNvSpPr/>
            <p:nvPr/>
          </p:nvSpPr>
          <p:spPr>
            <a:xfrm rot="5453">
              <a:off x="11125090" y="272507"/>
              <a:ext cx="1484852" cy="1414145"/>
            </a:xfrm>
            <a:prstGeom prst="pentagon">
              <a:avLst/>
            </a:prstGeom>
            <a:solidFill>
              <a:schemeClr val="bg2">
                <a:lumMod val="7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CA"/>
            </a:p>
          </p:txBody>
        </p:sp>
        <p:pic>
          <p:nvPicPr>
            <p:cNvPr id="7" name="Graphic 3" descr="Gears with solid fill">
              <a:extLst>
                <a:ext uri="{FF2B5EF4-FFF2-40B4-BE49-F238E27FC236}">
                  <a16:creationId xmlns:a16="http://schemas.microsoft.com/office/drawing/2014/main" id="{C8E2ED38-1F30-B65A-561A-098F88B33100}"/>
                </a:ext>
              </a:extLst>
            </p:cNvPr>
            <p:cNvPicPr/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376773" y="626138"/>
              <a:ext cx="931174" cy="914400"/>
            </a:xfrm>
            <a:prstGeom prst="rect">
              <a:avLst/>
            </a:prstGeom>
          </p:spPr>
        </p:pic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960B6419-3717-0317-DE6F-94CC7E8C77F3}"/>
              </a:ext>
            </a:extLst>
          </p:cNvPr>
          <p:cNvPicPr/>
          <p:nvPr userDrawn="1"/>
        </p:nvPicPr>
        <p:blipFill>
          <a:blip r:embed="rId4"/>
          <a:srcRect r="25772" b="27688"/>
          <a:stretch>
            <a:fillRect/>
          </a:stretch>
        </p:blipFill>
        <p:spPr>
          <a:xfrm rot="16200000">
            <a:off x="10739863" y="42912"/>
            <a:ext cx="1249070" cy="1216828"/>
          </a:xfrm>
          <a:custGeom>
            <a:avLst/>
            <a:gdLst>
              <a:gd name="connsiteX0" fmla="*/ 0 w 991051"/>
              <a:gd name="connsiteY0" fmla="*/ 0 h 965469"/>
              <a:gd name="connsiteX1" fmla="*/ 991051 w 991051"/>
              <a:gd name="connsiteY1" fmla="*/ 0 h 965469"/>
              <a:gd name="connsiteX2" fmla="*/ 991051 w 991051"/>
              <a:gd name="connsiteY2" fmla="*/ 965469 h 965469"/>
              <a:gd name="connsiteX3" fmla="*/ 0 w 991051"/>
              <a:gd name="connsiteY3" fmla="*/ 965469 h 96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1051" h="965469">
                <a:moveTo>
                  <a:pt x="0" y="0"/>
                </a:moveTo>
                <a:lnTo>
                  <a:pt x="991051" y="0"/>
                </a:lnTo>
                <a:lnTo>
                  <a:pt x="991051" y="965469"/>
                </a:lnTo>
                <a:lnTo>
                  <a:pt x="0" y="965469"/>
                </a:lnTo>
                <a:close/>
              </a:path>
            </a:pathLst>
          </a:custGeom>
        </p:spPr>
      </p:pic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F0912AE-3ABC-7280-4631-FA768BF0E1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9" name="Title 10">
            <a:extLst>
              <a:ext uri="{FF2B5EF4-FFF2-40B4-BE49-F238E27FC236}">
                <a16:creationId xmlns:a16="http://schemas.microsoft.com/office/drawing/2014/main" id="{F9B9FE06-6252-3871-694B-4F9ED3A153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20" name="Content Placeholder 13">
            <a:extLst>
              <a:ext uri="{FF2B5EF4-FFF2-40B4-BE49-F238E27FC236}">
                <a16:creationId xmlns:a16="http://schemas.microsoft.com/office/drawing/2014/main" id="{80FD084A-C2AB-7815-D80A-38C05975D88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21" name="Content Placeholder 13">
            <a:extLst>
              <a:ext uri="{FF2B5EF4-FFF2-40B4-BE49-F238E27FC236}">
                <a16:creationId xmlns:a16="http://schemas.microsoft.com/office/drawing/2014/main" id="{4739CDA2-12A9-77D5-14C1-E94B307CE30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25942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zArch horizontal lin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6147353-67BF-3B4B-A02D-23D3112B5C45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21">
            <a:extLst>
              <a:ext uri="{FF2B5EF4-FFF2-40B4-BE49-F238E27FC236}">
                <a16:creationId xmlns:a16="http://schemas.microsoft.com/office/drawing/2014/main" id="{C13D6970-C8F7-703C-4D70-B0F4A8CEC804}"/>
              </a:ext>
            </a:extLst>
          </p:cNvPr>
          <p:cNvSpPr/>
          <p:nvPr userDrawn="1"/>
        </p:nvSpPr>
        <p:spPr>
          <a:xfrm>
            <a:off x="0" y="4247692"/>
            <a:ext cx="12192000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0000">
                <a:schemeClr val="bg1"/>
              </a:gs>
              <a:gs pos="0">
                <a:schemeClr val="accent3">
                  <a:lumMod val="20000"/>
                  <a:lumOff val="80000"/>
                </a:schemeClr>
              </a:gs>
              <a:gs pos="100000">
                <a:schemeClr val="bg1">
                  <a:lumMod val="9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05A8CE-1AD7-BF73-DCE9-CD60EF85744E}"/>
              </a:ext>
            </a:extLst>
          </p:cNvPr>
          <p:cNvPicPr/>
          <p:nvPr userDrawn="1"/>
        </p:nvPicPr>
        <p:blipFill>
          <a:blip r:embed="rId2"/>
          <a:srcRect r="25772" b="27688"/>
          <a:stretch>
            <a:fillRect/>
          </a:stretch>
        </p:blipFill>
        <p:spPr>
          <a:xfrm rot="16200000">
            <a:off x="10920835" y="42912"/>
            <a:ext cx="1249070" cy="1216828"/>
          </a:xfrm>
          <a:custGeom>
            <a:avLst/>
            <a:gdLst>
              <a:gd name="connsiteX0" fmla="*/ 0 w 991051"/>
              <a:gd name="connsiteY0" fmla="*/ 0 h 965469"/>
              <a:gd name="connsiteX1" fmla="*/ 991051 w 991051"/>
              <a:gd name="connsiteY1" fmla="*/ 0 h 965469"/>
              <a:gd name="connsiteX2" fmla="*/ 991051 w 991051"/>
              <a:gd name="connsiteY2" fmla="*/ 965469 h 965469"/>
              <a:gd name="connsiteX3" fmla="*/ 0 w 991051"/>
              <a:gd name="connsiteY3" fmla="*/ 965469 h 965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1051" h="965469">
                <a:moveTo>
                  <a:pt x="0" y="0"/>
                </a:moveTo>
                <a:lnTo>
                  <a:pt x="991051" y="0"/>
                </a:lnTo>
                <a:lnTo>
                  <a:pt x="991051" y="965469"/>
                </a:lnTo>
                <a:lnTo>
                  <a:pt x="0" y="965469"/>
                </a:lnTo>
                <a:close/>
              </a:path>
            </a:pathLst>
          </a:cu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369F77DD-FAFC-00C0-5E7B-B654E2B50914}"/>
              </a:ext>
            </a:extLst>
          </p:cNvPr>
          <p:cNvGrpSpPr/>
          <p:nvPr userDrawn="1"/>
        </p:nvGrpSpPr>
        <p:grpSpPr>
          <a:xfrm>
            <a:off x="11313415" y="267684"/>
            <a:ext cx="668425" cy="634003"/>
            <a:chOff x="11125090" y="272507"/>
            <a:chExt cx="1484852" cy="1414145"/>
          </a:xfrm>
        </p:grpSpPr>
        <p:sp>
          <p:nvSpPr>
            <p:cNvPr id="7" name="Pentagon 6">
              <a:extLst>
                <a:ext uri="{FF2B5EF4-FFF2-40B4-BE49-F238E27FC236}">
                  <a16:creationId xmlns:a16="http://schemas.microsoft.com/office/drawing/2014/main" id="{7EBEAB7B-E2BB-0F7E-9ED6-A8B09CA6E708}"/>
                </a:ext>
              </a:extLst>
            </p:cNvPr>
            <p:cNvSpPr/>
            <p:nvPr/>
          </p:nvSpPr>
          <p:spPr>
            <a:xfrm rot="5453">
              <a:off x="11125090" y="272507"/>
              <a:ext cx="1484852" cy="1414145"/>
            </a:xfrm>
            <a:prstGeom prst="pentagon">
              <a:avLst/>
            </a:prstGeom>
            <a:solidFill>
              <a:schemeClr val="bg2">
                <a:lumMod val="75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CA"/>
            </a:p>
          </p:txBody>
        </p:sp>
        <p:pic>
          <p:nvPicPr>
            <p:cNvPr id="8" name="Graphic 3" descr="Gears with solid fill">
              <a:extLst>
                <a:ext uri="{FF2B5EF4-FFF2-40B4-BE49-F238E27FC236}">
                  <a16:creationId xmlns:a16="http://schemas.microsoft.com/office/drawing/2014/main" id="{D8CF8EC0-E60A-835F-19BF-97270E013747}"/>
                </a:ext>
              </a:extLst>
            </p:cNvPr>
            <p:cNvPicPr/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376773" y="626138"/>
              <a:ext cx="931174" cy="914400"/>
            </a:xfrm>
            <a:prstGeom prst="rect">
              <a:avLst/>
            </a:prstGeom>
          </p:spPr>
        </p:pic>
      </p:grp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CF70533-2FE1-4EAE-E9C4-9ED940818B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DA306684-3D1E-E740-B73C-381C83BB86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55C63FB8-F902-90AB-EB00-C34462693AC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AA065918-79F7-3D5F-2669-DDB67AF4C4F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234793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- Vertical Primar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8C37AE7-11B7-CB48-BBF8-9C0F23120258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CCE80A3-CF6B-E4BF-89DF-9CF9A7A52B3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B15D57B7-1C78-BE2F-8EEF-5E904AB197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D1BFE24B-95F1-A243-C576-8718F77481A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5170E099-1761-180F-8562-4CE0326A0F3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67781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966259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- Vertical Secondary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1A1EB04-9B08-C64B-964C-B9CBE73619AA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B4FAD0E-601F-7873-DB15-76C8714210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2BE9EFF0-5CDF-54F9-CE62-1A7F8FD70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1B66D26B-11F9-9AAD-8515-874E5B054E7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138EF545-7145-559A-70B9-2D4CC9AC6E3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9956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- Vertical Secondary S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84BB479-2C3C-594C-AEA3-87EA17A682F3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193B4BC-7DF5-EDE5-A1E8-A30862EF9E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B3AA2A31-5E35-F059-D82C-EDF9D7F60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FE54F2AF-17A6-FAA6-E615-EC258E2F125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E701E9EE-C5FE-B976-4B3C-D621F94CFA2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07361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Vertical Primary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C0FCD67-1E61-A541-94F3-DF6A9DAC8F1A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12240421-9FA1-56F2-A942-132B2CF80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4" name="Title 10">
            <a:extLst>
              <a:ext uri="{FF2B5EF4-FFF2-40B4-BE49-F238E27FC236}">
                <a16:creationId xmlns:a16="http://schemas.microsoft.com/office/drawing/2014/main" id="{756C4E3F-F448-9921-E441-0EF45D9A1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5" name="Content Placeholder 13">
            <a:extLst>
              <a:ext uri="{FF2B5EF4-FFF2-40B4-BE49-F238E27FC236}">
                <a16:creationId xmlns:a16="http://schemas.microsoft.com/office/drawing/2014/main" id="{44F0ECC4-B4C3-EF01-2880-6E9EE8929ED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6" name="Content Placeholder 13">
            <a:extLst>
              <a:ext uri="{FF2B5EF4-FFF2-40B4-BE49-F238E27FC236}">
                <a16:creationId xmlns:a16="http://schemas.microsoft.com/office/drawing/2014/main" id="{B2781694-4B9A-0649-D8C2-BF5FDAF6555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42966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Vertical Secondary For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08D3264-D18D-E54D-A675-D3B8AC96A408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F13DDBED-7449-1145-F171-1154F725839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A8AF5A93-87A6-3CA8-CE3C-D6A6EC0563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B3A70822-7140-80BC-17D7-4FE504A2A10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8AE438B2-24A0-F256-94B1-7E8B63CA863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78548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Vertica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8C37AE7-11B7-CB48-BBF8-9C0F23120258}"/>
              </a:ext>
            </a:extLst>
          </p:cNvPr>
          <p:cNvSpPr/>
          <p:nvPr userDrawn="1"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065185E-4601-466B-DCEA-79FD738FB0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D292811D-D558-D269-3C12-E2C700C7C3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0" name="Content Placeholder 13">
            <a:extLst>
              <a:ext uri="{FF2B5EF4-FFF2-40B4-BE49-F238E27FC236}">
                <a16:creationId xmlns:a16="http://schemas.microsoft.com/office/drawing/2014/main" id="{58541395-3E6B-791A-1D9C-121ED800EC8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58D77FCE-3918-5847-5278-858BD9690B5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77285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- Horizontal Primar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6147353-67BF-3B4B-A02D-23D3112B5C45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rgbClr val="175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977C60B-519F-72DE-1458-B194A920B5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5E29C714-25E9-98CB-B876-AB444930EA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F157875D-627F-A247-0D88-FF8AD613FA8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03D317D6-576F-F03A-5339-3DAB9056626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2985320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- Horizontal Secondary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23B6A48-8DB5-6F43-AE6F-F74B4C6E5A6D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B68A9AB-8EF8-31C5-4B1A-4034723501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5D557255-CD84-4191-7887-DC434E96F2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B103210A-2CE3-CABC-8E86-7995489D036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E9387784-C11D-15B3-018B-710819B3BAE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7739612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- Horizontal Secondary S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B2BFCCE-2E03-284D-A6B3-66BBA4049B9D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3A37476-2008-81C5-ACDE-A07D0AD766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91F15748-D80B-049B-F4A0-426DCACF9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6BCCC9D1-A40A-08B5-E5C7-C3593EE38A7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AA4678CD-BC1C-DC41-92A4-2579F2197D1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6279698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Horizontal Primary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6147353-67BF-3B4B-A02D-23D3112B5C45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1FE1DFDE-AD6B-8B20-1D9A-4C123280FA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4" name="Title 10">
            <a:extLst>
              <a:ext uri="{FF2B5EF4-FFF2-40B4-BE49-F238E27FC236}">
                <a16:creationId xmlns:a16="http://schemas.microsoft.com/office/drawing/2014/main" id="{824F9BC2-518C-90A3-B383-FF3704D32F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9" name="Content Placeholder 13">
            <a:extLst>
              <a:ext uri="{FF2B5EF4-FFF2-40B4-BE49-F238E27FC236}">
                <a16:creationId xmlns:a16="http://schemas.microsoft.com/office/drawing/2014/main" id="{0332AB3A-E935-05FF-A6B2-CB88D501631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0" name="Content Placeholder 13">
            <a:extLst>
              <a:ext uri="{FF2B5EF4-FFF2-40B4-BE49-F238E27FC236}">
                <a16:creationId xmlns:a16="http://schemas.microsoft.com/office/drawing/2014/main" id="{148492F3-93B5-6754-8770-023F18C6307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2655065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- Horizontal Secondary For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12E873-D3FB-D84A-99D9-A8B230D6B8B7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97F8BFC-5B7C-CF7E-5D1B-CE24F0A9CE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7F29751A-7C82-34FE-AE2F-7D2E921D87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037B6595-52B7-6552-72B9-F4CEFA31993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CEB5D589-7818-3CE5-31E9-93A31293561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965221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– ESDC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A0FC60-3406-DD4D-ADF3-E4A6E2A7928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1200" y="1706879"/>
            <a:ext cx="9946640" cy="1706881"/>
          </a:xfrm>
        </p:spPr>
        <p:txBody>
          <a:bodyPr anchor="t">
            <a:normAutofit/>
          </a:bodyPr>
          <a:lstStyle>
            <a:lvl1pPr algn="l">
              <a:defRPr sz="3500" b="1" i="0">
                <a:solidFill>
                  <a:srgbClr val="975DA5"/>
                </a:solidFill>
                <a:latin typeface="Segoe UI" panose="020B0502040204020203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Large Title Tex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BC991C-FBEB-7844-A67F-1952B7BB46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1200" y="3586480"/>
            <a:ext cx="9926320" cy="741680"/>
          </a:xfrm>
        </p:spPr>
        <p:txBody>
          <a:bodyPr anchor="t"/>
          <a:lstStyle>
            <a:lvl1pPr marL="0" indent="0" algn="l">
              <a:lnSpc>
                <a:spcPct val="70000"/>
              </a:lnSpc>
              <a:buNone/>
              <a:defRPr sz="2400" b="0" i="0">
                <a:solidFill>
                  <a:srgbClr val="175676"/>
                </a:solidFill>
                <a:latin typeface="Segoe UI" panose="020B0502040204020203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5F8F591-576D-4844-B28E-2BDE363F9FA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86384" y="190500"/>
            <a:ext cx="3490085" cy="216000"/>
            <a:chOff x="22225" y="3484563"/>
            <a:chExt cx="10080625" cy="623887"/>
          </a:xfrm>
        </p:grpSpPr>
        <p:sp>
          <p:nvSpPr>
            <p:cNvPr id="14" name="Freeform 1">
              <a:extLst>
                <a:ext uri="{FF2B5EF4-FFF2-40B4-BE49-F238E27FC236}">
                  <a16:creationId xmlns:a16="http://schemas.microsoft.com/office/drawing/2014/main" id="{D9625E48-8058-D545-BC03-E3D0A056FF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25" y="3484563"/>
              <a:ext cx="279400" cy="566737"/>
            </a:xfrm>
            <a:custGeom>
              <a:avLst/>
              <a:gdLst>
                <a:gd name="T0" fmla="*/ 0 w 776"/>
                <a:gd name="T1" fmla="*/ 0 h 1576"/>
                <a:gd name="T2" fmla="*/ 775 w 776"/>
                <a:gd name="T3" fmla="*/ 0 h 1576"/>
                <a:gd name="T4" fmla="*/ 775 w 776"/>
                <a:gd name="T5" fmla="*/ 1575 h 1576"/>
                <a:gd name="T6" fmla="*/ 0 w 776"/>
                <a:gd name="T7" fmla="*/ 1575 h 1576"/>
                <a:gd name="T8" fmla="*/ 0 w 776"/>
                <a:gd name="T9" fmla="*/ 0 h 1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6" h="1576">
                  <a:moveTo>
                    <a:pt x="0" y="0"/>
                  </a:moveTo>
                  <a:lnTo>
                    <a:pt x="775" y="0"/>
                  </a:lnTo>
                  <a:lnTo>
                    <a:pt x="775" y="1575"/>
                  </a:lnTo>
                  <a:lnTo>
                    <a:pt x="0" y="1575"/>
                  </a:lnTo>
                  <a:lnTo>
                    <a:pt x="0" y="0"/>
                  </a:lnTo>
                </a:path>
              </a:pathLst>
            </a:custGeom>
            <a:solidFill>
              <a:srgbClr val="ED1C2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Freeform 2">
              <a:extLst>
                <a:ext uri="{FF2B5EF4-FFF2-40B4-BE49-F238E27FC236}">
                  <a16:creationId xmlns:a16="http://schemas.microsoft.com/office/drawing/2014/main" id="{8D049B71-8851-F348-B89D-76C452D5DB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0425" y="3484563"/>
              <a:ext cx="279400" cy="566737"/>
            </a:xfrm>
            <a:custGeom>
              <a:avLst/>
              <a:gdLst>
                <a:gd name="T0" fmla="*/ 0 w 776"/>
                <a:gd name="T1" fmla="*/ 0 h 1576"/>
                <a:gd name="T2" fmla="*/ 775 w 776"/>
                <a:gd name="T3" fmla="*/ 0 h 1576"/>
                <a:gd name="T4" fmla="*/ 775 w 776"/>
                <a:gd name="T5" fmla="*/ 1575 h 1576"/>
                <a:gd name="T6" fmla="*/ 0 w 776"/>
                <a:gd name="T7" fmla="*/ 1575 h 1576"/>
                <a:gd name="T8" fmla="*/ 0 w 776"/>
                <a:gd name="T9" fmla="*/ 0 h 1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6" h="1576">
                  <a:moveTo>
                    <a:pt x="0" y="0"/>
                  </a:moveTo>
                  <a:lnTo>
                    <a:pt x="775" y="0"/>
                  </a:lnTo>
                  <a:lnTo>
                    <a:pt x="775" y="1575"/>
                  </a:lnTo>
                  <a:lnTo>
                    <a:pt x="0" y="1575"/>
                  </a:lnTo>
                  <a:lnTo>
                    <a:pt x="0" y="0"/>
                  </a:lnTo>
                </a:path>
              </a:pathLst>
            </a:custGeom>
            <a:solidFill>
              <a:srgbClr val="ED1C2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Freeform 3">
              <a:extLst>
                <a:ext uri="{FF2B5EF4-FFF2-40B4-BE49-F238E27FC236}">
                  <a16:creationId xmlns:a16="http://schemas.microsoft.com/office/drawing/2014/main" id="{BE8BF367-BFBC-AB42-AEE0-92EB355309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8" y="3535363"/>
              <a:ext cx="428625" cy="469900"/>
            </a:xfrm>
            <a:custGeom>
              <a:avLst/>
              <a:gdLst>
                <a:gd name="T0" fmla="*/ 594 w 1189"/>
                <a:gd name="T1" fmla="*/ 1303 h 1304"/>
                <a:gd name="T2" fmla="*/ 627 w 1189"/>
                <a:gd name="T3" fmla="*/ 1303 h 1304"/>
                <a:gd name="T4" fmla="*/ 615 w 1189"/>
                <a:gd name="T5" fmla="*/ 987 h 1304"/>
                <a:gd name="T6" fmla="*/ 920 w 1189"/>
                <a:gd name="T7" fmla="*/ 1043 h 1304"/>
                <a:gd name="T8" fmla="*/ 895 w 1189"/>
                <a:gd name="T9" fmla="*/ 912 h 1304"/>
                <a:gd name="T10" fmla="*/ 1188 w 1189"/>
                <a:gd name="T11" fmla="*/ 674 h 1304"/>
                <a:gd name="T12" fmla="*/ 1125 w 1189"/>
                <a:gd name="T13" fmla="*/ 616 h 1304"/>
                <a:gd name="T14" fmla="*/ 1184 w 1189"/>
                <a:gd name="T15" fmla="*/ 414 h 1304"/>
                <a:gd name="T16" fmla="*/ 1013 w 1189"/>
                <a:gd name="T17" fmla="*/ 452 h 1304"/>
                <a:gd name="T18" fmla="*/ 953 w 1189"/>
                <a:gd name="T19" fmla="*/ 362 h 1304"/>
                <a:gd name="T20" fmla="*/ 785 w 1189"/>
                <a:gd name="T21" fmla="*/ 514 h 1304"/>
                <a:gd name="T22" fmla="*/ 835 w 1189"/>
                <a:gd name="T23" fmla="*/ 169 h 1304"/>
                <a:gd name="T24" fmla="*/ 714 w 1189"/>
                <a:gd name="T25" fmla="*/ 210 h 1304"/>
                <a:gd name="T26" fmla="*/ 587 w 1189"/>
                <a:gd name="T27" fmla="*/ 0 h 1304"/>
                <a:gd name="T28" fmla="*/ 473 w 1189"/>
                <a:gd name="T29" fmla="*/ 210 h 1304"/>
                <a:gd name="T30" fmla="*/ 351 w 1189"/>
                <a:gd name="T31" fmla="*/ 169 h 1304"/>
                <a:gd name="T32" fmla="*/ 403 w 1189"/>
                <a:gd name="T33" fmla="*/ 514 h 1304"/>
                <a:gd name="T34" fmla="*/ 234 w 1189"/>
                <a:gd name="T35" fmla="*/ 362 h 1304"/>
                <a:gd name="T36" fmla="*/ 174 w 1189"/>
                <a:gd name="T37" fmla="*/ 452 h 1304"/>
                <a:gd name="T38" fmla="*/ 4 w 1189"/>
                <a:gd name="T39" fmla="*/ 414 h 1304"/>
                <a:gd name="T40" fmla="*/ 62 w 1189"/>
                <a:gd name="T41" fmla="*/ 616 h 1304"/>
                <a:gd name="T42" fmla="*/ 0 w 1189"/>
                <a:gd name="T43" fmla="*/ 674 h 1304"/>
                <a:gd name="T44" fmla="*/ 292 w 1189"/>
                <a:gd name="T45" fmla="*/ 912 h 1304"/>
                <a:gd name="T46" fmla="*/ 268 w 1189"/>
                <a:gd name="T47" fmla="*/ 1043 h 1304"/>
                <a:gd name="T48" fmla="*/ 573 w 1189"/>
                <a:gd name="T49" fmla="*/ 987 h 1304"/>
                <a:gd name="T50" fmla="*/ 560 w 1189"/>
                <a:gd name="T51" fmla="*/ 1303 h 1304"/>
                <a:gd name="T52" fmla="*/ 594 w 1189"/>
                <a:gd name="T53" fmla="*/ 1303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89" h="1304">
                  <a:moveTo>
                    <a:pt x="594" y="1303"/>
                  </a:moveTo>
                  <a:lnTo>
                    <a:pt x="627" y="1303"/>
                  </a:lnTo>
                  <a:lnTo>
                    <a:pt x="615" y="987"/>
                  </a:lnTo>
                  <a:lnTo>
                    <a:pt x="920" y="1043"/>
                  </a:lnTo>
                  <a:lnTo>
                    <a:pt x="895" y="912"/>
                  </a:lnTo>
                  <a:lnTo>
                    <a:pt x="1188" y="674"/>
                  </a:lnTo>
                  <a:lnTo>
                    <a:pt x="1125" y="616"/>
                  </a:lnTo>
                  <a:lnTo>
                    <a:pt x="1184" y="414"/>
                  </a:lnTo>
                  <a:lnTo>
                    <a:pt x="1013" y="452"/>
                  </a:lnTo>
                  <a:lnTo>
                    <a:pt x="953" y="362"/>
                  </a:lnTo>
                  <a:lnTo>
                    <a:pt x="785" y="514"/>
                  </a:lnTo>
                  <a:lnTo>
                    <a:pt x="835" y="169"/>
                  </a:lnTo>
                  <a:lnTo>
                    <a:pt x="714" y="210"/>
                  </a:lnTo>
                  <a:lnTo>
                    <a:pt x="587" y="0"/>
                  </a:lnTo>
                  <a:lnTo>
                    <a:pt x="473" y="210"/>
                  </a:lnTo>
                  <a:lnTo>
                    <a:pt x="351" y="169"/>
                  </a:lnTo>
                  <a:lnTo>
                    <a:pt x="403" y="514"/>
                  </a:lnTo>
                  <a:lnTo>
                    <a:pt x="234" y="362"/>
                  </a:lnTo>
                  <a:lnTo>
                    <a:pt x="174" y="452"/>
                  </a:lnTo>
                  <a:lnTo>
                    <a:pt x="4" y="414"/>
                  </a:lnTo>
                  <a:lnTo>
                    <a:pt x="62" y="616"/>
                  </a:lnTo>
                  <a:lnTo>
                    <a:pt x="0" y="674"/>
                  </a:lnTo>
                  <a:lnTo>
                    <a:pt x="292" y="912"/>
                  </a:lnTo>
                  <a:lnTo>
                    <a:pt x="268" y="1043"/>
                  </a:lnTo>
                  <a:lnTo>
                    <a:pt x="573" y="987"/>
                  </a:lnTo>
                  <a:lnTo>
                    <a:pt x="560" y="1303"/>
                  </a:lnTo>
                  <a:lnTo>
                    <a:pt x="594" y="1303"/>
                  </a:lnTo>
                </a:path>
              </a:pathLst>
            </a:custGeom>
            <a:solidFill>
              <a:srgbClr val="ED1C2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Freeform 4">
              <a:extLst>
                <a:ext uri="{FF2B5EF4-FFF2-40B4-BE49-F238E27FC236}">
                  <a16:creationId xmlns:a16="http://schemas.microsoft.com/office/drawing/2014/main" id="{F2151F8C-66BE-C64E-8F1E-EC32655273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8625" y="3487738"/>
              <a:ext cx="158750" cy="215900"/>
            </a:xfrm>
            <a:custGeom>
              <a:avLst/>
              <a:gdLst>
                <a:gd name="T0" fmla="*/ 0 w 443"/>
                <a:gd name="T1" fmla="*/ 0 h 600"/>
                <a:gd name="T2" fmla="*/ 436 w 443"/>
                <a:gd name="T3" fmla="*/ 0 h 600"/>
                <a:gd name="T4" fmla="*/ 436 w 443"/>
                <a:gd name="T5" fmla="*/ 73 h 600"/>
                <a:gd name="T6" fmla="*/ 79 w 443"/>
                <a:gd name="T7" fmla="*/ 73 h 600"/>
                <a:gd name="T8" fmla="*/ 79 w 443"/>
                <a:gd name="T9" fmla="*/ 256 h 600"/>
                <a:gd name="T10" fmla="*/ 409 w 443"/>
                <a:gd name="T11" fmla="*/ 256 h 600"/>
                <a:gd name="T12" fmla="*/ 409 w 443"/>
                <a:gd name="T13" fmla="*/ 325 h 600"/>
                <a:gd name="T14" fmla="*/ 79 w 443"/>
                <a:gd name="T15" fmla="*/ 325 h 600"/>
                <a:gd name="T16" fmla="*/ 79 w 443"/>
                <a:gd name="T17" fmla="*/ 528 h 600"/>
                <a:gd name="T18" fmla="*/ 442 w 443"/>
                <a:gd name="T19" fmla="*/ 528 h 600"/>
                <a:gd name="T20" fmla="*/ 442 w 443"/>
                <a:gd name="T21" fmla="*/ 599 h 600"/>
                <a:gd name="T22" fmla="*/ 0 w 443"/>
                <a:gd name="T23" fmla="*/ 599 h 600"/>
                <a:gd name="T24" fmla="*/ 0 w 443"/>
                <a:gd name="T25" fmla="*/ 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3" h="600">
                  <a:moveTo>
                    <a:pt x="0" y="0"/>
                  </a:moveTo>
                  <a:lnTo>
                    <a:pt x="436" y="0"/>
                  </a:lnTo>
                  <a:lnTo>
                    <a:pt x="436" y="73"/>
                  </a:lnTo>
                  <a:lnTo>
                    <a:pt x="79" y="73"/>
                  </a:lnTo>
                  <a:lnTo>
                    <a:pt x="79" y="256"/>
                  </a:lnTo>
                  <a:lnTo>
                    <a:pt x="409" y="256"/>
                  </a:lnTo>
                  <a:lnTo>
                    <a:pt x="409" y="325"/>
                  </a:lnTo>
                  <a:lnTo>
                    <a:pt x="79" y="325"/>
                  </a:lnTo>
                  <a:lnTo>
                    <a:pt x="79" y="528"/>
                  </a:lnTo>
                  <a:lnTo>
                    <a:pt x="442" y="528"/>
                  </a:lnTo>
                  <a:lnTo>
                    <a:pt x="442" y="599"/>
                  </a:lnTo>
                  <a:lnTo>
                    <a:pt x="0" y="599"/>
                  </a:ln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356BE2F1-982C-BF4A-B071-D64DAE72F5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3888" y="3541713"/>
              <a:ext cx="212725" cy="161925"/>
            </a:xfrm>
            <a:custGeom>
              <a:avLst/>
              <a:gdLst>
                <a:gd name="T0" fmla="*/ 73 w 589"/>
                <a:gd name="T1" fmla="*/ 11 h 448"/>
                <a:gd name="T2" fmla="*/ 73 w 589"/>
                <a:gd name="T3" fmla="*/ 73 h 448"/>
                <a:gd name="T4" fmla="*/ 110 w 589"/>
                <a:gd name="T5" fmla="*/ 33 h 448"/>
                <a:gd name="T6" fmla="*/ 121 w 589"/>
                <a:gd name="T7" fmla="*/ 25 h 448"/>
                <a:gd name="T8" fmla="*/ 158 w 589"/>
                <a:gd name="T9" fmla="*/ 6 h 448"/>
                <a:gd name="T10" fmla="*/ 202 w 589"/>
                <a:gd name="T11" fmla="*/ 0 h 448"/>
                <a:gd name="T12" fmla="*/ 227 w 589"/>
                <a:gd name="T13" fmla="*/ 2 h 448"/>
                <a:gd name="T14" fmla="*/ 270 w 589"/>
                <a:gd name="T15" fmla="*/ 15 h 448"/>
                <a:gd name="T16" fmla="*/ 287 w 589"/>
                <a:gd name="T17" fmla="*/ 27 h 448"/>
                <a:gd name="T18" fmla="*/ 304 w 589"/>
                <a:gd name="T19" fmla="*/ 44 h 448"/>
                <a:gd name="T20" fmla="*/ 320 w 589"/>
                <a:gd name="T21" fmla="*/ 69 h 448"/>
                <a:gd name="T22" fmla="*/ 333 w 589"/>
                <a:gd name="T23" fmla="*/ 54 h 448"/>
                <a:gd name="T24" fmla="*/ 362 w 589"/>
                <a:gd name="T25" fmla="*/ 27 h 448"/>
                <a:gd name="T26" fmla="*/ 376 w 589"/>
                <a:gd name="T27" fmla="*/ 17 h 448"/>
                <a:gd name="T28" fmla="*/ 412 w 589"/>
                <a:gd name="T29" fmla="*/ 4 h 448"/>
                <a:gd name="T30" fmla="*/ 451 w 589"/>
                <a:gd name="T31" fmla="*/ 0 h 448"/>
                <a:gd name="T32" fmla="*/ 472 w 589"/>
                <a:gd name="T33" fmla="*/ 2 h 448"/>
                <a:gd name="T34" fmla="*/ 509 w 589"/>
                <a:gd name="T35" fmla="*/ 11 h 448"/>
                <a:gd name="T36" fmla="*/ 538 w 589"/>
                <a:gd name="T37" fmla="*/ 25 h 448"/>
                <a:gd name="T38" fmla="*/ 561 w 589"/>
                <a:gd name="T39" fmla="*/ 50 h 448"/>
                <a:gd name="T40" fmla="*/ 571 w 589"/>
                <a:gd name="T41" fmla="*/ 65 h 448"/>
                <a:gd name="T42" fmla="*/ 584 w 589"/>
                <a:gd name="T43" fmla="*/ 104 h 448"/>
                <a:gd name="T44" fmla="*/ 588 w 589"/>
                <a:gd name="T45" fmla="*/ 156 h 448"/>
                <a:gd name="T46" fmla="*/ 511 w 589"/>
                <a:gd name="T47" fmla="*/ 447 h 448"/>
                <a:gd name="T48" fmla="*/ 511 w 589"/>
                <a:gd name="T49" fmla="*/ 144 h 448"/>
                <a:gd name="T50" fmla="*/ 507 w 589"/>
                <a:gd name="T51" fmla="*/ 108 h 448"/>
                <a:gd name="T52" fmla="*/ 490 w 589"/>
                <a:gd name="T53" fmla="*/ 83 h 448"/>
                <a:gd name="T54" fmla="*/ 478 w 589"/>
                <a:gd name="T55" fmla="*/ 77 h 448"/>
                <a:gd name="T56" fmla="*/ 451 w 589"/>
                <a:gd name="T57" fmla="*/ 69 h 448"/>
                <a:gd name="T58" fmla="*/ 436 w 589"/>
                <a:gd name="T59" fmla="*/ 69 h 448"/>
                <a:gd name="T60" fmla="*/ 397 w 589"/>
                <a:gd name="T61" fmla="*/ 75 h 448"/>
                <a:gd name="T62" fmla="*/ 362 w 589"/>
                <a:gd name="T63" fmla="*/ 96 h 448"/>
                <a:gd name="T64" fmla="*/ 355 w 589"/>
                <a:gd name="T65" fmla="*/ 104 h 448"/>
                <a:gd name="T66" fmla="*/ 343 w 589"/>
                <a:gd name="T67" fmla="*/ 125 h 448"/>
                <a:gd name="T68" fmla="*/ 333 w 589"/>
                <a:gd name="T69" fmla="*/ 162 h 448"/>
                <a:gd name="T70" fmla="*/ 330 w 589"/>
                <a:gd name="T71" fmla="*/ 447 h 448"/>
                <a:gd name="T72" fmla="*/ 256 w 589"/>
                <a:gd name="T73" fmla="*/ 162 h 448"/>
                <a:gd name="T74" fmla="*/ 256 w 589"/>
                <a:gd name="T75" fmla="*/ 141 h 448"/>
                <a:gd name="T76" fmla="*/ 252 w 589"/>
                <a:gd name="T77" fmla="*/ 108 h 448"/>
                <a:gd name="T78" fmla="*/ 245 w 589"/>
                <a:gd name="T79" fmla="*/ 98 h 448"/>
                <a:gd name="T80" fmla="*/ 235 w 589"/>
                <a:gd name="T81" fmla="*/ 83 h 448"/>
                <a:gd name="T82" fmla="*/ 223 w 589"/>
                <a:gd name="T83" fmla="*/ 75 h 448"/>
                <a:gd name="T84" fmla="*/ 183 w 589"/>
                <a:gd name="T85" fmla="*/ 67 h 448"/>
                <a:gd name="T86" fmla="*/ 162 w 589"/>
                <a:gd name="T87" fmla="*/ 69 h 448"/>
                <a:gd name="T88" fmla="*/ 125 w 589"/>
                <a:gd name="T89" fmla="*/ 85 h 448"/>
                <a:gd name="T90" fmla="*/ 108 w 589"/>
                <a:gd name="T91" fmla="*/ 100 h 448"/>
                <a:gd name="T92" fmla="*/ 94 w 589"/>
                <a:gd name="T93" fmla="*/ 119 h 448"/>
                <a:gd name="T94" fmla="*/ 83 w 589"/>
                <a:gd name="T95" fmla="*/ 144 h 448"/>
                <a:gd name="T96" fmla="*/ 75 w 589"/>
                <a:gd name="T97" fmla="*/ 177 h 448"/>
                <a:gd name="T98" fmla="*/ 73 w 589"/>
                <a:gd name="T99" fmla="*/ 447 h 448"/>
                <a:gd name="T100" fmla="*/ 0 w 589"/>
                <a:gd name="T101" fmla="*/ 1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89" h="448">
                  <a:moveTo>
                    <a:pt x="0" y="11"/>
                  </a:moveTo>
                  <a:lnTo>
                    <a:pt x="73" y="11"/>
                  </a:lnTo>
                  <a:lnTo>
                    <a:pt x="73" y="73"/>
                  </a:lnTo>
                  <a:lnTo>
                    <a:pt x="73" y="73"/>
                  </a:lnTo>
                  <a:lnTo>
                    <a:pt x="98" y="44"/>
                  </a:lnTo>
                  <a:lnTo>
                    <a:pt x="110" y="33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39" y="15"/>
                  </a:lnTo>
                  <a:lnTo>
                    <a:pt x="158" y="6"/>
                  </a:lnTo>
                  <a:lnTo>
                    <a:pt x="181" y="2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227" y="2"/>
                  </a:lnTo>
                  <a:lnTo>
                    <a:pt x="249" y="6"/>
                  </a:lnTo>
                  <a:lnTo>
                    <a:pt x="270" y="15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95" y="36"/>
                  </a:lnTo>
                  <a:lnTo>
                    <a:pt x="304" y="44"/>
                  </a:lnTo>
                  <a:lnTo>
                    <a:pt x="312" y="56"/>
                  </a:lnTo>
                  <a:lnTo>
                    <a:pt x="320" y="69"/>
                  </a:lnTo>
                  <a:lnTo>
                    <a:pt x="320" y="69"/>
                  </a:lnTo>
                  <a:lnTo>
                    <a:pt x="333" y="54"/>
                  </a:lnTo>
                  <a:lnTo>
                    <a:pt x="345" y="40"/>
                  </a:lnTo>
                  <a:lnTo>
                    <a:pt x="362" y="27"/>
                  </a:lnTo>
                  <a:lnTo>
                    <a:pt x="376" y="17"/>
                  </a:lnTo>
                  <a:lnTo>
                    <a:pt x="376" y="17"/>
                  </a:lnTo>
                  <a:lnTo>
                    <a:pt x="393" y="11"/>
                  </a:lnTo>
                  <a:lnTo>
                    <a:pt x="412" y="4"/>
                  </a:lnTo>
                  <a:lnTo>
                    <a:pt x="430" y="2"/>
                  </a:lnTo>
                  <a:lnTo>
                    <a:pt x="451" y="0"/>
                  </a:lnTo>
                  <a:lnTo>
                    <a:pt x="451" y="0"/>
                  </a:lnTo>
                  <a:lnTo>
                    <a:pt x="472" y="2"/>
                  </a:lnTo>
                  <a:lnTo>
                    <a:pt x="493" y="4"/>
                  </a:lnTo>
                  <a:lnTo>
                    <a:pt x="509" y="11"/>
                  </a:lnTo>
                  <a:lnTo>
                    <a:pt x="526" y="17"/>
                  </a:lnTo>
                  <a:lnTo>
                    <a:pt x="538" y="25"/>
                  </a:lnTo>
                  <a:lnTo>
                    <a:pt x="551" y="38"/>
                  </a:lnTo>
                  <a:lnTo>
                    <a:pt x="561" y="50"/>
                  </a:lnTo>
                  <a:lnTo>
                    <a:pt x="571" y="65"/>
                  </a:lnTo>
                  <a:lnTo>
                    <a:pt x="571" y="65"/>
                  </a:lnTo>
                  <a:lnTo>
                    <a:pt x="578" y="83"/>
                  </a:lnTo>
                  <a:lnTo>
                    <a:pt x="584" y="104"/>
                  </a:lnTo>
                  <a:lnTo>
                    <a:pt x="586" y="129"/>
                  </a:lnTo>
                  <a:lnTo>
                    <a:pt x="588" y="156"/>
                  </a:lnTo>
                  <a:lnTo>
                    <a:pt x="588" y="447"/>
                  </a:lnTo>
                  <a:lnTo>
                    <a:pt x="511" y="447"/>
                  </a:lnTo>
                  <a:lnTo>
                    <a:pt x="511" y="144"/>
                  </a:lnTo>
                  <a:lnTo>
                    <a:pt x="511" y="144"/>
                  </a:lnTo>
                  <a:lnTo>
                    <a:pt x="511" y="125"/>
                  </a:lnTo>
                  <a:lnTo>
                    <a:pt x="507" y="108"/>
                  </a:lnTo>
                  <a:lnTo>
                    <a:pt x="499" y="94"/>
                  </a:lnTo>
                  <a:lnTo>
                    <a:pt x="490" y="83"/>
                  </a:lnTo>
                  <a:lnTo>
                    <a:pt x="490" y="83"/>
                  </a:lnTo>
                  <a:lnTo>
                    <a:pt x="478" y="77"/>
                  </a:lnTo>
                  <a:lnTo>
                    <a:pt x="465" y="71"/>
                  </a:lnTo>
                  <a:lnTo>
                    <a:pt x="451" y="69"/>
                  </a:lnTo>
                  <a:lnTo>
                    <a:pt x="436" y="69"/>
                  </a:lnTo>
                  <a:lnTo>
                    <a:pt x="436" y="69"/>
                  </a:lnTo>
                  <a:lnTo>
                    <a:pt x="416" y="69"/>
                  </a:lnTo>
                  <a:lnTo>
                    <a:pt x="397" y="75"/>
                  </a:lnTo>
                  <a:lnTo>
                    <a:pt x="378" y="83"/>
                  </a:lnTo>
                  <a:lnTo>
                    <a:pt x="362" y="96"/>
                  </a:lnTo>
                  <a:lnTo>
                    <a:pt x="362" y="96"/>
                  </a:lnTo>
                  <a:lnTo>
                    <a:pt x="355" y="104"/>
                  </a:lnTo>
                  <a:lnTo>
                    <a:pt x="349" y="114"/>
                  </a:lnTo>
                  <a:lnTo>
                    <a:pt x="343" y="125"/>
                  </a:lnTo>
                  <a:lnTo>
                    <a:pt x="339" y="135"/>
                  </a:lnTo>
                  <a:lnTo>
                    <a:pt x="333" y="162"/>
                  </a:lnTo>
                  <a:lnTo>
                    <a:pt x="330" y="194"/>
                  </a:lnTo>
                  <a:lnTo>
                    <a:pt x="330" y="447"/>
                  </a:lnTo>
                  <a:lnTo>
                    <a:pt x="256" y="447"/>
                  </a:lnTo>
                  <a:lnTo>
                    <a:pt x="256" y="162"/>
                  </a:lnTo>
                  <a:lnTo>
                    <a:pt x="256" y="162"/>
                  </a:lnTo>
                  <a:lnTo>
                    <a:pt x="256" y="141"/>
                  </a:lnTo>
                  <a:lnTo>
                    <a:pt x="254" y="125"/>
                  </a:lnTo>
                  <a:lnTo>
                    <a:pt x="252" y="108"/>
                  </a:lnTo>
                  <a:lnTo>
                    <a:pt x="245" y="98"/>
                  </a:lnTo>
                  <a:lnTo>
                    <a:pt x="245" y="98"/>
                  </a:lnTo>
                  <a:lnTo>
                    <a:pt x="241" y="89"/>
                  </a:lnTo>
                  <a:lnTo>
                    <a:pt x="235" y="83"/>
                  </a:lnTo>
                  <a:lnTo>
                    <a:pt x="229" y="79"/>
                  </a:lnTo>
                  <a:lnTo>
                    <a:pt x="223" y="75"/>
                  </a:lnTo>
                  <a:lnTo>
                    <a:pt x="204" y="69"/>
                  </a:lnTo>
                  <a:lnTo>
                    <a:pt x="183" y="67"/>
                  </a:lnTo>
                  <a:lnTo>
                    <a:pt x="183" y="67"/>
                  </a:lnTo>
                  <a:lnTo>
                    <a:pt x="162" y="69"/>
                  </a:lnTo>
                  <a:lnTo>
                    <a:pt x="143" y="75"/>
                  </a:lnTo>
                  <a:lnTo>
                    <a:pt x="125" y="85"/>
                  </a:lnTo>
                  <a:lnTo>
                    <a:pt x="108" y="100"/>
                  </a:lnTo>
                  <a:lnTo>
                    <a:pt x="108" y="100"/>
                  </a:lnTo>
                  <a:lnTo>
                    <a:pt x="100" y="108"/>
                  </a:lnTo>
                  <a:lnTo>
                    <a:pt x="94" y="119"/>
                  </a:lnTo>
                  <a:lnTo>
                    <a:pt x="87" y="131"/>
                  </a:lnTo>
                  <a:lnTo>
                    <a:pt x="83" y="144"/>
                  </a:lnTo>
                  <a:lnTo>
                    <a:pt x="79" y="160"/>
                  </a:lnTo>
                  <a:lnTo>
                    <a:pt x="75" y="177"/>
                  </a:lnTo>
                  <a:lnTo>
                    <a:pt x="73" y="216"/>
                  </a:lnTo>
                  <a:lnTo>
                    <a:pt x="73" y="447"/>
                  </a:lnTo>
                  <a:lnTo>
                    <a:pt x="0" y="447"/>
                  </a:lnTo>
                  <a:lnTo>
                    <a:pt x="0" y="1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09C2B3C0-73DE-904D-860B-F42C969FE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1538" y="3541713"/>
              <a:ext cx="139700" cy="223837"/>
            </a:xfrm>
            <a:custGeom>
              <a:avLst/>
              <a:gdLst>
                <a:gd name="T0" fmla="*/ 73 w 387"/>
                <a:gd name="T1" fmla="*/ 13 h 623"/>
                <a:gd name="T2" fmla="*/ 73 w 387"/>
                <a:gd name="T3" fmla="*/ 71 h 623"/>
                <a:gd name="T4" fmla="*/ 96 w 387"/>
                <a:gd name="T5" fmla="*/ 44 h 623"/>
                <a:gd name="T6" fmla="*/ 121 w 387"/>
                <a:gd name="T7" fmla="*/ 25 h 623"/>
                <a:gd name="T8" fmla="*/ 139 w 387"/>
                <a:gd name="T9" fmla="*/ 15 h 623"/>
                <a:gd name="T10" fmla="*/ 183 w 387"/>
                <a:gd name="T11" fmla="*/ 2 h 623"/>
                <a:gd name="T12" fmla="*/ 208 w 387"/>
                <a:gd name="T13" fmla="*/ 0 h 623"/>
                <a:gd name="T14" fmla="*/ 243 w 387"/>
                <a:gd name="T15" fmla="*/ 4 h 623"/>
                <a:gd name="T16" fmla="*/ 276 w 387"/>
                <a:gd name="T17" fmla="*/ 15 h 623"/>
                <a:gd name="T18" fmla="*/ 307 w 387"/>
                <a:gd name="T19" fmla="*/ 31 h 623"/>
                <a:gd name="T20" fmla="*/ 334 w 387"/>
                <a:gd name="T21" fmla="*/ 56 h 623"/>
                <a:gd name="T22" fmla="*/ 347 w 387"/>
                <a:gd name="T23" fmla="*/ 73 h 623"/>
                <a:gd name="T24" fmla="*/ 366 w 387"/>
                <a:gd name="T25" fmla="*/ 106 h 623"/>
                <a:gd name="T26" fmla="*/ 378 w 387"/>
                <a:gd name="T27" fmla="*/ 148 h 623"/>
                <a:gd name="T28" fmla="*/ 384 w 387"/>
                <a:gd name="T29" fmla="*/ 194 h 623"/>
                <a:gd name="T30" fmla="*/ 386 w 387"/>
                <a:gd name="T31" fmla="*/ 221 h 623"/>
                <a:gd name="T32" fmla="*/ 380 w 387"/>
                <a:gd name="T33" fmla="*/ 285 h 623"/>
                <a:gd name="T34" fmla="*/ 368 w 387"/>
                <a:gd name="T35" fmla="*/ 341 h 623"/>
                <a:gd name="T36" fmla="*/ 343 w 387"/>
                <a:gd name="T37" fmla="*/ 389 h 623"/>
                <a:gd name="T38" fmla="*/ 312 w 387"/>
                <a:gd name="T39" fmla="*/ 424 h 623"/>
                <a:gd name="T40" fmla="*/ 299 w 387"/>
                <a:gd name="T41" fmla="*/ 433 h 623"/>
                <a:gd name="T42" fmla="*/ 272 w 387"/>
                <a:gd name="T43" fmla="*/ 447 h 623"/>
                <a:gd name="T44" fmla="*/ 245 w 387"/>
                <a:gd name="T45" fmla="*/ 457 h 623"/>
                <a:gd name="T46" fmla="*/ 199 w 387"/>
                <a:gd name="T47" fmla="*/ 462 h 623"/>
                <a:gd name="T48" fmla="*/ 177 w 387"/>
                <a:gd name="T49" fmla="*/ 462 h 623"/>
                <a:gd name="T50" fmla="*/ 135 w 387"/>
                <a:gd name="T51" fmla="*/ 449 h 623"/>
                <a:gd name="T52" fmla="*/ 116 w 387"/>
                <a:gd name="T53" fmla="*/ 441 h 623"/>
                <a:gd name="T54" fmla="*/ 96 w 387"/>
                <a:gd name="T55" fmla="*/ 424 h 623"/>
                <a:gd name="T56" fmla="*/ 73 w 387"/>
                <a:gd name="T57" fmla="*/ 622 h 623"/>
                <a:gd name="T58" fmla="*/ 0 w 387"/>
                <a:gd name="T59" fmla="*/ 13 h 623"/>
                <a:gd name="T60" fmla="*/ 276 w 387"/>
                <a:gd name="T61" fmla="*/ 356 h 623"/>
                <a:gd name="T62" fmla="*/ 291 w 387"/>
                <a:gd name="T63" fmla="*/ 331 h 623"/>
                <a:gd name="T64" fmla="*/ 301 w 387"/>
                <a:gd name="T65" fmla="*/ 302 h 623"/>
                <a:gd name="T66" fmla="*/ 307 w 387"/>
                <a:gd name="T67" fmla="*/ 266 h 623"/>
                <a:gd name="T68" fmla="*/ 309 w 387"/>
                <a:gd name="T69" fmla="*/ 227 h 623"/>
                <a:gd name="T70" fmla="*/ 307 w 387"/>
                <a:gd name="T71" fmla="*/ 179 h 623"/>
                <a:gd name="T72" fmla="*/ 295 w 387"/>
                <a:gd name="T73" fmla="*/ 137 h 623"/>
                <a:gd name="T74" fmla="*/ 287 w 387"/>
                <a:gd name="T75" fmla="*/ 121 h 623"/>
                <a:gd name="T76" fmla="*/ 268 w 387"/>
                <a:gd name="T77" fmla="*/ 94 h 623"/>
                <a:gd name="T78" fmla="*/ 241 w 387"/>
                <a:gd name="T79" fmla="*/ 75 h 623"/>
                <a:gd name="T80" fmla="*/ 210 w 387"/>
                <a:gd name="T81" fmla="*/ 65 h 623"/>
                <a:gd name="T82" fmla="*/ 191 w 387"/>
                <a:gd name="T83" fmla="*/ 65 h 623"/>
                <a:gd name="T84" fmla="*/ 156 w 387"/>
                <a:gd name="T85" fmla="*/ 69 h 623"/>
                <a:gd name="T86" fmla="*/ 127 w 387"/>
                <a:gd name="T87" fmla="*/ 83 h 623"/>
                <a:gd name="T88" fmla="*/ 104 w 387"/>
                <a:gd name="T89" fmla="*/ 108 h 623"/>
                <a:gd name="T90" fmla="*/ 85 w 387"/>
                <a:gd name="T91" fmla="*/ 141 h 623"/>
                <a:gd name="T92" fmla="*/ 79 w 387"/>
                <a:gd name="T93" fmla="*/ 162 h 623"/>
                <a:gd name="T94" fmla="*/ 71 w 387"/>
                <a:gd name="T95" fmla="*/ 214 h 623"/>
                <a:gd name="T96" fmla="*/ 71 w 387"/>
                <a:gd name="T97" fmla="*/ 246 h 623"/>
                <a:gd name="T98" fmla="*/ 75 w 387"/>
                <a:gd name="T99" fmla="*/ 291 h 623"/>
                <a:gd name="T100" fmla="*/ 85 w 387"/>
                <a:gd name="T101" fmla="*/ 331 h 623"/>
                <a:gd name="T102" fmla="*/ 93 w 387"/>
                <a:gd name="T103" fmla="*/ 347 h 623"/>
                <a:gd name="T104" fmla="*/ 114 w 387"/>
                <a:gd name="T105" fmla="*/ 372 h 623"/>
                <a:gd name="T106" fmla="*/ 139 w 387"/>
                <a:gd name="T107" fmla="*/ 389 h 623"/>
                <a:gd name="T108" fmla="*/ 172 w 387"/>
                <a:gd name="T109" fmla="*/ 397 h 623"/>
                <a:gd name="T110" fmla="*/ 191 w 387"/>
                <a:gd name="T111" fmla="*/ 399 h 623"/>
                <a:gd name="T112" fmla="*/ 216 w 387"/>
                <a:gd name="T113" fmla="*/ 395 h 623"/>
                <a:gd name="T114" fmla="*/ 237 w 387"/>
                <a:gd name="T115" fmla="*/ 387 h 623"/>
                <a:gd name="T116" fmla="*/ 258 w 387"/>
                <a:gd name="T117" fmla="*/ 374 h 623"/>
                <a:gd name="T118" fmla="*/ 276 w 387"/>
                <a:gd name="T119" fmla="*/ 356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7" h="623">
                  <a:moveTo>
                    <a:pt x="0" y="13"/>
                  </a:moveTo>
                  <a:lnTo>
                    <a:pt x="73" y="13"/>
                  </a:lnTo>
                  <a:lnTo>
                    <a:pt x="73" y="71"/>
                  </a:lnTo>
                  <a:lnTo>
                    <a:pt x="73" y="71"/>
                  </a:lnTo>
                  <a:lnTo>
                    <a:pt x="83" y="56"/>
                  </a:lnTo>
                  <a:lnTo>
                    <a:pt x="96" y="44"/>
                  </a:lnTo>
                  <a:lnTo>
                    <a:pt x="108" y="33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39" y="15"/>
                  </a:lnTo>
                  <a:lnTo>
                    <a:pt x="160" y="6"/>
                  </a:lnTo>
                  <a:lnTo>
                    <a:pt x="183" y="2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26" y="0"/>
                  </a:lnTo>
                  <a:lnTo>
                    <a:pt x="243" y="4"/>
                  </a:lnTo>
                  <a:lnTo>
                    <a:pt x="260" y="8"/>
                  </a:lnTo>
                  <a:lnTo>
                    <a:pt x="276" y="15"/>
                  </a:lnTo>
                  <a:lnTo>
                    <a:pt x="291" y="23"/>
                  </a:lnTo>
                  <a:lnTo>
                    <a:pt x="307" y="31"/>
                  </a:lnTo>
                  <a:lnTo>
                    <a:pt x="320" y="44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47" y="73"/>
                  </a:lnTo>
                  <a:lnTo>
                    <a:pt x="357" y="88"/>
                  </a:lnTo>
                  <a:lnTo>
                    <a:pt x="366" y="106"/>
                  </a:lnTo>
                  <a:lnTo>
                    <a:pt x="372" y="127"/>
                  </a:lnTo>
                  <a:lnTo>
                    <a:pt x="378" y="148"/>
                  </a:lnTo>
                  <a:lnTo>
                    <a:pt x="382" y="171"/>
                  </a:lnTo>
                  <a:lnTo>
                    <a:pt x="384" y="194"/>
                  </a:lnTo>
                  <a:lnTo>
                    <a:pt x="386" y="221"/>
                  </a:lnTo>
                  <a:lnTo>
                    <a:pt x="386" y="221"/>
                  </a:lnTo>
                  <a:lnTo>
                    <a:pt x="384" y="254"/>
                  </a:lnTo>
                  <a:lnTo>
                    <a:pt x="380" y="285"/>
                  </a:lnTo>
                  <a:lnTo>
                    <a:pt x="376" y="316"/>
                  </a:lnTo>
                  <a:lnTo>
                    <a:pt x="368" y="341"/>
                  </a:lnTo>
                  <a:lnTo>
                    <a:pt x="357" y="366"/>
                  </a:lnTo>
                  <a:lnTo>
                    <a:pt x="343" y="389"/>
                  </a:lnTo>
                  <a:lnTo>
                    <a:pt x="328" y="408"/>
                  </a:lnTo>
                  <a:lnTo>
                    <a:pt x="312" y="424"/>
                  </a:lnTo>
                  <a:lnTo>
                    <a:pt x="312" y="424"/>
                  </a:lnTo>
                  <a:lnTo>
                    <a:pt x="299" y="433"/>
                  </a:lnTo>
                  <a:lnTo>
                    <a:pt x="287" y="441"/>
                  </a:lnTo>
                  <a:lnTo>
                    <a:pt x="272" y="447"/>
                  </a:lnTo>
                  <a:lnTo>
                    <a:pt x="260" y="453"/>
                  </a:lnTo>
                  <a:lnTo>
                    <a:pt x="245" y="457"/>
                  </a:lnTo>
                  <a:lnTo>
                    <a:pt x="231" y="460"/>
                  </a:lnTo>
                  <a:lnTo>
                    <a:pt x="199" y="462"/>
                  </a:lnTo>
                  <a:lnTo>
                    <a:pt x="199" y="462"/>
                  </a:lnTo>
                  <a:lnTo>
                    <a:pt x="177" y="462"/>
                  </a:lnTo>
                  <a:lnTo>
                    <a:pt x="156" y="457"/>
                  </a:lnTo>
                  <a:lnTo>
                    <a:pt x="135" y="449"/>
                  </a:lnTo>
                  <a:lnTo>
                    <a:pt x="116" y="441"/>
                  </a:lnTo>
                  <a:lnTo>
                    <a:pt x="116" y="441"/>
                  </a:lnTo>
                  <a:lnTo>
                    <a:pt x="108" y="433"/>
                  </a:lnTo>
                  <a:lnTo>
                    <a:pt x="96" y="424"/>
                  </a:lnTo>
                  <a:lnTo>
                    <a:pt x="73" y="399"/>
                  </a:lnTo>
                  <a:lnTo>
                    <a:pt x="73" y="622"/>
                  </a:lnTo>
                  <a:lnTo>
                    <a:pt x="0" y="622"/>
                  </a:lnTo>
                  <a:lnTo>
                    <a:pt x="0" y="13"/>
                  </a:lnTo>
                  <a:close/>
                  <a:moveTo>
                    <a:pt x="276" y="356"/>
                  </a:moveTo>
                  <a:lnTo>
                    <a:pt x="276" y="356"/>
                  </a:lnTo>
                  <a:lnTo>
                    <a:pt x="284" y="343"/>
                  </a:lnTo>
                  <a:lnTo>
                    <a:pt x="291" y="331"/>
                  </a:lnTo>
                  <a:lnTo>
                    <a:pt x="297" y="316"/>
                  </a:lnTo>
                  <a:lnTo>
                    <a:pt x="301" y="302"/>
                  </a:lnTo>
                  <a:lnTo>
                    <a:pt x="305" y="285"/>
                  </a:lnTo>
                  <a:lnTo>
                    <a:pt x="307" y="266"/>
                  </a:lnTo>
                  <a:lnTo>
                    <a:pt x="309" y="227"/>
                  </a:lnTo>
                  <a:lnTo>
                    <a:pt x="309" y="227"/>
                  </a:lnTo>
                  <a:lnTo>
                    <a:pt x="309" y="202"/>
                  </a:lnTo>
                  <a:lnTo>
                    <a:pt x="307" y="179"/>
                  </a:lnTo>
                  <a:lnTo>
                    <a:pt x="301" y="156"/>
                  </a:lnTo>
                  <a:lnTo>
                    <a:pt x="295" y="137"/>
                  </a:lnTo>
                  <a:lnTo>
                    <a:pt x="295" y="137"/>
                  </a:lnTo>
                  <a:lnTo>
                    <a:pt x="287" y="121"/>
                  </a:lnTo>
                  <a:lnTo>
                    <a:pt x="278" y="104"/>
                  </a:lnTo>
                  <a:lnTo>
                    <a:pt x="268" y="94"/>
                  </a:lnTo>
                  <a:lnTo>
                    <a:pt x="256" y="83"/>
                  </a:lnTo>
                  <a:lnTo>
                    <a:pt x="241" y="75"/>
                  </a:lnTo>
                  <a:lnTo>
                    <a:pt x="226" y="69"/>
                  </a:lnTo>
                  <a:lnTo>
                    <a:pt x="210" y="65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72" y="67"/>
                  </a:lnTo>
                  <a:lnTo>
                    <a:pt x="156" y="69"/>
                  </a:lnTo>
                  <a:lnTo>
                    <a:pt x="139" y="75"/>
                  </a:lnTo>
                  <a:lnTo>
                    <a:pt x="127" y="83"/>
                  </a:lnTo>
                  <a:lnTo>
                    <a:pt x="114" y="94"/>
                  </a:lnTo>
                  <a:lnTo>
                    <a:pt x="104" y="108"/>
                  </a:lnTo>
                  <a:lnTo>
                    <a:pt x="93" y="123"/>
                  </a:lnTo>
                  <a:lnTo>
                    <a:pt x="85" y="141"/>
                  </a:lnTo>
                  <a:lnTo>
                    <a:pt x="85" y="141"/>
                  </a:lnTo>
                  <a:lnTo>
                    <a:pt x="79" y="162"/>
                  </a:lnTo>
                  <a:lnTo>
                    <a:pt x="75" y="187"/>
                  </a:lnTo>
                  <a:lnTo>
                    <a:pt x="71" y="214"/>
                  </a:lnTo>
                  <a:lnTo>
                    <a:pt x="71" y="246"/>
                  </a:lnTo>
                  <a:lnTo>
                    <a:pt x="71" y="246"/>
                  </a:lnTo>
                  <a:lnTo>
                    <a:pt x="71" y="268"/>
                  </a:lnTo>
                  <a:lnTo>
                    <a:pt x="75" y="291"/>
                  </a:lnTo>
                  <a:lnTo>
                    <a:pt x="79" y="312"/>
                  </a:lnTo>
                  <a:lnTo>
                    <a:pt x="85" y="331"/>
                  </a:lnTo>
                  <a:lnTo>
                    <a:pt x="85" y="331"/>
                  </a:lnTo>
                  <a:lnTo>
                    <a:pt x="93" y="347"/>
                  </a:lnTo>
                  <a:lnTo>
                    <a:pt x="104" y="360"/>
                  </a:lnTo>
                  <a:lnTo>
                    <a:pt x="114" y="372"/>
                  </a:lnTo>
                  <a:lnTo>
                    <a:pt x="127" y="381"/>
                  </a:lnTo>
                  <a:lnTo>
                    <a:pt x="139" y="389"/>
                  </a:lnTo>
                  <a:lnTo>
                    <a:pt x="156" y="393"/>
                  </a:lnTo>
                  <a:lnTo>
                    <a:pt x="172" y="397"/>
                  </a:lnTo>
                  <a:lnTo>
                    <a:pt x="191" y="399"/>
                  </a:lnTo>
                  <a:lnTo>
                    <a:pt x="191" y="399"/>
                  </a:lnTo>
                  <a:lnTo>
                    <a:pt x="203" y="397"/>
                  </a:lnTo>
                  <a:lnTo>
                    <a:pt x="216" y="395"/>
                  </a:lnTo>
                  <a:lnTo>
                    <a:pt x="226" y="393"/>
                  </a:lnTo>
                  <a:lnTo>
                    <a:pt x="237" y="387"/>
                  </a:lnTo>
                  <a:lnTo>
                    <a:pt x="247" y="381"/>
                  </a:lnTo>
                  <a:lnTo>
                    <a:pt x="258" y="374"/>
                  </a:lnTo>
                  <a:lnTo>
                    <a:pt x="268" y="366"/>
                  </a:lnTo>
                  <a:lnTo>
                    <a:pt x="276" y="3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727F3677-A10F-E94C-B834-E0F857339E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2988" y="3487738"/>
              <a:ext cx="26987" cy="215900"/>
            </a:xfrm>
            <a:custGeom>
              <a:avLst/>
              <a:gdLst>
                <a:gd name="T0" fmla="*/ 0 w 73"/>
                <a:gd name="T1" fmla="*/ 0 h 600"/>
                <a:gd name="T2" fmla="*/ 72 w 73"/>
                <a:gd name="T3" fmla="*/ 0 h 600"/>
                <a:gd name="T4" fmla="*/ 72 w 73"/>
                <a:gd name="T5" fmla="*/ 599 h 600"/>
                <a:gd name="T6" fmla="*/ 0 w 73"/>
                <a:gd name="T7" fmla="*/ 599 h 600"/>
                <a:gd name="T8" fmla="*/ 0 w 73"/>
                <a:gd name="T9" fmla="*/ 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600">
                  <a:moveTo>
                    <a:pt x="0" y="0"/>
                  </a:moveTo>
                  <a:lnTo>
                    <a:pt x="72" y="0"/>
                  </a:lnTo>
                  <a:lnTo>
                    <a:pt x="72" y="599"/>
                  </a:lnTo>
                  <a:lnTo>
                    <a:pt x="0" y="599"/>
                  </a:ln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5A82958D-E829-DC43-AA15-2311F09686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6963" y="3541713"/>
              <a:ext cx="146050" cy="168275"/>
            </a:xfrm>
            <a:custGeom>
              <a:avLst/>
              <a:gdLst>
                <a:gd name="T0" fmla="*/ 360 w 404"/>
                <a:gd name="T1" fmla="*/ 71 h 467"/>
                <a:gd name="T2" fmla="*/ 389 w 404"/>
                <a:gd name="T3" fmla="*/ 125 h 467"/>
                <a:gd name="T4" fmla="*/ 403 w 404"/>
                <a:gd name="T5" fmla="*/ 196 h 467"/>
                <a:gd name="T6" fmla="*/ 403 w 404"/>
                <a:gd name="T7" fmla="*/ 248 h 467"/>
                <a:gd name="T8" fmla="*/ 391 w 404"/>
                <a:gd name="T9" fmla="*/ 318 h 467"/>
                <a:gd name="T10" fmla="*/ 364 w 404"/>
                <a:gd name="T11" fmla="*/ 378 h 467"/>
                <a:gd name="T12" fmla="*/ 339 w 404"/>
                <a:gd name="T13" fmla="*/ 412 h 467"/>
                <a:gd name="T14" fmla="*/ 287 w 404"/>
                <a:gd name="T15" fmla="*/ 447 h 467"/>
                <a:gd name="T16" fmla="*/ 221 w 404"/>
                <a:gd name="T17" fmla="*/ 464 h 467"/>
                <a:gd name="T18" fmla="*/ 173 w 404"/>
                <a:gd name="T19" fmla="*/ 464 h 467"/>
                <a:gd name="T20" fmla="*/ 115 w 404"/>
                <a:gd name="T21" fmla="*/ 449 h 467"/>
                <a:gd name="T22" fmla="*/ 65 w 404"/>
                <a:gd name="T23" fmla="*/ 418 h 467"/>
                <a:gd name="T24" fmla="*/ 40 w 404"/>
                <a:gd name="T25" fmla="*/ 389 h 467"/>
                <a:gd name="T26" fmla="*/ 13 w 404"/>
                <a:gd name="T27" fmla="*/ 333 h 467"/>
                <a:gd name="T28" fmla="*/ 0 w 404"/>
                <a:gd name="T29" fmla="*/ 266 h 467"/>
                <a:gd name="T30" fmla="*/ 0 w 404"/>
                <a:gd name="T31" fmla="*/ 214 h 467"/>
                <a:gd name="T32" fmla="*/ 13 w 404"/>
                <a:gd name="T33" fmla="*/ 141 h 467"/>
                <a:gd name="T34" fmla="*/ 42 w 404"/>
                <a:gd name="T35" fmla="*/ 83 h 467"/>
                <a:gd name="T36" fmla="*/ 69 w 404"/>
                <a:gd name="T37" fmla="*/ 50 h 467"/>
                <a:gd name="T38" fmla="*/ 121 w 404"/>
                <a:gd name="T39" fmla="*/ 17 h 467"/>
                <a:gd name="T40" fmla="*/ 181 w 404"/>
                <a:gd name="T41" fmla="*/ 0 h 467"/>
                <a:gd name="T42" fmla="*/ 225 w 404"/>
                <a:gd name="T43" fmla="*/ 0 h 467"/>
                <a:gd name="T44" fmla="*/ 281 w 404"/>
                <a:gd name="T45" fmla="*/ 15 h 467"/>
                <a:gd name="T46" fmla="*/ 331 w 404"/>
                <a:gd name="T47" fmla="*/ 44 h 467"/>
                <a:gd name="T48" fmla="*/ 300 w 404"/>
                <a:gd name="T49" fmla="*/ 347 h 467"/>
                <a:gd name="T50" fmla="*/ 325 w 404"/>
                <a:gd name="T51" fmla="*/ 258 h 467"/>
                <a:gd name="T52" fmla="*/ 326 w 404"/>
                <a:gd name="T53" fmla="*/ 196 h 467"/>
                <a:gd name="T54" fmla="*/ 308 w 404"/>
                <a:gd name="T55" fmla="*/ 125 h 467"/>
                <a:gd name="T56" fmla="*/ 289 w 404"/>
                <a:gd name="T57" fmla="*/ 98 h 467"/>
                <a:gd name="T58" fmla="*/ 252 w 404"/>
                <a:gd name="T59" fmla="*/ 73 h 467"/>
                <a:gd name="T60" fmla="*/ 202 w 404"/>
                <a:gd name="T61" fmla="*/ 65 h 467"/>
                <a:gd name="T62" fmla="*/ 171 w 404"/>
                <a:gd name="T63" fmla="*/ 67 h 467"/>
                <a:gd name="T64" fmla="*/ 133 w 404"/>
                <a:gd name="T65" fmla="*/ 83 h 467"/>
                <a:gd name="T66" fmla="*/ 104 w 404"/>
                <a:gd name="T67" fmla="*/ 115 h 467"/>
                <a:gd name="T68" fmla="*/ 84 w 404"/>
                <a:gd name="T69" fmla="*/ 173 h 467"/>
                <a:gd name="T70" fmla="*/ 75 w 404"/>
                <a:gd name="T71" fmla="*/ 239 h 467"/>
                <a:gd name="T72" fmla="*/ 92 w 404"/>
                <a:gd name="T73" fmla="*/ 331 h 467"/>
                <a:gd name="T74" fmla="*/ 113 w 404"/>
                <a:gd name="T75" fmla="*/ 366 h 467"/>
                <a:gd name="T76" fmla="*/ 144 w 404"/>
                <a:gd name="T77" fmla="*/ 391 h 467"/>
                <a:gd name="T78" fmla="*/ 185 w 404"/>
                <a:gd name="T79" fmla="*/ 401 h 467"/>
                <a:gd name="T80" fmla="*/ 219 w 404"/>
                <a:gd name="T81" fmla="*/ 401 h 467"/>
                <a:gd name="T82" fmla="*/ 262 w 404"/>
                <a:gd name="T83" fmla="*/ 389 h 467"/>
                <a:gd name="T84" fmla="*/ 293 w 404"/>
                <a:gd name="T85" fmla="*/ 36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4" h="467">
                  <a:moveTo>
                    <a:pt x="345" y="56"/>
                  </a:moveTo>
                  <a:lnTo>
                    <a:pt x="345" y="56"/>
                  </a:lnTo>
                  <a:lnTo>
                    <a:pt x="360" y="71"/>
                  </a:lnTo>
                  <a:lnTo>
                    <a:pt x="370" y="87"/>
                  </a:lnTo>
                  <a:lnTo>
                    <a:pt x="381" y="106"/>
                  </a:lnTo>
                  <a:lnTo>
                    <a:pt x="389" y="125"/>
                  </a:lnTo>
                  <a:lnTo>
                    <a:pt x="395" y="148"/>
                  </a:lnTo>
                  <a:lnTo>
                    <a:pt x="399" y="171"/>
                  </a:lnTo>
                  <a:lnTo>
                    <a:pt x="403" y="196"/>
                  </a:lnTo>
                  <a:lnTo>
                    <a:pt x="403" y="223"/>
                  </a:lnTo>
                  <a:lnTo>
                    <a:pt x="403" y="223"/>
                  </a:lnTo>
                  <a:lnTo>
                    <a:pt x="403" y="248"/>
                  </a:lnTo>
                  <a:lnTo>
                    <a:pt x="401" y="273"/>
                  </a:lnTo>
                  <a:lnTo>
                    <a:pt x="397" y="295"/>
                  </a:lnTo>
                  <a:lnTo>
                    <a:pt x="391" y="318"/>
                  </a:lnTo>
                  <a:lnTo>
                    <a:pt x="383" y="339"/>
                  </a:lnTo>
                  <a:lnTo>
                    <a:pt x="374" y="360"/>
                  </a:lnTo>
                  <a:lnTo>
                    <a:pt x="364" y="378"/>
                  </a:lnTo>
                  <a:lnTo>
                    <a:pt x="354" y="397"/>
                  </a:lnTo>
                  <a:lnTo>
                    <a:pt x="354" y="397"/>
                  </a:lnTo>
                  <a:lnTo>
                    <a:pt x="339" y="412"/>
                  </a:lnTo>
                  <a:lnTo>
                    <a:pt x="325" y="426"/>
                  </a:lnTo>
                  <a:lnTo>
                    <a:pt x="306" y="439"/>
                  </a:lnTo>
                  <a:lnTo>
                    <a:pt x="287" y="447"/>
                  </a:lnTo>
                  <a:lnTo>
                    <a:pt x="266" y="455"/>
                  </a:lnTo>
                  <a:lnTo>
                    <a:pt x="244" y="462"/>
                  </a:lnTo>
                  <a:lnTo>
                    <a:pt x="221" y="464"/>
                  </a:lnTo>
                  <a:lnTo>
                    <a:pt x="194" y="466"/>
                  </a:lnTo>
                  <a:lnTo>
                    <a:pt x="194" y="466"/>
                  </a:lnTo>
                  <a:lnTo>
                    <a:pt x="173" y="464"/>
                  </a:lnTo>
                  <a:lnTo>
                    <a:pt x="152" y="462"/>
                  </a:lnTo>
                  <a:lnTo>
                    <a:pt x="131" y="457"/>
                  </a:lnTo>
                  <a:lnTo>
                    <a:pt x="115" y="449"/>
                  </a:lnTo>
                  <a:lnTo>
                    <a:pt x="96" y="441"/>
                  </a:lnTo>
                  <a:lnTo>
                    <a:pt x="81" y="431"/>
                  </a:lnTo>
                  <a:lnTo>
                    <a:pt x="65" y="418"/>
                  </a:lnTo>
                  <a:lnTo>
                    <a:pt x="52" y="403"/>
                  </a:lnTo>
                  <a:lnTo>
                    <a:pt x="52" y="403"/>
                  </a:lnTo>
                  <a:lnTo>
                    <a:pt x="40" y="389"/>
                  </a:lnTo>
                  <a:lnTo>
                    <a:pt x="29" y="370"/>
                  </a:lnTo>
                  <a:lnTo>
                    <a:pt x="19" y="354"/>
                  </a:lnTo>
                  <a:lnTo>
                    <a:pt x="13" y="333"/>
                  </a:lnTo>
                  <a:lnTo>
                    <a:pt x="7" y="312"/>
                  </a:lnTo>
                  <a:lnTo>
                    <a:pt x="3" y="289"/>
                  </a:lnTo>
                  <a:lnTo>
                    <a:pt x="0" y="266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14"/>
                  </a:lnTo>
                  <a:lnTo>
                    <a:pt x="3" y="189"/>
                  </a:lnTo>
                  <a:lnTo>
                    <a:pt x="7" y="164"/>
                  </a:lnTo>
                  <a:lnTo>
                    <a:pt x="13" y="141"/>
                  </a:lnTo>
                  <a:lnTo>
                    <a:pt x="21" y="121"/>
                  </a:lnTo>
                  <a:lnTo>
                    <a:pt x="32" y="100"/>
                  </a:lnTo>
                  <a:lnTo>
                    <a:pt x="42" y="83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69" y="50"/>
                  </a:lnTo>
                  <a:lnTo>
                    <a:pt x="85" y="38"/>
                  </a:lnTo>
                  <a:lnTo>
                    <a:pt x="102" y="25"/>
                  </a:lnTo>
                  <a:lnTo>
                    <a:pt x="121" y="17"/>
                  </a:lnTo>
                  <a:lnTo>
                    <a:pt x="140" y="8"/>
                  </a:lnTo>
                  <a:lnTo>
                    <a:pt x="160" y="4"/>
                  </a:lnTo>
                  <a:lnTo>
                    <a:pt x="181" y="0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5" y="0"/>
                  </a:lnTo>
                  <a:lnTo>
                    <a:pt x="244" y="4"/>
                  </a:lnTo>
                  <a:lnTo>
                    <a:pt x="262" y="8"/>
                  </a:lnTo>
                  <a:lnTo>
                    <a:pt x="281" y="15"/>
                  </a:lnTo>
                  <a:lnTo>
                    <a:pt x="300" y="23"/>
                  </a:lnTo>
                  <a:lnTo>
                    <a:pt x="314" y="31"/>
                  </a:lnTo>
                  <a:lnTo>
                    <a:pt x="331" y="44"/>
                  </a:lnTo>
                  <a:lnTo>
                    <a:pt x="345" y="56"/>
                  </a:lnTo>
                  <a:close/>
                  <a:moveTo>
                    <a:pt x="300" y="347"/>
                  </a:moveTo>
                  <a:lnTo>
                    <a:pt x="300" y="347"/>
                  </a:lnTo>
                  <a:lnTo>
                    <a:pt x="312" y="318"/>
                  </a:lnTo>
                  <a:lnTo>
                    <a:pt x="320" y="289"/>
                  </a:lnTo>
                  <a:lnTo>
                    <a:pt x="325" y="258"/>
                  </a:lnTo>
                  <a:lnTo>
                    <a:pt x="326" y="225"/>
                  </a:lnTo>
                  <a:lnTo>
                    <a:pt x="326" y="225"/>
                  </a:lnTo>
                  <a:lnTo>
                    <a:pt x="326" y="196"/>
                  </a:lnTo>
                  <a:lnTo>
                    <a:pt x="322" y="168"/>
                  </a:lnTo>
                  <a:lnTo>
                    <a:pt x="316" y="146"/>
                  </a:lnTo>
                  <a:lnTo>
                    <a:pt x="308" y="125"/>
                  </a:lnTo>
                  <a:lnTo>
                    <a:pt x="308" y="125"/>
                  </a:lnTo>
                  <a:lnTo>
                    <a:pt x="300" y="110"/>
                  </a:lnTo>
                  <a:lnTo>
                    <a:pt x="289" y="98"/>
                  </a:lnTo>
                  <a:lnTo>
                    <a:pt x="279" y="87"/>
                  </a:lnTo>
                  <a:lnTo>
                    <a:pt x="266" y="79"/>
                  </a:lnTo>
                  <a:lnTo>
                    <a:pt x="252" y="73"/>
                  </a:lnTo>
                  <a:lnTo>
                    <a:pt x="237" y="69"/>
                  </a:lnTo>
                  <a:lnTo>
                    <a:pt x="221" y="65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185" y="65"/>
                  </a:lnTo>
                  <a:lnTo>
                    <a:pt x="171" y="67"/>
                  </a:lnTo>
                  <a:lnTo>
                    <a:pt x="156" y="71"/>
                  </a:lnTo>
                  <a:lnTo>
                    <a:pt x="144" y="77"/>
                  </a:lnTo>
                  <a:lnTo>
                    <a:pt x="133" y="83"/>
                  </a:lnTo>
                  <a:lnTo>
                    <a:pt x="123" y="94"/>
                  </a:lnTo>
                  <a:lnTo>
                    <a:pt x="113" y="104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92" y="141"/>
                  </a:lnTo>
                  <a:lnTo>
                    <a:pt x="84" y="173"/>
                  </a:lnTo>
                  <a:lnTo>
                    <a:pt x="77" y="204"/>
                  </a:lnTo>
                  <a:lnTo>
                    <a:pt x="75" y="239"/>
                  </a:lnTo>
                  <a:lnTo>
                    <a:pt x="75" y="239"/>
                  </a:lnTo>
                  <a:lnTo>
                    <a:pt x="77" y="273"/>
                  </a:lnTo>
                  <a:lnTo>
                    <a:pt x="84" y="304"/>
                  </a:lnTo>
                  <a:lnTo>
                    <a:pt x="92" y="331"/>
                  </a:lnTo>
                  <a:lnTo>
                    <a:pt x="104" y="356"/>
                  </a:lnTo>
                  <a:lnTo>
                    <a:pt x="104" y="356"/>
                  </a:lnTo>
                  <a:lnTo>
                    <a:pt x="113" y="366"/>
                  </a:lnTo>
                  <a:lnTo>
                    <a:pt x="123" y="376"/>
                  </a:lnTo>
                  <a:lnTo>
                    <a:pt x="133" y="385"/>
                  </a:lnTo>
                  <a:lnTo>
                    <a:pt x="144" y="391"/>
                  </a:lnTo>
                  <a:lnTo>
                    <a:pt x="156" y="395"/>
                  </a:lnTo>
                  <a:lnTo>
                    <a:pt x="171" y="399"/>
                  </a:lnTo>
                  <a:lnTo>
                    <a:pt x="185" y="401"/>
                  </a:lnTo>
                  <a:lnTo>
                    <a:pt x="202" y="401"/>
                  </a:lnTo>
                  <a:lnTo>
                    <a:pt x="202" y="401"/>
                  </a:lnTo>
                  <a:lnTo>
                    <a:pt x="219" y="401"/>
                  </a:lnTo>
                  <a:lnTo>
                    <a:pt x="235" y="399"/>
                  </a:lnTo>
                  <a:lnTo>
                    <a:pt x="250" y="395"/>
                  </a:lnTo>
                  <a:lnTo>
                    <a:pt x="262" y="389"/>
                  </a:lnTo>
                  <a:lnTo>
                    <a:pt x="275" y="381"/>
                  </a:lnTo>
                  <a:lnTo>
                    <a:pt x="283" y="370"/>
                  </a:lnTo>
                  <a:lnTo>
                    <a:pt x="293" y="360"/>
                  </a:lnTo>
                  <a:lnTo>
                    <a:pt x="300" y="3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F4C6ADF5-6505-2A47-93AD-12BF0BAB3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8888" y="3546475"/>
              <a:ext cx="144462" cy="222250"/>
            </a:xfrm>
            <a:custGeom>
              <a:avLst/>
              <a:gdLst>
                <a:gd name="T0" fmla="*/ 318 w 400"/>
                <a:gd name="T1" fmla="*/ 0 h 616"/>
                <a:gd name="T2" fmla="*/ 399 w 400"/>
                <a:gd name="T3" fmla="*/ 0 h 616"/>
                <a:gd name="T4" fmla="*/ 399 w 400"/>
                <a:gd name="T5" fmla="*/ 0 h 616"/>
                <a:gd name="T6" fmla="*/ 330 w 400"/>
                <a:gd name="T7" fmla="*/ 191 h 616"/>
                <a:gd name="T8" fmla="*/ 330 w 400"/>
                <a:gd name="T9" fmla="*/ 191 h 616"/>
                <a:gd name="T10" fmla="*/ 264 w 400"/>
                <a:gd name="T11" fmla="*/ 376 h 616"/>
                <a:gd name="T12" fmla="*/ 264 w 400"/>
                <a:gd name="T13" fmla="*/ 376 h 616"/>
                <a:gd name="T14" fmla="*/ 233 w 400"/>
                <a:gd name="T15" fmla="*/ 451 h 616"/>
                <a:gd name="T16" fmla="*/ 208 w 400"/>
                <a:gd name="T17" fmla="*/ 509 h 616"/>
                <a:gd name="T18" fmla="*/ 189 w 400"/>
                <a:gd name="T19" fmla="*/ 553 h 616"/>
                <a:gd name="T20" fmla="*/ 173 w 400"/>
                <a:gd name="T21" fmla="*/ 580 h 616"/>
                <a:gd name="T22" fmla="*/ 173 w 400"/>
                <a:gd name="T23" fmla="*/ 580 h 616"/>
                <a:gd name="T24" fmla="*/ 166 w 400"/>
                <a:gd name="T25" fmla="*/ 588 h 616"/>
                <a:gd name="T26" fmla="*/ 158 w 400"/>
                <a:gd name="T27" fmla="*/ 596 h 616"/>
                <a:gd name="T28" fmla="*/ 148 w 400"/>
                <a:gd name="T29" fmla="*/ 603 h 616"/>
                <a:gd name="T30" fmla="*/ 137 w 400"/>
                <a:gd name="T31" fmla="*/ 607 h 616"/>
                <a:gd name="T32" fmla="*/ 127 w 400"/>
                <a:gd name="T33" fmla="*/ 611 h 616"/>
                <a:gd name="T34" fmla="*/ 112 w 400"/>
                <a:gd name="T35" fmla="*/ 613 h 616"/>
                <a:gd name="T36" fmla="*/ 83 w 400"/>
                <a:gd name="T37" fmla="*/ 615 h 616"/>
                <a:gd name="T38" fmla="*/ 83 w 400"/>
                <a:gd name="T39" fmla="*/ 615 h 616"/>
                <a:gd name="T40" fmla="*/ 60 w 400"/>
                <a:gd name="T41" fmla="*/ 615 h 616"/>
                <a:gd name="T42" fmla="*/ 60 w 400"/>
                <a:gd name="T43" fmla="*/ 615 h 616"/>
                <a:gd name="T44" fmla="*/ 40 w 400"/>
                <a:gd name="T45" fmla="*/ 611 h 616"/>
                <a:gd name="T46" fmla="*/ 40 w 400"/>
                <a:gd name="T47" fmla="*/ 542 h 616"/>
                <a:gd name="T48" fmla="*/ 40 w 400"/>
                <a:gd name="T49" fmla="*/ 542 h 616"/>
                <a:gd name="T50" fmla="*/ 67 w 400"/>
                <a:gd name="T51" fmla="*/ 551 h 616"/>
                <a:gd name="T52" fmla="*/ 67 w 400"/>
                <a:gd name="T53" fmla="*/ 551 h 616"/>
                <a:gd name="T54" fmla="*/ 81 w 400"/>
                <a:gd name="T55" fmla="*/ 551 h 616"/>
                <a:gd name="T56" fmla="*/ 81 w 400"/>
                <a:gd name="T57" fmla="*/ 551 h 616"/>
                <a:gd name="T58" fmla="*/ 100 w 400"/>
                <a:gd name="T59" fmla="*/ 548 h 616"/>
                <a:gd name="T60" fmla="*/ 106 w 400"/>
                <a:gd name="T61" fmla="*/ 546 h 616"/>
                <a:gd name="T62" fmla="*/ 112 w 400"/>
                <a:gd name="T63" fmla="*/ 544 h 616"/>
                <a:gd name="T64" fmla="*/ 112 w 400"/>
                <a:gd name="T65" fmla="*/ 544 h 616"/>
                <a:gd name="T66" fmla="*/ 121 w 400"/>
                <a:gd name="T67" fmla="*/ 536 h 616"/>
                <a:gd name="T68" fmla="*/ 129 w 400"/>
                <a:gd name="T69" fmla="*/ 528 h 616"/>
                <a:gd name="T70" fmla="*/ 129 w 400"/>
                <a:gd name="T71" fmla="*/ 528 h 616"/>
                <a:gd name="T72" fmla="*/ 143 w 400"/>
                <a:gd name="T73" fmla="*/ 494 h 616"/>
                <a:gd name="T74" fmla="*/ 143 w 400"/>
                <a:gd name="T75" fmla="*/ 494 h 616"/>
                <a:gd name="T76" fmla="*/ 162 w 400"/>
                <a:gd name="T77" fmla="*/ 449 h 616"/>
                <a:gd name="T78" fmla="*/ 0 w 400"/>
                <a:gd name="T79" fmla="*/ 0 h 616"/>
                <a:gd name="T80" fmla="*/ 83 w 400"/>
                <a:gd name="T81" fmla="*/ 0 h 616"/>
                <a:gd name="T82" fmla="*/ 200 w 400"/>
                <a:gd name="T83" fmla="*/ 355 h 616"/>
                <a:gd name="T84" fmla="*/ 318 w 400"/>
                <a:gd name="T85" fmla="*/ 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0" h="616">
                  <a:moveTo>
                    <a:pt x="318" y="0"/>
                  </a:moveTo>
                  <a:lnTo>
                    <a:pt x="399" y="0"/>
                  </a:lnTo>
                  <a:lnTo>
                    <a:pt x="399" y="0"/>
                  </a:lnTo>
                  <a:lnTo>
                    <a:pt x="330" y="191"/>
                  </a:lnTo>
                  <a:lnTo>
                    <a:pt x="330" y="191"/>
                  </a:lnTo>
                  <a:lnTo>
                    <a:pt x="264" y="376"/>
                  </a:lnTo>
                  <a:lnTo>
                    <a:pt x="264" y="376"/>
                  </a:lnTo>
                  <a:lnTo>
                    <a:pt x="233" y="451"/>
                  </a:lnTo>
                  <a:lnTo>
                    <a:pt x="208" y="509"/>
                  </a:lnTo>
                  <a:lnTo>
                    <a:pt x="189" y="553"/>
                  </a:lnTo>
                  <a:lnTo>
                    <a:pt x="173" y="580"/>
                  </a:lnTo>
                  <a:lnTo>
                    <a:pt x="173" y="580"/>
                  </a:lnTo>
                  <a:lnTo>
                    <a:pt x="166" y="588"/>
                  </a:lnTo>
                  <a:lnTo>
                    <a:pt x="158" y="596"/>
                  </a:lnTo>
                  <a:lnTo>
                    <a:pt x="148" y="603"/>
                  </a:lnTo>
                  <a:lnTo>
                    <a:pt x="137" y="607"/>
                  </a:lnTo>
                  <a:lnTo>
                    <a:pt x="127" y="611"/>
                  </a:lnTo>
                  <a:lnTo>
                    <a:pt x="112" y="613"/>
                  </a:lnTo>
                  <a:lnTo>
                    <a:pt x="83" y="615"/>
                  </a:lnTo>
                  <a:lnTo>
                    <a:pt x="83" y="615"/>
                  </a:lnTo>
                  <a:lnTo>
                    <a:pt x="60" y="615"/>
                  </a:lnTo>
                  <a:lnTo>
                    <a:pt x="60" y="615"/>
                  </a:lnTo>
                  <a:lnTo>
                    <a:pt x="40" y="611"/>
                  </a:lnTo>
                  <a:lnTo>
                    <a:pt x="40" y="542"/>
                  </a:lnTo>
                  <a:lnTo>
                    <a:pt x="40" y="542"/>
                  </a:lnTo>
                  <a:lnTo>
                    <a:pt x="67" y="551"/>
                  </a:lnTo>
                  <a:lnTo>
                    <a:pt x="67" y="551"/>
                  </a:lnTo>
                  <a:lnTo>
                    <a:pt x="81" y="551"/>
                  </a:lnTo>
                  <a:lnTo>
                    <a:pt x="81" y="551"/>
                  </a:lnTo>
                  <a:lnTo>
                    <a:pt x="100" y="548"/>
                  </a:lnTo>
                  <a:lnTo>
                    <a:pt x="106" y="546"/>
                  </a:lnTo>
                  <a:lnTo>
                    <a:pt x="112" y="544"/>
                  </a:lnTo>
                  <a:lnTo>
                    <a:pt x="112" y="544"/>
                  </a:lnTo>
                  <a:lnTo>
                    <a:pt x="121" y="536"/>
                  </a:lnTo>
                  <a:lnTo>
                    <a:pt x="129" y="528"/>
                  </a:lnTo>
                  <a:lnTo>
                    <a:pt x="129" y="528"/>
                  </a:lnTo>
                  <a:lnTo>
                    <a:pt x="143" y="494"/>
                  </a:lnTo>
                  <a:lnTo>
                    <a:pt x="143" y="494"/>
                  </a:lnTo>
                  <a:lnTo>
                    <a:pt x="162" y="449"/>
                  </a:lnTo>
                  <a:lnTo>
                    <a:pt x="0" y="0"/>
                  </a:lnTo>
                  <a:lnTo>
                    <a:pt x="83" y="0"/>
                  </a:lnTo>
                  <a:lnTo>
                    <a:pt x="200" y="355"/>
                  </a:lnTo>
                  <a:lnTo>
                    <a:pt x="318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257ACC8A-0D03-D744-ABE7-C3203B83DB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5575" y="3541713"/>
              <a:ext cx="212725" cy="161925"/>
            </a:xfrm>
            <a:custGeom>
              <a:avLst/>
              <a:gdLst>
                <a:gd name="T0" fmla="*/ 73 w 589"/>
                <a:gd name="T1" fmla="*/ 11 h 448"/>
                <a:gd name="T2" fmla="*/ 73 w 589"/>
                <a:gd name="T3" fmla="*/ 73 h 448"/>
                <a:gd name="T4" fmla="*/ 110 w 589"/>
                <a:gd name="T5" fmla="*/ 33 h 448"/>
                <a:gd name="T6" fmla="*/ 121 w 589"/>
                <a:gd name="T7" fmla="*/ 25 h 448"/>
                <a:gd name="T8" fmla="*/ 160 w 589"/>
                <a:gd name="T9" fmla="*/ 6 h 448"/>
                <a:gd name="T10" fmla="*/ 204 w 589"/>
                <a:gd name="T11" fmla="*/ 0 h 448"/>
                <a:gd name="T12" fmla="*/ 229 w 589"/>
                <a:gd name="T13" fmla="*/ 2 h 448"/>
                <a:gd name="T14" fmla="*/ 271 w 589"/>
                <a:gd name="T15" fmla="*/ 15 h 448"/>
                <a:gd name="T16" fmla="*/ 287 w 589"/>
                <a:gd name="T17" fmla="*/ 27 h 448"/>
                <a:gd name="T18" fmla="*/ 306 w 589"/>
                <a:gd name="T19" fmla="*/ 44 h 448"/>
                <a:gd name="T20" fmla="*/ 320 w 589"/>
                <a:gd name="T21" fmla="*/ 69 h 448"/>
                <a:gd name="T22" fmla="*/ 333 w 589"/>
                <a:gd name="T23" fmla="*/ 54 h 448"/>
                <a:gd name="T24" fmla="*/ 362 w 589"/>
                <a:gd name="T25" fmla="*/ 27 h 448"/>
                <a:gd name="T26" fmla="*/ 378 w 589"/>
                <a:gd name="T27" fmla="*/ 17 h 448"/>
                <a:gd name="T28" fmla="*/ 414 w 589"/>
                <a:gd name="T29" fmla="*/ 4 h 448"/>
                <a:gd name="T30" fmla="*/ 451 w 589"/>
                <a:gd name="T31" fmla="*/ 0 h 448"/>
                <a:gd name="T32" fmla="*/ 474 w 589"/>
                <a:gd name="T33" fmla="*/ 2 h 448"/>
                <a:gd name="T34" fmla="*/ 509 w 589"/>
                <a:gd name="T35" fmla="*/ 11 h 448"/>
                <a:gd name="T36" fmla="*/ 541 w 589"/>
                <a:gd name="T37" fmla="*/ 25 h 448"/>
                <a:gd name="T38" fmla="*/ 563 w 589"/>
                <a:gd name="T39" fmla="*/ 50 h 448"/>
                <a:gd name="T40" fmla="*/ 572 w 589"/>
                <a:gd name="T41" fmla="*/ 65 h 448"/>
                <a:gd name="T42" fmla="*/ 584 w 589"/>
                <a:gd name="T43" fmla="*/ 104 h 448"/>
                <a:gd name="T44" fmla="*/ 588 w 589"/>
                <a:gd name="T45" fmla="*/ 156 h 448"/>
                <a:gd name="T46" fmla="*/ 513 w 589"/>
                <a:gd name="T47" fmla="*/ 447 h 448"/>
                <a:gd name="T48" fmla="*/ 513 w 589"/>
                <a:gd name="T49" fmla="*/ 144 h 448"/>
                <a:gd name="T50" fmla="*/ 507 w 589"/>
                <a:gd name="T51" fmla="*/ 108 h 448"/>
                <a:gd name="T52" fmla="*/ 491 w 589"/>
                <a:gd name="T53" fmla="*/ 83 h 448"/>
                <a:gd name="T54" fmla="*/ 480 w 589"/>
                <a:gd name="T55" fmla="*/ 77 h 448"/>
                <a:gd name="T56" fmla="*/ 453 w 589"/>
                <a:gd name="T57" fmla="*/ 69 h 448"/>
                <a:gd name="T58" fmla="*/ 437 w 589"/>
                <a:gd name="T59" fmla="*/ 69 h 448"/>
                <a:gd name="T60" fmla="*/ 397 w 589"/>
                <a:gd name="T61" fmla="*/ 75 h 448"/>
                <a:gd name="T62" fmla="*/ 364 w 589"/>
                <a:gd name="T63" fmla="*/ 96 h 448"/>
                <a:gd name="T64" fmla="*/ 356 w 589"/>
                <a:gd name="T65" fmla="*/ 104 h 448"/>
                <a:gd name="T66" fmla="*/ 345 w 589"/>
                <a:gd name="T67" fmla="*/ 125 h 448"/>
                <a:gd name="T68" fmla="*/ 335 w 589"/>
                <a:gd name="T69" fmla="*/ 162 h 448"/>
                <a:gd name="T70" fmla="*/ 333 w 589"/>
                <a:gd name="T71" fmla="*/ 447 h 448"/>
                <a:gd name="T72" fmla="*/ 258 w 589"/>
                <a:gd name="T73" fmla="*/ 162 h 448"/>
                <a:gd name="T74" fmla="*/ 256 w 589"/>
                <a:gd name="T75" fmla="*/ 141 h 448"/>
                <a:gd name="T76" fmla="*/ 252 w 589"/>
                <a:gd name="T77" fmla="*/ 108 h 448"/>
                <a:gd name="T78" fmla="*/ 248 w 589"/>
                <a:gd name="T79" fmla="*/ 98 h 448"/>
                <a:gd name="T80" fmla="*/ 237 w 589"/>
                <a:gd name="T81" fmla="*/ 83 h 448"/>
                <a:gd name="T82" fmla="*/ 223 w 589"/>
                <a:gd name="T83" fmla="*/ 75 h 448"/>
                <a:gd name="T84" fmla="*/ 185 w 589"/>
                <a:gd name="T85" fmla="*/ 67 h 448"/>
                <a:gd name="T86" fmla="*/ 165 w 589"/>
                <a:gd name="T87" fmla="*/ 69 h 448"/>
                <a:gd name="T88" fmla="*/ 127 w 589"/>
                <a:gd name="T89" fmla="*/ 85 h 448"/>
                <a:gd name="T90" fmla="*/ 109 w 589"/>
                <a:gd name="T91" fmla="*/ 100 h 448"/>
                <a:gd name="T92" fmla="*/ 94 w 589"/>
                <a:gd name="T93" fmla="*/ 119 h 448"/>
                <a:gd name="T94" fmla="*/ 84 w 589"/>
                <a:gd name="T95" fmla="*/ 144 h 448"/>
                <a:gd name="T96" fmla="*/ 77 w 589"/>
                <a:gd name="T97" fmla="*/ 177 h 448"/>
                <a:gd name="T98" fmla="*/ 75 w 589"/>
                <a:gd name="T99" fmla="*/ 447 h 448"/>
                <a:gd name="T100" fmla="*/ 0 w 589"/>
                <a:gd name="T101" fmla="*/ 1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89" h="448">
                  <a:moveTo>
                    <a:pt x="0" y="11"/>
                  </a:moveTo>
                  <a:lnTo>
                    <a:pt x="73" y="11"/>
                  </a:lnTo>
                  <a:lnTo>
                    <a:pt x="73" y="73"/>
                  </a:lnTo>
                  <a:lnTo>
                    <a:pt x="73" y="73"/>
                  </a:lnTo>
                  <a:lnTo>
                    <a:pt x="98" y="44"/>
                  </a:lnTo>
                  <a:lnTo>
                    <a:pt x="110" y="33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40" y="15"/>
                  </a:lnTo>
                  <a:lnTo>
                    <a:pt x="160" y="6"/>
                  </a:lnTo>
                  <a:lnTo>
                    <a:pt x="181" y="2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9" y="2"/>
                  </a:lnTo>
                  <a:lnTo>
                    <a:pt x="250" y="6"/>
                  </a:lnTo>
                  <a:lnTo>
                    <a:pt x="271" y="15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95" y="36"/>
                  </a:lnTo>
                  <a:lnTo>
                    <a:pt x="306" y="44"/>
                  </a:lnTo>
                  <a:lnTo>
                    <a:pt x="312" y="56"/>
                  </a:lnTo>
                  <a:lnTo>
                    <a:pt x="320" y="69"/>
                  </a:lnTo>
                  <a:lnTo>
                    <a:pt x="320" y="69"/>
                  </a:lnTo>
                  <a:lnTo>
                    <a:pt x="333" y="54"/>
                  </a:lnTo>
                  <a:lnTo>
                    <a:pt x="347" y="40"/>
                  </a:lnTo>
                  <a:lnTo>
                    <a:pt x="362" y="27"/>
                  </a:lnTo>
                  <a:lnTo>
                    <a:pt x="378" y="17"/>
                  </a:lnTo>
                  <a:lnTo>
                    <a:pt x="378" y="17"/>
                  </a:lnTo>
                  <a:lnTo>
                    <a:pt x="395" y="11"/>
                  </a:lnTo>
                  <a:lnTo>
                    <a:pt x="414" y="4"/>
                  </a:lnTo>
                  <a:lnTo>
                    <a:pt x="432" y="2"/>
                  </a:lnTo>
                  <a:lnTo>
                    <a:pt x="451" y="0"/>
                  </a:lnTo>
                  <a:lnTo>
                    <a:pt x="451" y="0"/>
                  </a:lnTo>
                  <a:lnTo>
                    <a:pt x="474" y="2"/>
                  </a:lnTo>
                  <a:lnTo>
                    <a:pt x="493" y="4"/>
                  </a:lnTo>
                  <a:lnTo>
                    <a:pt x="509" y="11"/>
                  </a:lnTo>
                  <a:lnTo>
                    <a:pt x="526" y="17"/>
                  </a:lnTo>
                  <a:lnTo>
                    <a:pt x="541" y="25"/>
                  </a:lnTo>
                  <a:lnTo>
                    <a:pt x="553" y="38"/>
                  </a:lnTo>
                  <a:lnTo>
                    <a:pt x="563" y="50"/>
                  </a:lnTo>
                  <a:lnTo>
                    <a:pt x="572" y="65"/>
                  </a:lnTo>
                  <a:lnTo>
                    <a:pt x="572" y="65"/>
                  </a:lnTo>
                  <a:lnTo>
                    <a:pt x="580" y="83"/>
                  </a:lnTo>
                  <a:lnTo>
                    <a:pt x="584" y="104"/>
                  </a:lnTo>
                  <a:lnTo>
                    <a:pt x="588" y="129"/>
                  </a:lnTo>
                  <a:lnTo>
                    <a:pt x="588" y="156"/>
                  </a:lnTo>
                  <a:lnTo>
                    <a:pt x="588" y="447"/>
                  </a:lnTo>
                  <a:lnTo>
                    <a:pt x="513" y="447"/>
                  </a:lnTo>
                  <a:lnTo>
                    <a:pt x="513" y="144"/>
                  </a:lnTo>
                  <a:lnTo>
                    <a:pt x="513" y="144"/>
                  </a:lnTo>
                  <a:lnTo>
                    <a:pt x="512" y="125"/>
                  </a:lnTo>
                  <a:lnTo>
                    <a:pt x="507" y="108"/>
                  </a:lnTo>
                  <a:lnTo>
                    <a:pt x="501" y="94"/>
                  </a:lnTo>
                  <a:lnTo>
                    <a:pt x="491" y="83"/>
                  </a:lnTo>
                  <a:lnTo>
                    <a:pt x="491" y="83"/>
                  </a:lnTo>
                  <a:lnTo>
                    <a:pt x="480" y="77"/>
                  </a:lnTo>
                  <a:lnTo>
                    <a:pt x="466" y="71"/>
                  </a:lnTo>
                  <a:lnTo>
                    <a:pt x="453" y="69"/>
                  </a:lnTo>
                  <a:lnTo>
                    <a:pt x="437" y="69"/>
                  </a:lnTo>
                  <a:lnTo>
                    <a:pt x="437" y="69"/>
                  </a:lnTo>
                  <a:lnTo>
                    <a:pt x="416" y="69"/>
                  </a:lnTo>
                  <a:lnTo>
                    <a:pt x="397" y="75"/>
                  </a:lnTo>
                  <a:lnTo>
                    <a:pt x="381" y="83"/>
                  </a:lnTo>
                  <a:lnTo>
                    <a:pt x="364" y="96"/>
                  </a:lnTo>
                  <a:lnTo>
                    <a:pt x="364" y="96"/>
                  </a:lnTo>
                  <a:lnTo>
                    <a:pt x="356" y="104"/>
                  </a:lnTo>
                  <a:lnTo>
                    <a:pt x="350" y="114"/>
                  </a:lnTo>
                  <a:lnTo>
                    <a:pt x="345" y="125"/>
                  </a:lnTo>
                  <a:lnTo>
                    <a:pt x="339" y="135"/>
                  </a:lnTo>
                  <a:lnTo>
                    <a:pt x="335" y="162"/>
                  </a:lnTo>
                  <a:lnTo>
                    <a:pt x="333" y="194"/>
                  </a:lnTo>
                  <a:lnTo>
                    <a:pt x="333" y="447"/>
                  </a:lnTo>
                  <a:lnTo>
                    <a:pt x="258" y="447"/>
                  </a:lnTo>
                  <a:lnTo>
                    <a:pt x="258" y="162"/>
                  </a:lnTo>
                  <a:lnTo>
                    <a:pt x="258" y="162"/>
                  </a:lnTo>
                  <a:lnTo>
                    <a:pt x="256" y="141"/>
                  </a:lnTo>
                  <a:lnTo>
                    <a:pt x="254" y="125"/>
                  </a:lnTo>
                  <a:lnTo>
                    <a:pt x="252" y="108"/>
                  </a:lnTo>
                  <a:lnTo>
                    <a:pt x="248" y="98"/>
                  </a:lnTo>
                  <a:lnTo>
                    <a:pt x="248" y="98"/>
                  </a:lnTo>
                  <a:lnTo>
                    <a:pt x="241" y="89"/>
                  </a:lnTo>
                  <a:lnTo>
                    <a:pt x="237" y="83"/>
                  </a:lnTo>
                  <a:lnTo>
                    <a:pt x="231" y="79"/>
                  </a:lnTo>
                  <a:lnTo>
                    <a:pt x="223" y="75"/>
                  </a:lnTo>
                  <a:lnTo>
                    <a:pt x="206" y="69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65" y="69"/>
                  </a:lnTo>
                  <a:lnTo>
                    <a:pt x="144" y="75"/>
                  </a:lnTo>
                  <a:lnTo>
                    <a:pt x="127" y="85"/>
                  </a:lnTo>
                  <a:lnTo>
                    <a:pt x="109" y="100"/>
                  </a:lnTo>
                  <a:lnTo>
                    <a:pt x="109" y="100"/>
                  </a:lnTo>
                  <a:lnTo>
                    <a:pt x="100" y="108"/>
                  </a:lnTo>
                  <a:lnTo>
                    <a:pt x="94" y="119"/>
                  </a:lnTo>
                  <a:lnTo>
                    <a:pt x="88" y="131"/>
                  </a:lnTo>
                  <a:lnTo>
                    <a:pt x="84" y="144"/>
                  </a:lnTo>
                  <a:lnTo>
                    <a:pt x="79" y="160"/>
                  </a:lnTo>
                  <a:lnTo>
                    <a:pt x="77" y="177"/>
                  </a:lnTo>
                  <a:lnTo>
                    <a:pt x="75" y="216"/>
                  </a:lnTo>
                  <a:lnTo>
                    <a:pt x="75" y="447"/>
                  </a:lnTo>
                  <a:lnTo>
                    <a:pt x="0" y="447"/>
                  </a:lnTo>
                  <a:lnTo>
                    <a:pt x="0" y="1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6CB45194-4781-284E-92B3-6CA9DCC1F2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875" y="3541713"/>
              <a:ext cx="142875" cy="166687"/>
            </a:xfrm>
            <a:custGeom>
              <a:avLst/>
              <a:gdLst>
                <a:gd name="T0" fmla="*/ 294 w 397"/>
                <a:gd name="T1" fmla="*/ 23 h 465"/>
                <a:gd name="T2" fmla="*/ 334 w 397"/>
                <a:gd name="T3" fmla="*/ 48 h 465"/>
                <a:gd name="T4" fmla="*/ 361 w 397"/>
                <a:gd name="T5" fmla="*/ 79 h 465"/>
                <a:gd name="T6" fmla="*/ 371 w 397"/>
                <a:gd name="T7" fmla="*/ 96 h 465"/>
                <a:gd name="T8" fmla="*/ 386 w 397"/>
                <a:gd name="T9" fmla="*/ 135 h 465"/>
                <a:gd name="T10" fmla="*/ 390 w 397"/>
                <a:gd name="T11" fmla="*/ 156 h 465"/>
                <a:gd name="T12" fmla="*/ 394 w 397"/>
                <a:gd name="T13" fmla="*/ 196 h 465"/>
                <a:gd name="T14" fmla="*/ 78 w 397"/>
                <a:gd name="T15" fmla="*/ 252 h 465"/>
                <a:gd name="T16" fmla="*/ 83 w 397"/>
                <a:gd name="T17" fmla="*/ 285 h 465"/>
                <a:gd name="T18" fmla="*/ 97 w 397"/>
                <a:gd name="T19" fmla="*/ 337 h 465"/>
                <a:gd name="T20" fmla="*/ 110 w 397"/>
                <a:gd name="T21" fmla="*/ 360 h 465"/>
                <a:gd name="T22" fmla="*/ 126 w 397"/>
                <a:gd name="T23" fmla="*/ 376 h 465"/>
                <a:gd name="T24" fmla="*/ 147 w 397"/>
                <a:gd name="T25" fmla="*/ 389 h 465"/>
                <a:gd name="T26" fmla="*/ 172 w 397"/>
                <a:gd name="T27" fmla="*/ 397 h 465"/>
                <a:gd name="T28" fmla="*/ 201 w 397"/>
                <a:gd name="T29" fmla="*/ 399 h 465"/>
                <a:gd name="T30" fmla="*/ 213 w 397"/>
                <a:gd name="T31" fmla="*/ 399 h 465"/>
                <a:gd name="T32" fmla="*/ 240 w 397"/>
                <a:gd name="T33" fmla="*/ 395 h 465"/>
                <a:gd name="T34" fmla="*/ 263 w 397"/>
                <a:gd name="T35" fmla="*/ 385 h 465"/>
                <a:gd name="T36" fmla="*/ 282 w 397"/>
                <a:gd name="T37" fmla="*/ 370 h 465"/>
                <a:gd name="T38" fmla="*/ 292 w 397"/>
                <a:gd name="T39" fmla="*/ 362 h 465"/>
                <a:gd name="T40" fmla="*/ 307 w 397"/>
                <a:gd name="T41" fmla="*/ 337 h 465"/>
                <a:gd name="T42" fmla="*/ 317 w 397"/>
                <a:gd name="T43" fmla="*/ 310 h 465"/>
                <a:gd name="T44" fmla="*/ 390 w 397"/>
                <a:gd name="T45" fmla="*/ 310 h 465"/>
                <a:gd name="T46" fmla="*/ 384 w 397"/>
                <a:gd name="T47" fmla="*/ 337 h 465"/>
                <a:gd name="T48" fmla="*/ 371 w 397"/>
                <a:gd name="T49" fmla="*/ 364 h 465"/>
                <a:gd name="T50" fmla="*/ 336 w 397"/>
                <a:gd name="T51" fmla="*/ 412 h 465"/>
                <a:gd name="T52" fmla="*/ 317 w 397"/>
                <a:gd name="T53" fmla="*/ 429 h 465"/>
                <a:gd name="T54" fmla="*/ 278 w 397"/>
                <a:gd name="T55" fmla="*/ 449 h 465"/>
                <a:gd name="T56" fmla="*/ 253 w 397"/>
                <a:gd name="T57" fmla="*/ 457 h 465"/>
                <a:gd name="T58" fmla="*/ 195 w 397"/>
                <a:gd name="T59" fmla="*/ 464 h 465"/>
                <a:gd name="T60" fmla="*/ 174 w 397"/>
                <a:gd name="T61" fmla="*/ 462 h 465"/>
                <a:gd name="T62" fmla="*/ 137 w 397"/>
                <a:gd name="T63" fmla="*/ 455 h 465"/>
                <a:gd name="T64" fmla="*/ 101 w 397"/>
                <a:gd name="T65" fmla="*/ 441 h 465"/>
                <a:gd name="T66" fmla="*/ 70 w 397"/>
                <a:gd name="T67" fmla="*/ 418 h 465"/>
                <a:gd name="T68" fmla="*/ 56 w 397"/>
                <a:gd name="T69" fmla="*/ 404 h 465"/>
                <a:gd name="T70" fmla="*/ 33 w 397"/>
                <a:gd name="T71" fmla="*/ 370 h 465"/>
                <a:gd name="T72" fmla="*/ 14 w 397"/>
                <a:gd name="T73" fmla="*/ 333 h 465"/>
                <a:gd name="T74" fmla="*/ 4 w 397"/>
                <a:gd name="T75" fmla="*/ 287 h 465"/>
                <a:gd name="T76" fmla="*/ 0 w 397"/>
                <a:gd name="T77" fmla="*/ 237 h 465"/>
                <a:gd name="T78" fmla="*/ 2 w 397"/>
                <a:gd name="T79" fmla="*/ 212 h 465"/>
                <a:gd name="T80" fmla="*/ 8 w 397"/>
                <a:gd name="T81" fmla="*/ 164 h 465"/>
                <a:gd name="T82" fmla="*/ 22 w 397"/>
                <a:gd name="T83" fmla="*/ 121 h 465"/>
                <a:gd name="T84" fmla="*/ 43 w 397"/>
                <a:gd name="T85" fmla="*/ 83 h 465"/>
                <a:gd name="T86" fmla="*/ 58 w 397"/>
                <a:gd name="T87" fmla="*/ 67 h 465"/>
                <a:gd name="T88" fmla="*/ 87 w 397"/>
                <a:gd name="T89" fmla="*/ 38 h 465"/>
                <a:gd name="T90" fmla="*/ 122 w 397"/>
                <a:gd name="T91" fmla="*/ 17 h 465"/>
                <a:gd name="T92" fmla="*/ 162 w 397"/>
                <a:gd name="T93" fmla="*/ 4 h 465"/>
                <a:gd name="T94" fmla="*/ 205 w 397"/>
                <a:gd name="T95" fmla="*/ 0 h 465"/>
                <a:gd name="T96" fmla="*/ 228 w 397"/>
                <a:gd name="T97" fmla="*/ 2 h 465"/>
                <a:gd name="T98" fmla="*/ 274 w 397"/>
                <a:gd name="T99" fmla="*/ 13 h 465"/>
                <a:gd name="T100" fmla="*/ 322 w 397"/>
                <a:gd name="T101" fmla="*/ 194 h 465"/>
                <a:gd name="T102" fmla="*/ 317 w 397"/>
                <a:gd name="T103" fmla="*/ 171 h 465"/>
                <a:gd name="T104" fmla="*/ 307 w 397"/>
                <a:gd name="T105" fmla="*/ 133 h 465"/>
                <a:gd name="T106" fmla="*/ 301 w 397"/>
                <a:gd name="T107" fmla="*/ 119 h 465"/>
                <a:gd name="T108" fmla="*/ 284 w 397"/>
                <a:gd name="T109" fmla="*/ 94 h 465"/>
                <a:gd name="T110" fmla="*/ 261 w 397"/>
                <a:gd name="T111" fmla="*/ 79 h 465"/>
                <a:gd name="T112" fmla="*/ 232 w 397"/>
                <a:gd name="T113" fmla="*/ 69 h 465"/>
                <a:gd name="T114" fmla="*/ 201 w 397"/>
                <a:gd name="T115" fmla="*/ 65 h 465"/>
                <a:gd name="T116" fmla="*/ 176 w 397"/>
                <a:gd name="T117" fmla="*/ 67 h 465"/>
                <a:gd name="T118" fmla="*/ 134 w 397"/>
                <a:gd name="T119" fmla="*/ 85 h 465"/>
                <a:gd name="T120" fmla="*/ 116 w 397"/>
                <a:gd name="T121" fmla="*/ 102 h 465"/>
                <a:gd name="T122" fmla="*/ 91 w 397"/>
                <a:gd name="T123" fmla="*/ 144 h 465"/>
                <a:gd name="T124" fmla="*/ 81 w 397"/>
                <a:gd name="T125" fmla="*/ 19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7" h="465">
                  <a:moveTo>
                    <a:pt x="294" y="23"/>
                  </a:moveTo>
                  <a:lnTo>
                    <a:pt x="294" y="23"/>
                  </a:lnTo>
                  <a:lnTo>
                    <a:pt x="315" y="33"/>
                  </a:lnTo>
                  <a:lnTo>
                    <a:pt x="334" y="48"/>
                  </a:lnTo>
                  <a:lnTo>
                    <a:pt x="349" y="63"/>
                  </a:lnTo>
                  <a:lnTo>
                    <a:pt x="361" y="79"/>
                  </a:lnTo>
                  <a:lnTo>
                    <a:pt x="361" y="79"/>
                  </a:lnTo>
                  <a:lnTo>
                    <a:pt x="371" y="96"/>
                  </a:lnTo>
                  <a:lnTo>
                    <a:pt x="380" y="114"/>
                  </a:lnTo>
                  <a:lnTo>
                    <a:pt x="386" y="135"/>
                  </a:lnTo>
                  <a:lnTo>
                    <a:pt x="390" y="156"/>
                  </a:lnTo>
                  <a:lnTo>
                    <a:pt x="390" y="156"/>
                  </a:lnTo>
                  <a:lnTo>
                    <a:pt x="392" y="173"/>
                  </a:lnTo>
                  <a:lnTo>
                    <a:pt x="394" y="196"/>
                  </a:lnTo>
                  <a:lnTo>
                    <a:pt x="396" y="252"/>
                  </a:lnTo>
                  <a:lnTo>
                    <a:pt x="78" y="252"/>
                  </a:lnTo>
                  <a:lnTo>
                    <a:pt x="78" y="252"/>
                  </a:lnTo>
                  <a:lnTo>
                    <a:pt x="83" y="285"/>
                  </a:lnTo>
                  <a:lnTo>
                    <a:pt x="87" y="312"/>
                  </a:lnTo>
                  <a:lnTo>
                    <a:pt x="97" y="337"/>
                  </a:lnTo>
                  <a:lnTo>
                    <a:pt x="110" y="360"/>
                  </a:lnTo>
                  <a:lnTo>
                    <a:pt x="110" y="360"/>
                  </a:lnTo>
                  <a:lnTo>
                    <a:pt x="118" y="368"/>
                  </a:lnTo>
                  <a:lnTo>
                    <a:pt x="126" y="376"/>
                  </a:lnTo>
                  <a:lnTo>
                    <a:pt x="137" y="385"/>
                  </a:lnTo>
                  <a:lnTo>
                    <a:pt x="147" y="389"/>
                  </a:lnTo>
                  <a:lnTo>
                    <a:pt x="159" y="395"/>
                  </a:lnTo>
                  <a:lnTo>
                    <a:pt x="172" y="397"/>
                  </a:lnTo>
                  <a:lnTo>
                    <a:pt x="187" y="399"/>
                  </a:lnTo>
                  <a:lnTo>
                    <a:pt x="201" y="399"/>
                  </a:lnTo>
                  <a:lnTo>
                    <a:pt x="201" y="399"/>
                  </a:lnTo>
                  <a:lnTo>
                    <a:pt x="213" y="399"/>
                  </a:lnTo>
                  <a:lnTo>
                    <a:pt x="228" y="397"/>
                  </a:lnTo>
                  <a:lnTo>
                    <a:pt x="240" y="395"/>
                  </a:lnTo>
                  <a:lnTo>
                    <a:pt x="251" y="391"/>
                  </a:lnTo>
                  <a:lnTo>
                    <a:pt x="263" y="385"/>
                  </a:lnTo>
                  <a:lnTo>
                    <a:pt x="274" y="379"/>
                  </a:lnTo>
                  <a:lnTo>
                    <a:pt x="282" y="370"/>
                  </a:lnTo>
                  <a:lnTo>
                    <a:pt x="292" y="362"/>
                  </a:lnTo>
                  <a:lnTo>
                    <a:pt x="292" y="362"/>
                  </a:lnTo>
                  <a:lnTo>
                    <a:pt x="301" y="349"/>
                  </a:lnTo>
                  <a:lnTo>
                    <a:pt x="307" y="337"/>
                  </a:lnTo>
                  <a:lnTo>
                    <a:pt x="313" y="324"/>
                  </a:lnTo>
                  <a:lnTo>
                    <a:pt x="317" y="310"/>
                  </a:lnTo>
                  <a:lnTo>
                    <a:pt x="390" y="310"/>
                  </a:lnTo>
                  <a:lnTo>
                    <a:pt x="390" y="310"/>
                  </a:lnTo>
                  <a:lnTo>
                    <a:pt x="388" y="322"/>
                  </a:lnTo>
                  <a:lnTo>
                    <a:pt x="384" y="337"/>
                  </a:lnTo>
                  <a:lnTo>
                    <a:pt x="371" y="364"/>
                  </a:lnTo>
                  <a:lnTo>
                    <a:pt x="371" y="364"/>
                  </a:lnTo>
                  <a:lnTo>
                    <a:pt x="355" y="391"/>
                  </a:lnTo>
                  <a:lnTo>
                    <a:pt x="336" y="412"/>
                  </a:lnTo>
                  <a:lnTo>
                    <a:pt x="336" y="412"/>
                  </a:lnTo>
                  <a:lnTo>
                    <a:pt x="317" y="429"/>
                  </a:lnTo>
                  <a:lnTo>
                    <a:pt x="299" y="441"/>
                  </a:lnTo>
                  <a:lnTo>
                    <a:pt x="278" y="449"/>
                  </a:lnTo>
                  <a:lnTo>
                    <a:pt x="253" y="457"/>
                  </a:lnTo>
                  <a:lnTo>
                    <a:pt x="253" y="457"/>
                  </a:lnTo>
                  <a:lnTo>
                    <a:pt x="226" y="462"/>
                  </a:lnTo>
                  <a:lnTo>
                    <a:pt x="195" y="464"/>
                  </a:lnTo>
                  <a:lnTo>
                    <a:pt x="195" y="464"/>
                  </a:lnTo>
                  <a:lnTo>
                    <a:pt x="174" y="462"/>
                  </a:lnTo>
                  <a:lnTo>
                    <a:pt x="155" y="460"/>
                  </a:lnTo>
                  <a:lnTo>
                    <a:pt x="137" y="455"/>
                  </a:lnTo>
                  <a:lnTo>
                    <a:pt x="120" y="449"/>
                  </a:lnTo>
                  <a:lnTo>
                    <a:pt x="101" y="441"/>
                  </a:lnTo>
                  <a:lnTo>
                    <a:pt x="87" y="431"/>
                  </a:lnTo>
                  <a:lnTo>
                    <a:pt x="70" y="418"/>
                  </a:lnTo>
                  <a:lnTo>
                    <a:pt x="56" y="404"/>
                  </a:lnTo>
                  <a:lnTo>
                    <a:pt x="56" y="404"/>
                  </a:lnTo>
                  <a:lnTo>
                    <a:pt x="43" y="389"/>
                  </a:lnTo>
                  <a:lnTo>
                    <a:pt x="33" y="370"/>
                  </a:lnTo>
                  <a:lnTo>
                    <a:pt x="22" y="354"/>
                  </a:lnTo>
                  <a:lnTo>
                    <a:pt x="14" y="333"/>
                  </a:lnTo>
                  <a:lnTo>
                    <a:pt x="8" y="312"/>
                  </a:lnTo>
                  <a:lnTo>
                    <a:pt x="4" y="287"/>
                  </a:lnTo>
                  <a:lnTo>
                    <a:pt x="2" y="264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2" y="212"/>
                  </a:lnTo>
                  <a:lnTo>
                    <a:pt x="4" y="187"/>
                  </a:lnTo>
                  <a:lnTo>
                    <a:pt x="8" y="164"/>
                  </a:lnTo>
                  <a:lnTo>
                    <a:pt x="14" y="141"/>
                  </a:lnTo>
                  <a:lnTo>
                    <a:pt x="22" y="121"/>
                  </a:lnTo>
                  <a:lnTo>
                    <a:pt x="33" y="102"/>
                  </a:lnTo>
                  <a:lnTo>
                    <a:pt x="43" y="83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72" y="52"/>
                  </a:lnTo>
                  <a:lnTo>
                    <a:pt x="87" y="38"/>
                  </a:lnTo>
                  <a:lnTo>
                    <a:pt x="106" y="27"/>
                  </a:lnTo>
                  <a:lnTo>
                    <a:pt x="122" y="17"/>
                  </a:lnTo>
                  <a:lnTo>
                    <a:pt x="141" y="11"/>
                  </a:lnTo>
                  <a:lnTo>
                    <a:pt x="162" y="4"/>
                  </a:lnTo>
                  <a:lnTo>
                    <a:pt x="182" y="2"/>
                  </a:lnTo>
                  <a:lnTo>
                    <a:pt x="205" y="0"/>
                  </a:lnTo>
                  <a:lnTo>
                    <a:pt x="205" y="0"/>
                  </a:lnTo>
                  <a:lnTo>
                    <a:pt x="228" y="2"/>
                  </a:lnTo>
                  <a:lnTo>
                    <a:pt x="251" y="6"/>
                  </a:lnTo>
                  <a:lnTo>
                    <a:pt x="274" y="13"/>
                  </a:lnTo>
                  <a:lnTo>
                    <a:pt x="294" y="23"/>
                  </a:lnTo>
                  <a:close/>
                  <a:moveTo>
                    <a:pt x="322" y="194"/>
                  </a:moveTo>
                  <a:lnTo>
                    <a:pt x="322" y="194"/>
                  </a:lnTo>
                  <a:lnTo>
                    <a:pt x="317" y="171"/>
                  </a:lnTo>
                  <a:lnTo>
                    <a:pt x="313" y="152"/>
                  </a:lnTo>
                  <a:lnTo>
                    <a:pt x="307" y="133"/>
                  </a:lnTo>
                  <a:lnTo>
                    <a:pt x="301" y="119"/>
                  </a:lnTo>
                  <a:lnTo>
                    <a:pt x="301" y="119"/>
                  </a:lnTo>
                  <a:lnTo>
                    <a:pt x="292" y="106"/>
                  </a:lnTo>
                  <a:lnTo>
                    <a:pt x="284" y="94"/>
                  </a:lnTo>
                  <a:lnTo>
                    <a:pt x="272" y="85"/>
                  </a:lnTo>
                  <a:lnTo>
                    <a:pt x="261" y="79"/>
                  </a:lnTo>
                  <a:lnTo>
                    <a:pt x="247" y="73"/>
                  </a:lnTo>
                  <a:lnTo>
                    <a:pt x="232" y="69"/>
                  </a:lnTo>
                  <a:lnTo>
                    <a:pt x="218" y="67"/>
                  </a:lnTo>
                  <a:lnTo>
                    <a:pt x="201" y="65"/>
                  </a:lnTo>
                  <a:lnTo>
                    <a:pt x="201" y="65"/>
                  </a:lnTo>
                  <a:lnTo>
                    <a:pt x="176" y="67"/>
                  </a:lnTo>
                  <a:lnTo>
                    <a:pt x="155" y="75"/>
                  </a:lnTo>
                  <a:lnTo>
                    <a:pt x="134" y="85"/>
                  </a:lnTo>
                  <a:lnTo>
                    <a:pt x="116" y="102"/>
                  </a:lnTo>
                  <a:lnTo>
                    <a:pt x="116" y="102"/>
                  </a:lnTo>
                  <a:lnTo>
                    <a:pt x="101" y="121"/>
                  </a:lnTo>
                  <a:lnTo>
                    <a:pt x="91" y="144"/>
                  </a:lnTo>
                  <a:lnTo>
                    <a:pt x="83" y="166"/>
                  </a:lnTo>
                  <a:lnTo>
                    <a:pt x="81" y="194"/>
                  </a:lnTo>
                  <a:lnTo>
                    <a:pt x="322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A0536A18-0ABF-3944-84AA-57CCED1F0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3088" y="3541713"/>
              <a:ext cx="128587" cy="161925"/>
            </a:xfrm>
            <a:custGeom>
              <a:avLst/>
              <a:gdLst>
                <a:gd name="T0" fmla="*/ 0 w 356"/>
                <a:gd name="T1" fmla="*/ 11 h 448"/>
                <a:gd name="T2" fmla="*/ 68 w 356"/>
                <a:gd name="T3" fmla="*/ 11 h 448"/>
                <a:gd name="T4" fmla="*/ 68 w 356"/>
                <a:gd name="T5" fmla="*/ 73 h 448"/>
                <a:gd name="T6" fmla="*/ 68 w 356"/>
                <a:gd name="T7" fmla="*/ 73 h 448"/>
                <a:gd name="T8" fmla="*/ 85 w 356"/>
                <a:gd name="T9" fmla="*/ 54 h 448"/>
                <a:gd name="T10" fmla="*/ 102 w 356"/>
                <a:gd name="T11" fmla="*/ 40 h 448"/>
                <a:gd name="T12" fmla="*/ 118 w 356"/>
                <a:gd name="T13" fmla="*/ 27 h 448"/>
                <a:gd name="T14" fmla="*/ 135 w 356"/>
                <a:gd name="T15" fmla="*/ 17 h 448"/>
                <a:gd name="T16" fmla="*/ 135 w 356"/>
                <a:gd name="T17" fmla="*/ 17 h 448"/>
                <a:gd name="T18" fmla="*/ 154 w 356"/>
                <a:gd name="T19" fmla="*/ 11 h 448"/>
                <a:gd name="T20" fmla="*/ 172 w 356"/>
                <a:gd name="T21" fmla="*/ 4 h 448"/>
                <a:gd name="T22" fmla="*/ 191 w 356"/>
                <a:gd name="T23" fmla="*/ 2 h 448"/>
                <a:gd name="T24" fmla="*/ 212 w 356"/>
                <a:gd name="T25" fmla="*/ 0 h 448"/>
                <a:gd name="T26" fmla="*/ 212 w 356"/>
                <a:gd name="T27" fmla="*/ 0 h 448"/>
                <a:gd name="T28" fmla="*/ 235 w 356"/>
                <a:gd name="T29" fmla="*/ 2 h 448"/>
                <a:gd name="T30" fmla="*/ 255 w 356"/>
                <a:gd name="T31" fmla="*/ 4 h 448"/>
                <a:gd name="T32" fmla="*/ 274 w 356"/>
                <a:gd name="T33" fmla="*/ 11 h 448"/>
                <a:gd name="T34" fmla="*/ 291 w 356"/>
                <a:gd name="T35" fmla="*/ 17 h 448"/>
                <a:gd name="T36" fmla="*/ 305 w 356"/>
                <a:gd name="T37" fmla="*/ 27 h 448"/>
                <a:gd name="T38" fmla="*/ 318 w 356"/>
                <a:gd name="T39" fmla="*/ 38 h 448"/>
                <a:gd name="T40" fmla="*/ 328 w 356"/>
                <a:gd name="T41" fmla="*/ 50 h 448"/>
                <a:gd name="T42" fmla="*/ 338 w 356"/>
                <a:gd name="T43" fmla="*/ 67 h 448"/>
                <a:gd name="T44" fmla="*/ 338 w 356"/>
                <a:gd name="T45" fmla="*/ 67 h 448"/>
                <a:gd name="T46" fmla="*/ 345 w 356"/>
                <a:gd name="T47" fmla="*/ 85 h 448"/>
                <a:gd name="T48" fmla="*/ 351 w 356"/>
                <a:gd name="T49" fmla="*/ 108 h 448"/>
                <a:gd name="T50" fmla="*/ 355 w 356"/>
                <a:gd name="T51" fmla="*/ 135 h 448"/>
                <a:gd name="T52" fmla="*/ 355 w 356"/>
                <a:gd name="T53" fmla="*/ 166 h 448"/>
                <a:gd name="T54" fmla="*/ 355 w 356"/>
                <a:gd name="T55" fmla="*/ 447 h 448"/>
                <a:gd name="T56" fmla="*/ 280 w 356"/>
                <a:gd name="T57" fmla="*/ 447 h 448"/>
                <a:gd name="T58" fmla="*/ 280 w 356"/>
                <a:gd name="T59" fmla="*/ 173 h 448"/>
                <a:gd name="T60" fmla="*/ 280 w 356"/>
                <a:gd name="T61" fmla="*/ 173 h 448"/>
                <a:gd name="T62" fmla="*/ 280 w 356"/>
                <a:gd name="T63" fmla="*/ 154 h 448"/>
                <a:gd name="T64" fmla="*/ 278 w 356"/>
                <a:gd name="T65" fmla="*/ 135 h 448"/>
                <a:gd name="T66" fmla="*/ 274 w 356"/>
                <a:gd name="T67" fmla="*/ 121 h 448"/>
                <a:gd name="T68" fmla="*/ 270 w 356"/>
                <a:gd name="T69" fmla="*/ 108 h 448"/>
                <a:gd name="T70" fmla="*/ 270 w 356"/>
                <a:gd name="T71" fmla="*/ 108 h 448"/>
                <a:gd name="T72" fmla="*/ 264 w 356"/>
                <a:gd name="T73" fmla="*/ 98 h 448"/>
                <a:gd name="T74" fmla="*/ 257 w 356"/>
                <a:gd name="T75" fmla="*/ 89 h 448"/>
                <a:gd name="T76" fmla="*/ 249 w 356"/>
                <a:gd name="T77" fmla="*/ 83 h 448"/>
                <a:gd name="T78" fmla="*/ 241 w 356"/>
                <a:gd name="T79" fmla="*/ 77 h 448"/>
                <a:gd name="T80" fmla="*/ 232 w 356"/>
                <a:gd name="T81" fmla="*/ 73 h 448"/>
                <a:gd name="T82" fmla="*/ 222 w 356"/>
                <a:gd name="T83" fmla="*/ 69 h 448"/>
                <a:gd name="T84" fmla="*/ 210 w 356"/>
                <a:gd name="T85" fmla="*/ 67 h 448"/>
                <a:gd name="T86" fmla="*/ 199 w 356"/>
                <a:gd name="T87" fmla="*/ 67 h 448"/>
                <a:gd name="T88" fmla="*/ 199 w 356"/>
                <a:gd name="T89" fmla="*/ 67 h 448"/>
                <a:gd name="T90" fmla="*/ 174 w 356"/>
                <a:gd name="T91" fmla="*/ 69 h 448"/>
                <a:gd name="T92" fmla="*/ 156 w 356"/>
                <a:gd name="T93" fmla="*/ 73 h 448"/>
                <a:gd name="T94" fmla="*/ 156 w 356"/>
                <a:gd name="T95" fmla="*/ 73 h 448"/>
                <a:gd name="T96" fmla="*/ 141 w 356"/>
                <a:gd name="T97" fmla="*/ 77 h 448"/>
                <a:gd name="T98" fmla="*/ 126 w 356"/>
                <a:gd name="T99" fmla="*/ 85 h 448"/>
                <a:gd name="T100" fmla="*/ 114 w 356"/>
                <a:gd name="T101" fmla="*/ 96 h 448"/>
                <a:gd name="T102" fmla="*/ 102 w 356"/>
                <a:gd name="T103" fmla="*/ 108 h 448"/>
                <a:gd name="T104" fmla="*/ 102 w 356"/>
                <a:gd name="T105" fmla="*/ 108 h 448"/>
                <a:gd name="T106" fmla="*/ 93 w 356"/>
                <a:gd name="T107" fmla="*/ 119 h 448"/>
                <a:gd name="T108" fmla="*/ 87 w 356"/>
                <a:gd name="T109" fmla="*/ 131 h 448"/>
                <a:gd name="T110" fmla="*/ 83 w 356"/>
                <a:gd name="T111" fmla="*/ 141 h 448"/>
                <a:gd name="T112" fmla="*/ 79 w 356"/>
                <a:gd name="T113" fmla="*/ 152 h 448"/>
                <a:gd name="T114" fmla="*/ 79 w 356"/>
                <a:gd name="T115" fmla="*/ 152 h 448"/>
                <a:gd name="T116" fmla="*/ 75 w 356"/>
                <a:gd name="T117" fmla="*/ 181 h 448"/>
                <a:gd name="T118" fmla="*/ 72 w 356"/>
                <a:gd name="T119" fmla="*/ 218 h 448"/>
                <a:gd name="T120" fmla="*/ 72 w 356"/>
                <a:gd name="T121" fmla="*/ 447 h 448"/>
                <a:gd name="T122" fmla="*/ 0 w 356"/>
                <a:gd name="T123" fmla="*/ 447 h 448"/>
                <a:gd name="T124" fmla="*/ 0 w 356"/>
                <a:gd name="T125" fmla="*/ 1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" h="448">
                  <a:moveTo>
                    <a:pt x="0" y="11"/>
                  </a:moveTo>
                  <a:lnTo>
                    <a:pt x="68" y="11"/>
                  </a:lnTo>
                  <a:lnTo>
                    <a:pt x="68" y="73"/>
                  </a:lnTo>
                  <a:lnTo>
                    <a:pt x="68" y="73"/>
                  </a:lnTo>
                  <a:lnTo>
                    <a:pt x="85" y="54"/>
                  </a:lnTo>
                  <a:lnTo>
                    <a:pt x="102" y="40"/>
                  </a:lnTo>
                  <a:lnTo>
                    <a:pt x="118" y="2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54" y="11"/>
                  </a:lnTo>
                  <a:lnTo>
                    <a:pt x="172" y="4"/>
                  </a:lnTo>
                  <a:lnTo>
                    <a:pt x="191" y="2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5" y="2"/>
                  </a:lnTo>
                  <a:lnTo>
                    <a:pt x="255" y="4"/>
                  </a:lnTo>
                  <a:lnTo>
                    <a:pt x="274" y="11"/>
                  </a:lnTo>
                  <a:lnTo>
                    <a:pt x="291" y="17"/>
                  </a:lnTo>
                  <a:lnTo>
                    <a:pt x="305" y="27"/>
                  </a:lnTo>
                  <a:lnTo>
                    <a:pt x="318" y="38"/>
                  </a:lnTo>
                  <a:lnTo>
                    <a:pt x="328" y="50"/>
                  </a:lnTo>
                  <a:lnTo>
                    <a:pt x="338" y="67"/>
                  </a:lnTo>
                  <a:lnTo>
                    <a:pt x="338" y="67"/>
                  </a:lnTo>
                  <a:lnTo>
                    <a:pt x="345" y="85"/>
                  </a:lnTo>
                  <a:lnTo>
                    <a:pt x="351" y="108"/>
                  </a:lnTo>
                  <a:lnTo>
                    <a:pt x="355" y="135"/>
                  </a:lnTo>
                  <a:lnTo>
                    <a:pt x="355" y="166"/>
                  </a:lnTo>
                  <a:lnTo>
                    <a:pt x="355" y="447"/>
                  </a:lnTo>
                  <a:lnTo>
                    <a:pt x="280" y="447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54"/>
                  </a:lnTo>
                  <a:lnTo>
                    <a:pt x="278" y="135"/>
                  </a:lnTo>
                  <a:lnTo>
                    <a:pt x="274" y="121"/>
                  </a:lnTo>
                  <a:lnTo>
                    <a:pt x="270" y="108"/>
                  </a:lnTo>
                  <a:lnTo>
                    <a:pt x="270" y="108"/>
                  </a:lnTo>
                  <a:lnTo>
                    <a:pt x="264" y="98"/>
                  </a:lnTo>
                  <a:lnTo>
                    <a:pt x="257" y="89"/>
                  </a:lnTo>
                  <a:lnTo>
                    <a:pt x="249" y="83"/>
                  </a:lnTo>
                  <a:lnTo>
                    <a:pt x="241" y="77"/>
                  </a:lnTo>
                  <a:lnTo>
                    <a:pt x="232" y="73"/>
                  </a:lnTo>
                  <a:lnTo>
                    <a:pt x="222" y="69"/>
                  </a:lnTo>
                  <a:lnTo>
                    <a:pt x="210" y="67"/>
                  </a:lnTo>
                  <a:lnTo>
                    <a:pt x="199" y="67"/>
                  </a:lnTo>
                  <a:lnTo>
                    <a:pt x="199" y="67"/>
                  </a:lnTo>
                  <a:lnTo>
                    <a:pt x="174" y="69"/>
                  </a:lnTo>
                  <a:lnTo>
                    <a:pt x="156" y="73"/>
                  </a:lnTo>
                  <a:lnTo>
                    <a:pt x="156" y="73"/>
                  </a:lnTo>
                  <a:lnTo>
                    <a:pt x="141" y="77"/>
                  </a:lnTo>
                  <a:lnTo>
                    <a:pt x="126" y="85"/>
                  </a:lnTo>
                  <a:lnTo>
                    <a:pt x="114" y="96"/>
                  </a:lnTo>
                  <a:lnTo>
                    <a:pt x="102" y="108"/>
                  </a:lnTo>
                  <a:lnTo>
                    <a:pt x="102" y="108"/>
                  </a:lnTo>
                  <a:lnTo>
                    <a:pt x="93" y="119"/>
                  </a:lnTo>
                  <a:lnTo>
                    <a:pt x="87" y="131"/>
                  </a:lnTo>
                  <a:lnTo>
                    <a:pt x="83" y="141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75" y="181"/>
                  </a:lnTo>
                  <a:lnTo>
                    <a:pt x="72" y="218"/>
                  </a:lnTo>
                  <a:lnTo>
                    <a:pt x="72" y="447"/>
                  </a:lnTo>
                  <a:lnTo>
                    <a:pt x="0" y="447"/>
                  </a:lnTo>
                  <a:lnTo>
                    <a:pt x="0" y="1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4E944A3B-BE10-C54E-A998-AF62467AE1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3900" y="3502025"/>
              <a:ext cx="73025" cy="204788"/>
            </a:xfrm>
            <a:custGeom>
              <a:avLst/>
              <a:gdLst>
                <a:gd name="T0" fmla="*/ 61 w 205"/>
                <a:gd name="T1" fmla="*/ 0 h 568"/>
                <a:gd name="T2" fmla="*/ 133 w 205"/>
                <a:gd name="T3" fmla="*/ 0 h 568"/>
                <a:gd name="T4" fmla="*/ 133 w 205"/>
                <a:gd name="T5" fmla="*/ 123 h 568"/>
                <a:gd name="T6" fmla="*/ 204 w 205"/>
                <a:gd name="T7" fmla="*/ 123 h 568"/>
                <a:gd name="T8" fmla="*/ 204 w 205"/>
                <a:gd name="T9" fmla="*/ 183 h 568"/>
                <a:gd name="T10" fmla="*/ 133 w 205"/>
                <a:gd name="T11" fmla="*/ 183 h 568"/>
                <a:gd name="T12" fmla="*/ 133 w 205"/>
                <a:gd name="T13" fmla="*/ 468 h 568"/>
                <a:gd name="T14" fmla="*/ 133 w 205"/>
                <a:gd name="T15" fmla="*/ 468 h 568"/>
                <a:gd name="T16" fmla="*/ 135 w 205"/>
                <a:gd name="T17" fmla="*/ 478 h 568"/>
                <a:gd name="T18" fmla="*/ 138 w 205"/>
                <a:gd name="T19" fmla="*/ 486 h 568"/>
                <a:gd name="T20" fmla="*/ 142 w 205"/>
                <a:gd name="T21" fmla="*/ 495 h 568"/>
                <a:gd name="T22" fmla="*/ 150 w 205"/>
                <a:gd name="T23" fmla="*/ 499 h 568"/>
                <a:gd name="T24" fmla="*/ 150 w 205"/>
                <a:gd name="T25" fmla="*/ 499 h 568"/>
                <a:gd name="T26" fmla="*/ 160 w 205"/>
                <a:gd name="T27" fmla="*/ 501 h 568"/>
                <a:gd name="T28" fmla="*/ 177 w 205"/>
                <a:gd name="T29" fmla="*/ 503 h 568"/>
                <a:gd name="T30" fmla="*/ 177 w 205"/>
                <a:gd name="T31" fmla="*/ 503 h 568"/>
                <a:gd name="T32" fmla="*/ 190 w 205"/>
                <a:gd name="T33" fmla="*/ 503 h 568"/>
                <a:gd name="T34" fmla="*/ 190 w 205"/>
                <a:gd name="T35" fmla="*/ 503 h 568"/>
                <a:gd name="T36" fmla="*/ 204 w 205"/>
                <a:gd name="T37" fmla="*/ 501 h 568"/>
                <a:gd name="T38" fmla="*/ 204 w 205"/>
                <a:gd name="T39" fmla="*/ 559 h 568"/>
                <a:gd name="T40" fmla="*/ 204 w 205"/>
                <a:gd name="T41" fmla="*/ 559 h 568"/>
                <a:gd name="T42" fmla="*/ 177 w 205"/>
                <a:gd name="T43" fmla="*/ 565 h 568"/>
                <a:gd name="T44" fmla="*/ 177 w 205"/>
                <a:gd name="T45" fmla="*/ 565 h 568"/>
                <a:gd name="T46" fmla="*/ 148 w 205"/>
                <a:gd name="T47" fmla="*/ 567 h 568"/>
                <a:gd name="T48" fmla="*/ 148 w 205"/>
                <a:gd name="T49" fmla="*/ 567 h 568"/>
                <a:gd name="T50" fmla="*/ 125 w 205"/>
                <a:gd name="T51" fmla="*/ 565 h 568"/>
                <a:gd name="T52" fmla="*/ 104 w 205"/>
                <a:gd name="T53" fmla="*/ 559 h 568"/>
                <a:gd name="T54" fmla="*/ 90 w 205"/>
                <a:gd name="T55" fmla="*/ 551 h 568"/>
                <a:gd name="T56" fmla="*/ 84 w 205"/>
                <a:gd name="T57" fmla="*/ 547 h 568"/>
                <a:gd name="T58" fmla="*/ 77 w 205"/>
                <a:gd name="T59" fmla="*/ 541 h 568"/>
                <a:gd name="T60" fmla="*/ 77 w 205"/>
                <a:gd name="T61" fmla="*/ 541 h 568"/>
                <a:gd name="T62" fmla="*/ 71 w 205"/>
                <a:gd name="T63" fmla="*/ 526 h 568"/>
                <a:gd name="T64" fmla="*/ 65 w 205"/>
                <a:gd name="T65" fmla="*/ 509 h 568"/>
                <a:gd name="T66" fmla="*/ 61 w 205"/>
                <a:gd name="T67" fmla="*/ 493 h 568"/>
                <a:gd name="T68" fmla="*/ 61 w 205"/>
                <a:gd name="T69" fmla="*/ 472 h 568"/>
                <a:gd name="T70" fmla="*/ 61 w 205"/>
                <a:gd name="T71" fmla="*/ 183 h 568"/>
                <a:gd name="T72" fmla="*/ 0 w 205"/>
                <a:gd name="T73" fmla="*/ 183 h 568"/>
                <a:gd name="T74" fmla="*/ 0 w 205"/>
                <a:gd name="T75" fmla="*/ 123 h 568"/>
                <a:gd name="T76" fmla="*/ 61 w 205"/>
                <a:gd name="T77" fmla="*/ 123 h 568"/>
                <a:gd name="T78" fmla="*/ 61 w 205"/>
                <a:gd name="T79" fmla="*/ 0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5" h="568">
                  <a:moveTo>
                    <a:pt x="61" y="0"/>
                  </a:moveTo>
                  <a:lnTo>
                    <a:pt x="133" y="0"/>
                  </a:lnTo>
                  <a:lnTo>
                    <a:pt x="133" y="123"/>
                  </a:lnTo>
                  <a:lnTo>
                    <a:pt x="204" y="123"/>
                  </a:lnTo>
                  <a:lnTo>
                    <a:pt x="204" y="183"/>
                  </a:lnTo>
                  <a:lnTo>
                    <a:pt x="133" y="183"/>
                  </a:lnTo>
                  <a:lnTo>
                    <a:pt x="133" y="468"/>
                  </a:lnTo>
                  <a:lnTo>
                    <a:pt x="133" y="468"/>
                  </a:lnTo>
                  <a:lnTo>
                    <a:pt x="135" y="478"/>
                  </a:lnTo>
                  <a:lnTo>
                    <a:pt x="138" y="486"/>
                  </a:lnTo>
                  <a:lnTo>
                    <a:pt x="142" y="495"/>
                  </a:lnTo>
                  <a:lnTo>
                    <a:pt x="150" y="499"/>
                  </a:lnTo>
                  <a:lnTo>
                    <a:pt x="150" y="499"/>
                  </a:lnTo>
                  <a:lnTo>
                    <a:pt x="160" y="501"/>
                  </a:lnTo>
                  <a:lnTo>
                    <a:pt x="177" y="503"/>
                  </a:lnTo>
                  <a:lnTo>
                    <a:pt x="177" y="503"/>
                  </a:lnTo>
                  <a:lnTo>
                    <a:pt x="190" y="503"/>
                  </a:lnTo>
                  <a:lnTo>
                    <a:pt x="190" y="503"/>
                  </a:lnTo>
                  <a:lnTo>
                    <a:pt x="204" y="501"/>
                  </a:lnTo>
                  <a:lnTo>
                    <a:pt x="204" y="559"/>
                  </a:lnTo>
                  <a:lnTo>
                    <a:pt x="204" y="559"/>
                  </a:lnTo>
                  <a:lnTo>
                    <a:pt x="177" y="565"/>
                  </a:lnTo>
                  <a:lnTo>
                    <a:pt x="177" y="565"/>
                  </a:lnTo>
                  <a:lnTo>
                    <a:pt x="148" y="567"/>
                  </a:lnTo>
                  <a:lnTo>
                    <a:pt x="148" y="567"/>
                  </a:lnTo>
                  <a:lnTo>
                    <a:pt x="125" y="565"/>
                  </a:lnTo>
                  <a:lnTo>
                    <a:pt x="104" y="559"/>
                  </a:lnTo>
                  <a:lnTo>
                    <a:pt x="90" y="551"/>
                  </a:lnTo>
                  <a:lnTo>
                    <a:pt x="84" y="547"/>
                  </a:lnTo>
                  <a:lnTo>
                    <a:pt x="77" y="541"/>
                  </a:lnTo>
                  <a:lnTo>
                    <a:pt x="77" y="541"/>
                  </a:lnTo>
                  <a:lnTo>
                    <a:pt x="71" y="526"/>
                  </a:lnTo>
                  <a:lnTo>
                    <a:pt x="65" y="509"/>
                  </a:lnTo>
                  <a:lnTo>
                    <a:pt x="61" y="493"/>
                  </a:lnTo>
                  <a:lnTo>
                    <a:pt x="61" y="472"/>
                  </a:lnTo>
                  <a:lnTo>
                    <a:pt x="61" y="183"/>
                  </a:lnTo>
                  <a:lnTo>
                    <a:pt x="0" y="183"/>
                  </a:lnTo>
                  <a:lnTo>
                    <a:pt x="0" y="123"/>
                  </a:lnTo>
                  <a:lnTo>
                    <a:pt x="61" y="123"/>
                  </a:lnTo>
                  <a:lnTo>
                    <a:pt x="61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03A232DC-E29A-5B4D-B6E7-A22E8880C7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0113" y="3541713"/>
              <a:ext cx="149225" cy="166687"/>
            </a:xfrm>
            <a:custGeom>
              <a:avLst/>
              <a:gdLst>
                <a:gd name="T0" fmla="*/ 266 w 414"/>
                <a:gd name="T1" fmla="*/ 181 h 463"/>
                <a:gd name="T2" fmla="*/ 289 w 414"/>
                <a:gd name="T3" fmla="*/ 162 h 463"/>
                <a:gd name="T4" fmla="*/ 293 w 414"/>
                <a:gd name="T5" fmla="*/ 133 h 463"/>
                <a:gd name="T6" fmla="*/ 286 w 414"/>
                <a:gd name="T7" fmla="*/ 102 h 463"/>
                <a:gd name="T8" fmla="*/ 266 w 414"/>
                <a:gd name="T9" fmla="*/ 79 h 463"/>
                <a:gd name="T10" fmla="*/ 214 w 414"/>
                <a:gd name="T11" fmla="*/ 63 h 463"/>
                <a:gd name="T12" fmla="*/ 164 w 414"/>
                <a:gd name="T13" fmla="*/ 65 h 463"/>
                <a:gd name="T14" fmla="*/ 122 w 414"/>
                <a:gd name="T15" fmla="*/ 79 h 463"/>
                <a:gd name="T16" fmla="*/ 108 w 414"/>
                <a:gd name="T17" fmla="*/ 94 h 463"/>
                <a:gd name="T18" fmla="*/ 93 w 414"/>
                <a:gd name="T19" fmla="*/ 129 h 463"/>
                <a:gd name="T20" fmla="*/ 23 w 414"/>
                <a:gd name="T21" fmla="*/ 144 h 463"/>
                <a:gd name="T22" fmla="*/ 31 w 414"/>
                <a:gd name="T23" fmla="*/ 92 h 463"/>
                <a:gd name="T24" fmla="*/ 54 w 414"/>
                <a:gd name="T25" fmla="*/ 50 h 463"/>
                <a:gd name="T26" fmla="*/ 74 w 414"/>
                <a:gd name="T27" fmla="*/ 31 h 463"/>
                <a:gd name="T28" fmla="*/ 160 w 414"/>
                <a:gd name="T29" fmla="*/ 2 h 463"/>
                <a:gd name="T30" fmla="*/ 228 w 414"/>
                <a:gd name="T31" fmla="*/ 2 h 463"/>
                <a:gd name="T32" fmla="*/ 318 w 414"/>
                <a:gd name="T33" fmla="*/ 29 h 463"/>
                <a:gd name="T34" fmla="*/ 338 w 414"/>
                <a:gd name="T35" fmla="*/ 46 h 463"/>
                <a:gd name="T36" fmla="*/ 357 w 414"/>
                <a:gd name="T37" fmla="*/ 79 h 463"/>
                <a:gd name="T38" fmla="*/ 365 w 414"/>
                <a:gd name="T39" fmla="*/ 121 h 463"/>
                <a:gd name="T40" fmla="*/ 365 w 414"/>
                <a:gd name="T41" fmla="*/ 383 h 463"/>
                <a:gd name="T42" fmla="*/ 371 w 414"/>
                <a:gd name="T43" fmla="*/ 393 h 463"/>
                <a:gd name="T44" fmla="*/ 388 w 414"/>
                <a:gd name="T45" fmla="*/ 397 h 463"/>
                <a:gd name="T46" fmla="*/ 413 w 414"/>
                <a:gd name="T47" fmla="*/ 395 h 463"/>
                <a:gd name="T48" fmla="*/ 386 w 414"/>
                <a:gd name="T49" fmla="*/ 455 h 463"/>
                <a:gd name="T50" fmla="*/ 363 w 414"/>
                <a:gd name="T51" fmla="*/ 457 h 463"/>
                <a:gd name="T52" fmla="*/ 318 w 414"/>
                <a:gd name="T53" fmla="*/ 441 h 463"/>
                <a:gd name="T54" fmla="*/ 299 w 414"/>
                <a:gd name="T55" fmla="*/ 414 h 463"/>
                <a:gd name="T56" fmla="*/ 282 w 414"/>
                <a:gd name="T57" fmla="*/ 404 h 463"/>
                <a:gd name="T58" fmla="*/ 230 w 414"/>
                <a:gd name="T59" fmla="*/ 441 h 463"/>
                <a:gd name="T60" fmla="*/ 187 w 414"/>
                <a:gd name="T61" fmla="*/ 457 h 463"/>
                <a:gd name="T62" fmla="*/ 137 w 414"/>
                <a:gd name="T63" fmla="*/ 462 h 463"/>
                <a:gd name="T64" fmla="*/ 83 w 414"/>
                <a:gd name="T65" fmla="*/ 453 h 463"/>
                <a:gd name="T66" fmla="*/ 48 w 414"/>
                <a:gd name="T67" fmla="*/ 435 h 463"/>
                <a:gd name="T68" fmla="*/ 29 w 414"/>
                <a:gd name="T69" fmla="*/ 416 h 463"/>
                <a:gd name="T70" fmla="*/ 10 w 414"/>
                <a:gd name="T71" fmla="*/ 385 h 463"/>
                <a:gd name="T72" fmla="*/ 0 w 414"/>
                <a:gd name="T73" fmla="*/ 347 h 463"/>
                <a:gd name="T74" fmla="*/ 0 w 414"/>
                <a:gd name="T75" fmla="*/ 318 h 463"/>
                <a:gd name="T76" fmla="*/ 10 w 414"/>
                <a:gd name="T77" fmla="*/ 279 h 463"/>
                <a:gd name="T78" fmla="*/ 29 w 414"/>
                <a:gd name="T79" fmla="*/ 247 h 463"/>
                <a:gd name="T80" fmla="*/ 58 w 414"/>
                <a:gd name="T81" fmla="*/ 225 h 463"/>
                <a:gd name="T82" fmla="*/ 137 w 414"/>
                <a:gd name="T83" fmla="*/ 198 h 463"/>
                <a:gd name="T84" fmla="*/ 99 w 414"/>
                <a:gd name="T85" fmla="*/ 381 h 463"/>
                <a:gd name="T86" fmla="*/ 139 w 414"/>
                <a:gd name="T87" fmla="*/ 399 h 463"/>
                <a:gd name="T88" fmla="*/ 174 w 414"/>
                <a:gd name="T89" fmla="*/ 399 h 463"/>
                <a:gd name="T90" fmla="*/ 230 w 414"/>
                <a:gd name="T91" fmla="*/ 383 h 463"/>
                <a:gd name="T92" fmla="*/ 257 w 414"/>
                <a:gd name="T93" fmla="*/ 364 h 463"/>
                <a:gd name="T94" fmla="*/ 282 w 414"/>
                <a:gd name="T95" fmla="*/ 331 h 463"/>
                <a:gd name="T96" fmla="*/ 291 w 414"/>
                <a:gd name="T97" fmla="*/ 285 h 463"/>
                <a:gd name="T98" fmla="*/ 276 w 414"/>
                <a:gd name="T99" fmla="*/ 233 h 463"/>
                <a:gd name="T100" fmla="*/ 234 w 414"/>
                <a:gd name="T101" fmla="*/ 246 h 463"/>
                <a:gd name="T102" fmla="*/ 170 w 414"/>
                <a:gd name="T103" fmla="*/ 254 h 463"/>
                <a:gd name="T104" fmla="*/ 110 w 414"/>
                <a:gd name="T105" fmla="*/ 271 h 463"/>
                <a:gd name="T106" fmla="*/ 89 w 414"/>
                <a:gd name="T107" fmla="*/ 287 h 463"/>
                <a:gd name="T108" fmla="*/ 79 w 414"/>
                <a:gd name="T109" fmla="*/ 312 h 463"/>
                <a:gd name="T110" fmla="*/ 79 w 414"/>
                <a:gd name="T111" fmla="*/ 347 h 463"/>
                <a:gd name="T112" fmla="*/ 99 w 414"/>
                <a:gd name="T113" fmla="*/ 381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4" h="463">
                  <a:moveTo>
                    <a:pt x="255" y="183"/>
                  </a:moveTo>
                  <a:lnTo>
                    <a:pt x="255" y="183"/>
                  </a:lnTo>
                  <a:lnTo>
                    <a:pt x="266" y="181"/>
                  </a:lnTo>
                  <a:lnTo>
                    <a:pt x="276" y="177"/>
                  </a:lnTo>
                  <a:lnTo>
                    <a:pt x="282" y="171"/>
                  </a:lnTo>
                  <a:lnTo>
                    <a:pt x="289" y="162"/>
                  </a:lnTo>
                  <a:lnTo>
                    <a:pt x="289" y="162"/>
                  </a:lnTo>
                  <a:lnTo>
                    <a:pt x="293" y="150"/>
                  </a:lnTo>
                  <a:lnTo>
                    <a:pt x="293" y="133"/>
                  </a:lnTo>
                  <a:lnTo>
                    <a:pt x="293" y="133"/>
                  </a:lnTo>
                  <a:lnTo>
                    <a:pt x="291" y="117"/>
                  </a:lnTo>
                  <a:lnTo>
                    <a:pt x="286" y="102"/>
                  </a:lnTo>
                  <a:lnTo>
                    <a:pt x="278" y="89"/>
                  </a:lnTo>
                  <a:lnTo>
                    <a:pt x="266" y="79"/>
                  </a:lnTo>
                  <a:lnTo>
                    <a:pt x="266" y="79"/>
                  </a:lnTo>
                  <a:lnTo>
                    <a:pt x="251" y="71"/>
                  </a:lnTo>
                  <a:lnTo>
                    <a:pt x="234" y="67"/>
                  </a:lnTo>
                  <a:lnTo>
                    <a:pt x="214" y="63"/>
                  </a:lnTo>
                  <a:lnTo>
                    <a:pt x="191" y="63"/>
                  </a:lnTo>
                  <a:lnTo>
                    <a:pt x="191" y="63"/>
                  </a:lnTo>
                  <a:lnTo>
                    <a:pt x="164" y="65"/>
                  </a:lnTo>
                  <a:lnTo>
                    <a:pt x="141" y="71"/>
                  </a:lnTo>
                  <a:lnTo>
                    <a:pt x="131" y="75"/>
                  </a:lnTo>
                  <a:lnTo>
                    <a:pt x="122" y="79"/>
                  </a:lnTo>
                  <a:lnTo>
                    <a:pt x="116" y="85"/>
                  </a:lnTo>
                  <a:lnTo>
                    <a:pt x="108" y="94"/>
                  </a:lnTo>
                  <a:lnTo>
                    <a:pt x="108" y="94"/>
                  </a:lnTo>
                  <a:lnTo>
                    <a:pt x="104" y="102"/>
                  </a:lnTo>
                  <a:lnTo>
                    <a:pt x="97" y="114"/>
                  </a:lnTo>
                  <a:lnTo>
                    <a:pt x="93" y="129"/>
                  </a:lnTo>
                  <a:lnTo>
                    <a:pt x="91" y="144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5" y="125"/>
                  </a:lnTo>
                  <a:lnTo>
                    <a:pt x="27" y="106"/>
                  </a:lnTo>
                  <a:lnTo>
                    <a:pt x="31" y="92"/>
                  </a:lnTo>
                  <a:lnTo>
                    <a:pt x="37" y="75"/>
                  </a:lnTo>
                  <a:lnTo>
                    <a:pt x="43" y="63"/>
                  </a:lnTo>
                  <a:lnTo>
                    <a:pt x="54" y="50"/>
                  </a:lnTo>
                  <a:lnTo>
                    <a:pt x="64" y="40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102" y="19"/>
                  </a:lnTo>
                  <a:lnTo>
                    <a:pt x="129" y="8"/>
                  </a:lnTo>
                  <a:lnTo>
                    <a:pt x="160" y="2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228" y="2"/>
                  </a:lnTo>
                  <a:lnTo>
                    <a:pt x="261" y="6"/>
                  </a:lnTo>
                  <a:lnTo>
                    <a:pt x="291" y="17"/>
                  </a:lnTo>
                  <a:lnTo>
                    <a:pt x="318" y="29"/>
                  </a:lnTo>
                  <a:lnTo>
                    <a:pt x="318" y="29"/>
                  </a:lnTo>
                  <a:lnTo>
                    <a:pt x="328" y="38"/>
                  </a:lnTo>
                  <a:lnTo>
                    <a:pt x="338" y="46"/>
                  </a:lnTo>
                  <a:lnTo>
                    <a:pt x="347" y="56"/>
                  </a:lnTo>
                  <a:lnTo>
                    <a:pt x="353" y="67"/>
                  </a:lnTo>
                  <a:lnTo>
                    <a:pt x="357" y="79"/>
                  </a:lnTo>
                  <a:lnTo>
                    <a:pt x="361" y="92"/>
                  </a:lnTo>
                  <a:lnTo>
                    <a:pt x="363" y="106"/>
                  </a:lnTo>
                  <a:lnTo>
                    <a:pt x="365" y="121"/>
                  </a:lnTo>
                  <a:lnTo>
                    <a:pt x="365" y="372"/>
                  </a:lnTo>
                  <a:lnTo>
                    <a:pt x="365" y="372"/>
                  </a:lnTo>
                  <a:lnTo>
                    <a:pt x="365" y="383"/>
                  </a:lnTo>
                  <a:lnTo>
                    <a:pt x="370" y="391"/>
                  </a:lnTo>
                  <a:lnTo>
                    <a:pt x="370" y="391"/>
                  </a:lnTo>
                  <a:lnTo>
                    <a:pt x="371" y="393"/>
                  </a:lnTo>
                  <a:lnTo>
                    <a:pt x="376" y="395"/>
                  </a:lnTo>
                  <a:lnTo>
                    <a:pt x="388" y="397"/>
                  </a:lnTo>
                  <a:lnTo>
                    <a:pt x="388" y="397"/>
                  </a:lnTo>
                  <a:lnTo>
                    <a:pt x="401" y="397"/>
                  </a:lnTo>
                  <a:lnTo>
                    <a:pt x="401" y="397"/>
                  </a:lnTo>
                  <a:lnTo>
                    <a:pt x="413" y="395"/>
                  </a:lnTo>
                  <a:lnTo>
                    <a:pt x="413" y="449"/>
                  </a:lnTo>
                  <a:lnTo>
                    <a:pt x="413" y="449"/>
                  </a:lnTo>
                  <a:lnTo>
                    <a:pt x="386" y="455"/>
                  </a:lnTo>
                  <a:lnTo>
                    <a:pt x="386" y="455"/>
                  </a:lnTo>
                  <a:lnTo>
                    <a:pt x="363" y="457"/>
                  </a:lnTo>
                  <a:lnTo>
                    <a:pt x="363" y="457"/>
                  </a:lnTo>
                  <a:lnTo>
                    <a:pt x="345" y="455"/>
                  </a:lnTo>
                  <a:lnTo>
                    <a:pt x="330" y="451"/>
                  </a:lnTo>
                  <a:lnTo>
                    <a:pt x="318" y="441"/>
                  </a:lnTo>
                  <a:lnTo>
                    <a:pt x="307" y="431"/>
                  </a:lnTo>
                  <a:lnTo>
                    <a:pt x="307" y="431"/>
                  </a:lnTo>
                  <a:lnTo>
                    <a:pt x="299" y="414"/>
                  </a:lnTo>
                  <a:lnTo>
                    <a:pt x="295" y="389"/>
                  </a:lnTo>
                  <a:lnTo>
                    <a:pt x="295" y="389"/>
                  </a:lnTo>
                  <a:lnTo>
                    <a:pt x="282" y="404"/>
                  </a:lnTo>
                  <a:lnTo>
                    <a:pt x="268" y="418"/>
                  </a:lnTo>
                  <a:lnTo>
                    <a:pt x="249" y="429"/>
                  </a:lnTo>
                  <a:lnTo>
                    <a:pt x="230" y="441"/>
                  </a:lnTo>
                  <a:lnTo>
                    <a:pt x="230" y="441"/>
                  </a:lnTo>
                  <a:lnTo>
                    <a:pt x="210" y="449"/>
                  </a:lnTo>
                  <a:lnTo>
                    <a:pt x="187" y="457"/>
                  </a:lnTo>
                  <a:lnTo>
                    <a:pt x="162" y="462"/>
                  </a:lnTo>
                  <a:lnTo>
                    <a:pt x="137" y="462"/>
                  </a:lnTo>
                  <a:lnTo>
                    <a:pt x="137" y="462"/>
                  </a:lnTo>
                  <a:lnTo>
                    <a:pt x="108" y="460"/>
                  </a:lnTo>
                  <a:lnTo>
                    <a:pt x="95" y="457"/>
                  </a:lnTo>
                  <a:lnTo>
                    <a:pt x="83" y="453"/>
                  </a:lnTo>
                  <a:lnTo>
                    <a:pt x="70" y="447"/>
                  </a:lnTo>
                  <a:lnTo>
                    <a:pt x="60" y="441"/>
                  </a:lnTo>
                  <a:lnTo>
                    <a:pt x="48" y="435"/>
                  </a:lnTo>
                  <a:lnTo>
                    <a:pt x="39" y="426"/>
                  </a:lnTo>
                  <a:lnTo>
                    <a:pt x="39" y="426"/>
                  </a:lnTo>
                  <a:lnTo>
                    <a:pt x="29" y="416"/>
                  </a:lnTo>
                  <a:lnTo>
                    <a:pt x="20" y="406"/>
                  </a:lnTo>
                  <a:lnTo>
                    <a:pt x="14" y="395"/>
                  </a:lnTo>
                  <a:lnTo>
                    <a:pt x="10" y="385"/>
                  </a:lnTo>
                  <a:lnTo>
                    <a:pt x="6" y="372"/>
                  </a:lnTo>
                  <a:lnTo>
                    <a:pt x="2" y="360"/>
                  </a:lnTo>
                  <a:lnTo>
                    <a:pt x="0" y="347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0" y="318"/>
                  </a:lnTo>
                  <a:lnTo>
                    <a:pt x="2" y="304"/>
                  </a:lnTo>
                  <a:lnTo>
                    <a:pt x="6" y="291"/>
                  </a:lnTo>
                  <a:lnTo>
                    <a:pt x="10" y="279"/>
                  </a:lnTo>
                  <a:lnTo>
                    <a:pt x="14" y="268"/>
                  </a:lnTo>
                  <a:lnTo>
                    <a:pt x="20" y="258"/>
                  </a:lnTo>
                  <a:lnTo>
                    <a:pt x="29" y="247"/>
                  </a:lnTo>
                  <a:lnTo>
                    <a:pt x="37" y="239"/>
                  </a:lnTo>
                  <a:lnTo>
                    <a:pt x="37" y="239"/>
                  </a:lnTo>
                  <a:lnTo>
                    <a:pt x="58" y="225"/>
                  </a:lnTo>
                  <a:lnTo>
                    <a:pt x="81" y="212"/>
                  </a:lnTo>
                  <a:lnTo>
                    <a:pt x="108" y="204"/>
                  </a:lnTo>
                  <a:lnTo>
                    <a:pt x="137" y="198"/>
                  </a:lnTo>
                  <a:lnTo>
                    <a:pt x="255" y="183"/>
                  </a:lnTo>
                  <a:close/>
                  <a:moveTo>
                    <a:pt x="99" y="381"/>
                  </a:moveTo>
                  <a:lnTo>
                    <a:pt x="99" y="381"/>
                  </a:lnTo>
                  <a:lnTo>
                    <a:pt x="112" y="389"/>
                  </a:lnTo>
                  <a:lnTo>
                    <a:pt x="124" y="395"/>
                  </a:lnTo>
                  <a:lnTo>
                    <a:pt x="139" y="399"/>
                  </a:lnTo>
                  <a:lnTo>
                    <a:pt x="155" y="399"/>
                  </a:lnTo>
                  <a:lnTo>
                    <a:pt x="155" y="399"/>
                  </a:lnTo>
                  <a:lnTo>
                    <a:pt x="174" y="399"/>
                  </a:lnTo>
                  <a:lnTo>
                    <a:pt x="193" y="395"/>
                  </a:lnTo>
                  <a:lnTo>
                    <a:pt x="212" y="389"/>
                  </a:lnTo>
                  <a:lnTo>
                    <a:pt x="230" y="383"/>
                  </a:lnTo>
                  <a:lnTo>
                    <a:pt x="230" y="383"/>
                  </a:lnTo>
                  <a:lnTo>
                    <a:pt x="245" y="374"/>
                  </a:lnTo>
                  <a:lnTo>
                    <a:pt x="257" y="364"/>
                  </a:lnTo>
                  <a:lnTo>
                    <a:pt x="268" y="354"/>
                  </a:lnTo>
                  <a:lnTo>
                    <a:pt x="276" y="343"/>
                  </a:lnTo>
                  <a:lnTo>
                    <a:pt x="282" y="331"/>
                  </a:lnTo>
                  <a:lnTo>
                    <a:pt x="286" y="316"/>
                  </a:lnTo>
                  <a:lnTo>
                    <a:pt x="291" y="302"/>
                  </a:lnTo>
                  <a:lnTo>
                    <a:pt x="291" y="285"/>
                  </a:lnTo>
                  <a:lnTo>
                    <a:pt x="291" y="225"/>
                  </a:lnTo>
                  <a:lnTo>
                    <a:pt x="291" y="225"/>
                  </a:lnTo>
                  <a:lnTo>
                    <a:pt x="276" y="233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34" y="246"/>
                  </a:lnTo>
                  <a:lnTo>
                    <a:pt x="216" y="247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35" y="260"/>
                  </a:lnTo>
                  <a:lnTo>
                    <a:pt x="122" y="264"/>
                  </a:lnTo>
                  <a:lnTo>
                    <a:pt x="110" y="271"/>
                  </a:lnTo>
                  <a:lnTo>
                    <a:pt x="110" y="271"/>
                  </a:lnTo>
                  <a:lnTo>
                    <a:pt x="95" y="281"/>
                  </a:lnTo>
                  <a:lnTo>
                    <a:pt x="89" y="287"/>
                  </a:lnTo>
                  <a:lnTo>
                    <a:pt x="85" y="295"/>
                  </a:lnTo>
                  <a:lnTo>
                    <a:pt x="81" y="304"/>
                  </a:lnTo>
                  <a:lnTo>
                    <a:pt x="79" y="312"/>
                  </a:lnTo>
                  <a:lnTo>
                    <a:pt x="77" y="331"/>
                  </a:lnTo>
                  <a:lnTo>
                    <a:pt x="77" y="331"/>
                  </a:lnTo>
                  <a:lnTo>
                    <a:pt x="79" y="347"/>
                  </a:lnTo>
                  <a:lnTo>
                    <a:pt x="83" y="360"/>
                  </a:lnTo>
                  <a:lnTo>
                    <a:pt x="89" y="372"/>
                  </a:lnTo>
                  <a:lnTo>
                    <a:pt x="99" y="3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B77B7729-8BDE-8F42-9159-5EE58E2D99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4738" y="3541713"/>
              <a:ext cx="128587" cy="161925"/>
            </a:xfrm>
            <a:custGeom>
              <a:avLst/>
              <a:gdLst>
                <a:gd name="T0" fmla="*/ 0 w 358"/>
                <a:gd name="T1" fmla="*/ 11 h 448"/>
                <a:gd name="T2" fmla="*/ 71 w 358"/>
                <a:gd name="T3" fmla="*/ 11 h 448"/>
                <a:gd name="T4" fmla="*/ 71 w 358"/>
                <a:gd name="T5" fmla="*/ 73 h 448"/>
                <a:gd name="T6" fmla="*/ 71 w 358"/>
                <a:gd name="T7" fmla="*/ 73 h 448"/>
                <a:gd name="T8" fmla="*/ 87 w 358"/>
                <a:gd name="T9" fmla="*/ 54 h 448"/>
                <a:gd name="T10" fmla="*/ 102 w 358"/>
                <a:gd name="T11" fmla="*/ 40 h 448"/>
                <a:gd name="T12" fmla="*/ 118 w 358"/>
                <a:gd name="T13" fmla="*/ 27 h 448"/>
                <a:gd name="T14" fmla="*/ 137 w 358"/>
                <a:gd name="T15" fmla="*/ 17 h 448"/>
                <a:gd name="T16" fmla="*/ 137 w 358"/>
                <a:gd name="T17" fmla="*/ 17 h 448"/>
                <a:gd name="T18" fmla="*/ 153 w 358"/>
                <a:gd name="T19" fmla="*/ 11 h 448"/>
                <a:gd name="T20" fmla="*/ 172 w 358"/>
                <a:gd name="T21" fmla="*/ 4 h 448"/>
                <a:gd name="T22" fmla="*/ 193 w 358"/>
                <a:gd name="T23" fmla="*/ 2 h 448"/>
                <a:gd name="T24" fmla="*/ 214 w 358"/>
                <a:gd name="T25" fmla="*/ 0 h 448"/>
                <a:gd name="T26" fmla="*/ 214 w 358"/>
                <a:gd name="T27" fmla="*/ 0 h 448"/>
                <a:gd name="T28" fmla="*/ 234 w 358"/>
                <a:gd name="T29" fmla="*/ 2 h 448"/>
                <a:gd name="T30" fmla="*/ 255 w 358"/>
                <a:gd name="T31" fmla="*/ 4 h 448"/>
                <a:gd name="T32" fmla="*/ 274 w 358"/>
                <a:gd name="T33" fmla="*/ 11 h 448"/>
                <a:gd name="T34" fmla="*/ 291 w 358"/>
                <a:gd name="T35" fmla="*/ 17 h 448"/>
                <a:gd name="T36" fmla="*/ 305 w 358"/>
                <a:gd name="T37" fmla="*/ 27 h 448"/>
                <a:gd name="T38" fmla="*/ 320 w 358"/>
                <a:gd name="T39" fmla="*/ 38 h 448"/>
                <a:gd name="T40" fmla="*/ 330 w 358"/>
                <a:gd name="T41" fmla="*/ 50 h 448"/>
                <a:gd name="T42" fmla="*/ 338 w 358"/>
                <a:gd name="T43" fmla="*/ 67 h 448"/>
                <a:gd name="T44" fmla="*/ 338 w 358"/>
                <a:gd name="T45" fmla="*/ 67 h 448"/>
                <a:gd name="T46" fmla="*/ 347 w 358"/>
                <a:gd name="T47" fmla="*/ 85 h 448"/>
                <a:gd name="T48" fmla="*/ 353 w 358"/>
                <a:gd name="T49" fmla="*/ 108 h 448"/>
                <a:gd name="T50" fmla="*/ 355 w 358"/>
                <a:gd name="T51" fmla="*/ 135 h 448"/>
                <a:gd name="T52" fmla="*/ 357 w 358"/>
                <a:gd name="T53" fmla="*/ 166 h 448"/>
                <a:gd name="T54" fmla="*/ 357 w 358"/>
                <a:gd name="T55" fmla="*/ 447 h 448"/>
                <a:gd name="T56" fmla="*/ 282 w 358"/>
                <a:gd name="T57" fmla="*/ 447 h 448"/>
                <a:gd name="T58" fmla="*/ 282 w 358"/>
                <a:gd name="T59" fmla="*/ 173 h 448"/>
                <a:gd name="T60" fmla="*/ 282 w 358"/>
                <a:gd name="T61" fmla="*/ 173 h 448"/>
                <a:gd name="T62" fmla="*/ 282 w 358"/>
                <a:gd name="T63" fmla="*/ 154 h 448"/>
                <a:gd name="T64" fmla="*/ 278 w 358"/>
                <a:gd name="T65" fmla="*/ 135 h 448"/>
                <a:gd name="T66" fmla="*/ 276 w 358"/>
                <a:gd name="T67" fmla="*/ 121 h 448"/>
                <a:gd name="T68" fmla="*/ 270 w 358"/>
                <a:gd name="T69" fmla="*/ 108 h 448"/>
                <a:gd name="T70" fmla="*/ 270 w 358"/>
                <a:gd name="T71" fmla="*/ 108 h 448"/>
                <a:gd name="T72" fmla="*/ 266 w 358"/>
                <a:gd name="T73" fmla="*/ 98 h 448"/>
                <a:gd name="T74" fmla="*/ 259 w 358"/>
                <a:gd name="T75" fmla="*/ 89 h 448"/>
                <a:gd name="T76" fmla="*/ 251 w 358"/>
                <a:gd name="T77" fmla="*/ 83 h 448"/>
                <a:gd name="T78" fmla="*/ 243 w 358"/>
                <a:gd name="T79" fmla="*/ 77 h 448"/>
                <a:gd name="T80" fmla="*/ 233 w 358"/>
                <a:gd name="T81" fmla="*/ 73 h 448"/>
                <a:gd name="T82" fmla="*/ 222 w 358"/>
                <a:gd name="T83" fmla="*/ 69 h 448"/>
                <a:gd name="T84" fmla="*/ 212 w 358"/>
                <a:gd name="T85" fmla="*/ 67 h 448"/>
                <a:gd name="T86" fmla="*/ 199 w 358"/>
                <a:gd name="T87" fmla="*/ 67 h 448"/>
                <a:gd name="T88" fmla="*/ 199 w 358"/>
                <a:gd name="T89" fmla="*/ 67 h 448"/>
                <a:gd name="T90" fmla="*/ 176 w 358"/>
                <a:gd name="T91" fmla="*/ 69 h 448"/>
                <a:gd name="T92" fmla="*/ 156 w 358"/>
                <a:gd name="T93" fmla="*/ 73 h 448"/>
                <a:gd name="T94" fmla="*/ 156 w 358"/>
                <a:gd name="T95" fmla="*/ 73 h 448"/>
                <a:gd name="T96" fmla="*/ 141 w 358"/>
                <a:gd name="T97" fmla="*/ 77 h 448"/>
                <a:gd name="T98" fmla="*/ 129 w 358"/>
                <a:gd name="T99" fmla="*/ 85 h 448"/>
                <a:gd name="T100" fmla="*/ 116 w 358"/>
                <a:gd name="T101" fmla="*/ 96 h 448"/>
                <a:gd name="T102" fmla="*/ 104 w 358"/>
                <a:gd name="T103" fmla="*/ 108 h 448"/>
                <a:gd name="T104" fmla="*/ 104 w 358"/>
                <a:gd name="T105" fmla="*/ 108 h 448"/>
                <a:gd name="T106" fmla="*/ 95 w 358"/>
                <a:gd name="T107" fmla="*/ 119 h 448"/>
                <a:gd name="T108" fmla="*/ 89 w 358"/>
                <a:gd name="T109" fmla="*/ 131 h 448"/>
                <a:gd name="T110" fmla="*/ 83 w 358"/>
                <a:gd name="T111" fmla="*/ 141 h 448"/>
                <a:gd name="T112" fmla="*/ 79 w 358"/>
                <a:gd name="T113" fmla="*/ 152 h 448"/>
                <a:gd name="T114" fmla="*/ 79 w 358"/>
                <a:gd name="T115" fmla="*/ 152 h 448"/>
                <a:gd name="T116" fmla="*/ 75 w 358"/>
                <a:gd name="T117" fmla="*/ 181 h 448"/>
                <a:gd name="T118" fmla="*/ 75 w 358"/>
                <a:gd name="T119" fmla="*/ 218 h 448"/>
                <a:gd name="T120" fmla="*/ 75 w 358"/>
                <a:gd name="T121" fmla="*/ 447 h 448"/>
                <a:gd name="T122" fmla="*/ 0 w 358"/>
                <a:gd name="T123" fmla="*/ 447 h 448"/>
                <a:gd name="T124" fmla="*/ 0 w 358"/>
                <a:gd name="T125" fmla="*/ 1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8" h="448">
                  <a:moveTo>
                    <a:pt x="0" y="11"/>
                  </a:moveTo>
                  <a:lnTo>
                    <a:pt x="71" y="11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87" y="54"/>
                  </a:lnTo>
                  <a:lnTo>
                    <a:pt x="102" y="40"/>
                  </a:lnTo>
                  <a:lnTo>
                    <a:pt x="118" y="27"/>
                  </a:lnTo>
                  <a:lnTo>
                    <a:pt x="137" y="17"/>
                  </a:lnTo>
                  <a:lnTo>
                    <a:pt x="137" y="17"/>
                  </a:lnTo>
                  <a:lnTo>
                    <a:pt x="153" y="11"/>
                  </a:lnTo>
                  <a:lnTo>
                    <a:pt x="172" y="4"/>
                  </a:lnTo>
                  <a:lnTo>
                    <a:pt x="193" y="2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34" y="2"/>
                  </a:lnTo>
                  <a:lnTo>
                    <a:pt x="255" y="4"/>
                  </a:lnTo>
                  <a:lnTo>
                    <a:pt x="274" y="11"/>
                  </a:lnTo>
                  <a:lnTo>
                    <a:pt x="291" y="17"/>
                  </a:lnTo>
                  <a:lnTo>
                    <a:pt x="305" y="27"/>
                  </a:lnTo>
                  <a:lnTo>
                    <a:pt x="320" y="38"/>
                  </a:lnTo>
                  <a:lnTo>
                    <a:pt x="330" y="50"/>
                  </a:lnTo>
                  <a:lnTo>
                    <a:pt x="338" y="67"/>
                  </a:lnTo>
                  <a:lnTo>
                    <a:pt x="338" y="67"/>
                  </a:lnTo>
                  <a:lnTo>
                    <a:pt x="347" y="85"/>
                  </a:lnTo>
                  <a:lnTo>
                    <a:pt x="353" y="108"/>
                  </a:lnTo>
                  <a:lnTo>
                    <a:pt x="355" y="135"/>
                  </a:lnTo>
                  <a:lnTo>
                    <a:pt x="357" y="166"/>
                  </a:lnTo>
                  <a:lnTo>
                    <a:pt x="357" y="447"/>
                  </a:lnTo>
                  <a:lnTo>
                    <a:pt x="282" y="447"/>
                  </a:lnTo>
                  <a:lnTo>
                    <a:pt x="282" y="173"/>
                  </a:lnTo>
                  <a:lnTo>
                    <a:pt x="282" y="173"/>
                  </a:lnTo>
                  <a:lnTo>
                    <a:pt x="282" y="154"/>
                  </a:lnTo>
                  <a:lnTo>
                    <a:pt x="278" y="135"/>
                  </a:lnTo>
                  <a:lnTo>
                    <a:pt x="276" y="121"/>
                  </a:lnTo>
                  <a:lnTo>
                    <a:pt x="270" y="108"/>
                  </a:lnTo>
                  <a:lnTo>
                    <a:pt x="270" y="108"/>
                  </a:lnTo>
                  <a:lnTo>
                    <a:pt x="266" y="98"/>
                  </a:lnTo>
                  <a:lnTo>
                    <a:pt x="259" y="89"/>
                  </a:lnTo>
                  <a:lnTo>
                    <a:pt x="251" y="83"/>
                  </a:lnTo>
                  <a:lnTo>
                    <a:pt x="243" y="77"/>
                  </a:lnTo>
                  <a:lnTo>
                    <a:pt x="233" y="73"/>
                  </a:lnTo>
                  <a:lnTo>
                    <a:pt x="222" y="69"/>
                  </a:lnTo>
                  <a:lnTo>
                    <a:pt x="212" y="67"/>
                  </a:lnTo>
                  <a:lnTo>
                    <a:pt x="199" y="67"/>
                  </a:lnTo>
                  <a:lnTo>
                    <a:pt x="199" y="67"/>
                  </a:lnTo>
                  <a:lnTo>
                    <a:pt x="176" y="69"/>
                  </a:lnTo>
                  <a:lnTo>
                    <a:pt x="156" y="73"/>
                  </a:lnTo>
                  <a:lnTo>
                    <a:pt x="156" y="73"/>
                  </a:lnTo>
                  <a:lnTo>
                    <a:pt x="141" y="77"/>
                  </a:lnTo>
                  <a:lnTo>
                    <a:pt x="129" y="85"/>
                  </a:lnTo>
                  <a:lnTo>
                    <a:pt x="116" y="96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95" y="119"/>
                  </a:lnTo>
                  <a:lnTo>
                    <a:pt x="89" y="131"/>
                  </a:lnTo>
                  <a:lnTo>
                    <a:pt x="83" y="141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75" y="181"/>
                  </a:lnTo>
                  <a:lnTo>
                    <a:pt x="75" y="218"/>
                  </a:lnTo>
                  <a:lnTo>
                    <a:pt x="75" y="447"/>
                  </a:lnTo>
                  <a:lnTo>
                    <a:pt x="0" y="447"/>
                  </a:lnTo>
                  <a:lnTo>
                    <a:pt x="0" y="1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7122969C-45CA-FA4B-8C4D-3553EAADF2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0313" y="3487738"/>
              <a:ext cx="139700" cy="222250"/>
            </a:xfrm>
            <a:custGeom>
              <a:avLst/>
              <a:gdLst>
                <a:gd name="T0" fmla="*/ 272 w 388"/>
                <a:gd name="T1" fmla="*/ 179 h 619"/>
                <a:gd name="T2" fmla="*/ 293 w 388"/>
                <a:gd name="T3" fmla="*/ 196 h 619"/>
                <a:gd name="T4" fmla="*/ 316 w 388"/>
                <a:gd name="T5" fmla="*/ 0 h 619"/>
                <a:gd name="T6" fmla="*/ 387 w 388"/>
                <a:gd name="T7" fmla="*/ 601 h 619"/>
                <a:gd name="T8" fmla="*/ 320 w 388"/>
                <a:gd name="T9" fmla="*/ 541 h 619"/>
                <a:gd name="T10" fmla="*/ 308 w 388"/>
                <a:gd name="T11" fmla="*/ 560 h 619"/>
                <a:gd name="T12" fmla="*/ 276 w 388"/>
                <a:gd name="T13" fmla="*/ 589 h 619"/>
                <a:gd name="T14" fmla="*/ 260 w 388"/>
                <a:gd name="T15" fmla="*/ 599 h 619"/>
                <a:gd name="T16" fmla="*/ 222 w 388"/>
                <a:gd name="T17" fmla="*/ 614 h 619"/>
                <a:gd name="T18" fmla="*/ 179 w 388"/>
                <a:gd name="T19" fmla="*/ 618 h 619"/>
                <a:gd name="T20" fmla="*/ 162 w 388"/>
                <a:gd name="T21" fmla="*/ 616 h 619"/>
                <a:gd name="T22" fmla="*/ 127 w 388"/>
                <a:gd name="T23" fmla="*/ 609 h 619"/>
                <a:gd name="T24" fmla="*/ 96 w 388"/>
                <a:gd name="T25" fmla="*/ 593 h 619"/>
                <a:gd name="T26" fmla="*/ 66 w 388"/>
                <a:gd name="T27" fmla="*/ 570 h 619"/>
                <a:gd name="T28" fmla="*/ 54 w 388"/>
                <a:gd name="T29" fmla="*/ 555 h 619"/>
                <a:gd name="T30" fmla="*/ 31 w 388"/>
                <a:gd name="T31" fmla="*/ 522 h 619"/>
                <a:gd name="T32" fmla="*/ 15 w 388"/>
                <a:gd name="T33" fmla="*/ 485 h 619"/>
                <a:gd name="T34" fmla="*/ 4 w 388"/>
                <a:gd name="T35" fmla="*/ 441 h 619"/>
                <a:gd name="T36" fmla="*/ 0 w 388"/>
                <a:gd name="T37" fmla="*/ 393 h 619"/>
                <a:gd name="T38" fmla="*/ 0 w 388"/>
                <a:gd name="T39" fmla="*/ 368 h 619"/>
                <a:gd name="T40" fmla="*/ 6 w 388"/>
                <a:gd name="T41" fmla="*/ 325 h 619"/>
                <a:gd name="T42" fmla="*/ 19 w 388"/>
                <a:gd name="T43" fmla="*/ 283 h 619"/>
                <a:gd name="T44" fmla="*/ 37 w 388"/>
                <a:gd name="T45" fmla="*/ 246 h 619"/>
                <a:gd name="T46" fmla="*/ 48 w 388"/>
                <a:gd name="T47" fmla="*/ 227 h 619"/>
                <a:gd name="T48" fmla="*/ 75 w 388"/>
                <a:gd name="T49" fmla="*/ 196 h 619"/>
                <a:gd name="T50" fmla="*/ 108 w 388"/>
                <a:gd name="T51" fmla="*/ 175 h 619"/>
                <a:gd name="T52" fmla="*/ 146 w 388"/>
                <a:gd name="T53" fmla="*/ 160 h 619"/>
                <a:gd name="T54" fmla="*/ 187 w 388"/>
                <a:gd name="T55" fmla="*/ 156 h 619"/>
                <a:gd name="T56" fmla="*/ 212 w 388"/>
                <a:gd name="T57" fmla="*/ 158 h 619"/>
                <a:gd name="T58" fmla="*/ 253 w 388"/>
                <a:gd name="T59" fmla="*/ 169 h 619"/>
                <a:gd name="T60" fmla="*/ 108 w 388"/>
                <a:gd name="T61" fmla="*/ 506 h 619"/>
                <a:gd name="T62" fmla="*/ 114 w 388"/>
                <a:gd name="T63" fmla="*/ 516 h 619"/>
                <a:gd name="T64" fmla="*/ 135 w 388"/>
                <a:gd name="T65" fmla="*/ 535 h 619"/>
                <a:gd name="T66" fmla="*/ 158 w 388"/>
                <a:gd name="T67" fmla="*/ 547 h 619"/>
                <a:gd name="T68" fmla="*/ 187 w 388"/>
                <a:gd name="T69" fmla="*/ 553 h 619"/>
                <a:gd name="T70" fmla="*/ 202 w 388"/>
                <a:gd name="T71" fmla="*/ 553 h 619"/>
                <a:gd name="T72" fmla="*/ 227 w 388"/>
                <a:gd name="T73" fmla="*/ 551 h 619"/>
                <a:gd name="T74" fmla="*/ 249 w 388"/>
                <a:gd name="T75" fmla="*/ 543 h 619"/>
                <a:gd name="T76" fmla="*/ 268 w 388"/>
                <a:gd name="T77" fmla="*/ 528 h 619"/>
                <a:gd name="T78" fmla="*/ 287 w 388"/>
                <a:gd name="T79" fmla="*/ 510 h 619"/>
                <a:gd name="T80" fmla="*/ 293 w 388"/>
                <a:gd name="T81" fmla="*/ 497 h 619"/>
                <a:gd name="T82" fmla="*/ 305 w 388"/>
                <a:gd name="T83" fmla="*/ 470 h 619"/>
                <a:gd name="T84" fmla="*/ 316 w 388"/>
                <a:gd name="T85" fmla="*/ 422 h 619"/>
                <a:gd name="T86" fmla="*/ 318 w 388"/>
                <a:gd name="T87" fmla="*/ 383 h 619"/>
                <a:gd name="T88" fmla="*/ 314 w 388"/>
                <a:gd name="T89" fmla="*/ 327 h 619"/>
                <a:gd name="T90" fmla="*/ 305 w 388"/>
                <a:gd name="T91" fmla="*/ 298 h 619"/>
                <a:gd name="T92" fmla="*/ 293 w 388"/>
                <a:gd name="T93" fmla="*/ 271 h 619"/>
                <a:gd name="T94" fmla="*/ 285 w 388"/>
                <a:gd name="T95" fmla="*/ 260 h 619"/>
                <a:gd name="T96" fmla="*/ 258 w 388"/>
                <a:gd name="T97" fmla="*/ 237 h 619"/>
                <a:gd name="T98" fmla="*/ 237 w 388"/>
                <a:gd name="T99" fmla="*/ 227 h 619"/>
                <a:gd name="T100" fmla="*/ 214 w 388"/>
                <a:gd name="T101" fmla="*/ 221 h 619"/>
                <a:gd name="T102" fmla="*/ 202 w 388"/>
                <a:gd name="T103" fmla="*/ 221 h 619"/>
                <a:gd name="T104" fmla="*/ 175 w 388"/>
                <a:gd name="T105" fmla="*/ 223 h 619"/>
                <a:gd name="T106" fmla="*/ 152 w 388"/>
                <a:gd name="T107" fmla="*/ 231 h 619"/>
                <a:gd name="T108" fmla="*/ 131 w 388"/>
                <a:gd name="T109" fmla="*/ 246 h 619"/>
                <a:gd name="T110" fmla="*/ 112 w 388"/>
                <a:gd name="T111" fmla="*/ 264 h 619"/>
                <a:gd name="T112" fmla="*/ 104 w 388"/>
                <a:gd name="T113" fmla="*/ 275 h 619"/>
                <a:gd name="T114" fmla="*/ 91 w 388"/>
                <a:gd name="T115" fmla="*/ 302 h 619"/>
                <a:gd name="T116" fmla="*/ 83 w 388"/>
                <a:gd name="T117" fmla="*/ 333 h 619"/>
                <a:gd name="T118" fmla="*/ 77 w 388"/>
                <a:gd name="T119" fmla="*/ 389 h 619"/>
                <a:gd name="T120" fmla="*/ 79 w 388"/>
                <a:gd name="T121" fmla="*/ 422 h 619"/>
                <a:gd name="T122" fmla="*/ 93 w 388"/>
                <a:gd name="T123" fmla="*/ 481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8" h="619">
                  <a:moveTo>
                    <a:pt x="272" y="179"/>
                  </a:moveTo>
                  <a:lnTo>
                    <a:pt x="272" y="179"/>
                  </a:lnTo>
                  <a:lnTo>
                    <a:pt x="281" y="185"/>
                  </a:lnTo>
                  <a:lnTo>
                    <a:pt x="293" y="196"/>
                  </a:lnTo>
                  <a:lnTo>
                    <a:pt x="316" y="221"/>
                  </a:lnTo>
                  <a:lnTo>
                    <a:pt x="316" y="0"/>
                  </a:lnTo>
                  <a:lnTo>
                    <a:pt x="387" y="0"/>
                  </a:lnTo>
                  <a:lnTo>
                    <a:pt x="387" y="601"/>
                  </a:lnTo>
                  <a:lnTo>
                    <a:pt x="320" y="601"/>
                  </a:lnTo>
                  <a:lnTo>
                    <a:pt x="320" y="541"/>
                  </a:lnTo>
                  <a:lnTo>
                    <a:pt x="320" y="541"/>
                  </a:lnTo>
                  <a:lnTo>
                    <a:pt x="308" y="560"/>
                  </a:lnTo>
                  <a:lnTo>
                    <a:pt x="293" y="576"/>
                  </a:lnTo>
                  <a:lnTo>
                    <a:pt x="276" y="589"/>
                  </a:lnTo>
                  <a:lnTo>
                    <a:pt x="260" y="599"/>
                  </a:lnTo>
                  <a:lnTo>
                    <a:pt x="260" y="599"/>
                  </a:lnTo>
                  <a:lnTo>
                    <a:pt x="241" y="607"/>
                  </a:lnTo>
                  <a:lnTo>
                    <a:pt x="222" y="614"/>
                  </a:lnTo>
                  <a:lnTo>
                    <a:pt x="202" y="616"/>
                  </a:lnTo>
                  <a:lnTo>
                    <a:pt x="179" y="618"/>
                  </a:lnTo>
                  <a:lnTo>
                    <a:pt x="179" y="618"/>
                  </a:lnTo>
                  <a:lnTo>
                    <a:pt x="162" y="616"/>
                  </a:lnTo>
                  <a:lnTo>
                    <a:pt x="143" y="614"/>
                  </a:lnTo>
                  <a:lnTo>
                    <a:pt x="127" y="609"/>
                  </a:lnTo>
                  <a:lnTo>
                    <a:pt x="112" y="601"/>
                  </a:lnTo>
                  <a:lnTo>
                    <a:pt x="96" y="593"/>
                  </a:lnTo>
                  <a:lnTo>
                    <a:pt x="81" y="583"/>
                  </a:lnTo>
                  <a:lnTo>
                    <a:pt x="66" y="570"/>
                  </a:lnTo>
                  <a:lnTo>
                    <a:pt x="54" y="555"/>
                  </a:lnTo>
                  <a:lnTo>
                    <a:pt x="54" y="555"/>
                  </a:lnTo>
                  <a:lnTo>
                    <a:pt x="42" y="539"/>
                  </a:lnTo>
                  <a:lnTo>
                    <a:pt x="31" y="522"/>
                  </a:lnTo>
                  <a:lnTo>
                    <a:pt x="21" y="503"/>
                  </a:lnTo>
                  <a:lnTo>
                    <a:pt x="15" y="485"/>
                  </a:lnTo>
                  <a:lnTo>
                    <a:pt x="8" y="464"/>
                  </a:lnTo>
                  <a:lnTo>
                    <a:pt x="4" y="441"/>
                  </a:lnTo>
                  <a:lnTo>
                    <a:pt x="2" y="418"/>
                  </a:lnTo>
                  <a:lnTo>
                    <a:pt x="0" y="393"/>
                  </a:lnTo>
                  <a:lnTo>
                    <a:pt x="0" y="393"/>
                  </a:lnTo>
                  <a:lnTo>
                    <a:pt x="0" y="368"/>
                  </a:lnTo>
                  <a:lnTo>
                    <a:pt x="4" y="345"/>
                  </a:lnTo>
                  <a:lnTo>
                    <a:pt x="6" y="325"/>
                  </a:lnTo>
                  <a:lnTo>
                    <a:pt x="12" y="304"/>
                  </a:lnTo>
                  <a:lnTo>
                    <a:pt x="19" y="283"/>
                  </a:lnTo>
                  <a:lnTo>
                    <a:pt x="27" y="264"/>
                  </a:lnTo>
                  <a:lnTo>
                    <a:pt x="37" y="246"/>
                  </a:lnTo>
                  <a:lnTo>
                    <a:pt x="48" y="227"/>
                  </a:lnTo>
                  <a:lnTo>
                    <a:pt x="48" y="227"/>
                  </a:lnTo>
                  <a:lnTo>
                    <a:pt x="62" y="210"/>
                  </a:lnTo>
                  <a:lnTo>
                    <a:pt x="75" y="196"/>
                  </a:lnTo>
                  <a:lnTo>
                    <a:pt x="91" y="183"/>
                  </a:lnTo>
                  <a:lnTo>
                    <a:pt x="108" y="175"/>
                  </a:lnTo>
                  <a:lnTo>
                    <a:pt x="127" y="167"/>
                  </a:lnTo>
                  <a:lnTo>
                    <a:pt x="146" y="160"/>
                  </a:lnTo>
                  <a:lnTo>
                    <a:pt x="166" y="158"/>
                  </a:lnTo>
                  <a:lnTo>
                    <a:pt x="187" y="156"/>
                  </a:lnTo>
                  <a:lnTo>
                    <a:pt x="187" y="156"/>
                  </a:lnTo>
                  <a:lnTo>
                    <a:pt x="212" y="158"/>
                  </a:lnTo>
                  <a:lnTo>
                    <a:pt x="233" y="162"/>
                  </a:lnTo>
                  <a:lnTo>
                    <a:pt x="253" y="169"/>
                  </a:lnTo>
                  <a:lnTo>
                    <a:pt x="272" y="179"/>
                  </a:lnTo>
                  <a:close/>
                  <a:moveTo>
                    <a:pt x="108" y="506"/>
                  </a:moveTo>
                  <a:lnTo>
                    <a:pt x="108" y="506"/>
                  </a:lnTo>
                  <a:lnTo>
                    <a:pt x="114" y="516"/>
                  </a:lnTo>
                  <a:lnTo>
                    <a:pt x="125" y="526"/>
                  </a:lnTo>
                  <a:lnTo>
                    <a:pt x="135" y="535"/>
                  </a:lnTo>
                  <a:lnTo>
                    <a:pt x="146" y="541"/>
                  </a:lnTo>
                  <a:lnTo>
                    <a:pt x="158" y="547"/>
                  </a:lnTo>
                  <a:lnTo>
                    <a:pt x="172" y="549"/>
                  </a:lnTo>
                  <a:lnTo>
                    <a:pt x="187" y="553"/>
                  </a:lnTo>
                  <a:lnTo>
                    <a:pt x="202" y="553"/>
                  </a:lnTo>
                  <a:lnTo>
                    <a:pt x="202" y="553"/>
                  </a:lnTo>
                  <a:lnTo>
                    <a:pt x="214" y="553"/>
                  </a:lnTo>
                  <a:lnTo>
                    <a:pt x="227" y="551"/>
                  </a:lnTo>
                  <a:lnTo>
                    <a:pt x="237" y="547"/>
                  </a:lnTo>
                  <a:lnTo>
                    <a:pt x="249" y="543"/>
                  </a:lnTo>
                  <a:lnTo>
                    <a:pt x="258" y="537"/>
                  </a:lnTo>
                  <a:lnTo>
                    <a:pt x="268" y="528"/>
                  </a:lnTo>
                  <a:lnTo>
                    <a:pt x="276" y="520"/>
                  </a:lnTo>
                  <a:lnTo>
                    <a:pt x="287" y="510"/>
                  </a:lnTo>
                  <a:lnTo>
                    <a:pt x="287" y="510"/>
                  </a:lnTo>
                  <a:lnTo>
                    <a:pt x="293" y="497"/>
                  </a:lnTo>
                  <a:lnTo>
                    <a:pt x="299" y="485"/>
                  </a:lnTo>
                  <a:lnTo>
                    <a:pt x="305" y="470"/>
                  </a:lnTo>
                  <a:lnTo>
                    <a:pt x="309" y="456"/>
                  </a:lnTo>
                  <a:lnTo>
                    <a:pt x="316" y="422"/>
                  </a:lnTo>
                  <a:lnTo>
                    <a:pt x="318" y="383"/>
                  </a:lnTo>
                  <a:lnTo>
                    <a:pt x="318" y="383"/>
                  </a:lnTo>
                  <a:lnTo>
                    <a:pt x="316" y="345"/>
                  </a:lnTo>
                  <a:lnTo>
                    <a:pt x="314" y="327"/>
                  </a:lnTo>
                  <a:lnTo>
                    <a:pt x="309" y="312"/>
                  </a:lnTo>
                  <a:lnTo>
                    <a:pt x="305" y="298"/>
                  </a:lnTo>
                  <a:lnTo>
                    <a:pt x="299" y="283"/>
                  </a:lnTo>
                  <a:lnTo>
                    <a:pt x="293" y="271"/>
                  </a:lnTo>
                  <a:lnTo>
                    <a:pt x="285" y="260"/>
                  </a:lnTo>
                  <a:lnTo>
                    <a:pt x="285" y="260"/>
                  </a:lnTo>
                  <a:lnTo>
                    <a:pt x="266" y="243"/>
                  </a:lnTo>
                  <a:lnTo>
                    <a:pt x="258" y="237"/>
                  </a:lnTo>
                  <a:lnTo>
                    <a:pt x="247" y="231"/>
                  </a:lnTo>
                  <a:lnTo>
                    <a:pt x="237" y="227"/>
                  </a:lnTo>
                  <a:lnTo>
                    <a:pt x="224" y="223"/>
                  </a:lnTo>
                  <a:lnTo>
                    <a:pt x="214" y="221"/>
                  </a:lnTo>
                  <a:lnTo>
                    <a:pt x="202" y="221"/>
                  </a:lnTo>
                  <a:lnTo>
                    <a:pt x="202" y="221"/>
                  </a:lnTo>
                  <a:lnTo>
                    <a:pt x="187" y="221"/>
                  </a:lnTo>
                  <a:lnTo>
                    <a:pt x="175" y="223"/>
                  </a:lnTo>
                  <a:lnTo>
                    <a:pt x="162" y="227"/>
                  </a:lnTo>
                  <a:lnTo>
                    <a:pt x="152" y="231"/>
                  </a:lnTo>
                  <a:lnTo>
                    <a:pt x="141" y="237"/>
                  </a:lnTo>
                  <a:lnTo>
                    <a:pt x="131" y="246"/>
                  </a:lnTo>
                  <a:lnTo>
                    <a:pt x="121" y="254"/>
                  </a:lnTo>
                  <a:lnTo>
                    <a:pt x="112" y="264"/>
                  </a:lnTo>
                  <a:lnTo>
                    <a:pt x="112" y="264"/>
                  </a:lnTo>
                  <a:lnTo>
                    <a:pt x="104" y="275"/>
                  </a:lnTo>
                  <a:lnTo>
                    <a:pt x="98" y="287"/>
                  </a:lnTo>
                  <a:lnTo>
                    <a:pt x="91" y="302"/>
                  </a:lnTo>
                  <a:lnTo>
                    <a:pt x="87" y="316"/>
                  </a:lnTo>
                  <a:lnTo>
                    <a:pt x="83" y="333"/>
                  </a:lnTo>
                  <a:lnTo>
                    <a:pt x="79" y="350"/>
                  </a:lnTo>
                  <a:lnTo>
                    <a:pt x="77" y="389"/>
                  </a:lnTo>
                  <a:lnTo>
                    <a:pt x="77" y="389"/>
                  </a:lnTo>
                  <a:lnTo>
                    <a:pt x="79" y="422"/>
                  </a:lnTo>
                  <a:lnTo>
                    <a:pt x="85" y="453"/>
                  </a:lnTo>
                  <a:lnTo>
                    <a:pt x="93" y="481"/>
                  </a:lnTo>
                  <a:lnTo>
                    <a:pt x="108" y="50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27357A40-7873-7F46-98DB-808618E72F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9100" y="3824288"/>
              <a:ext cx="168275" cy="228600"/>
            </a:xfrm>
            <a:custGeom>
              <a:avLst/>
              <a:gdLst>
                <a:gd name="T0" fmla="*/ 77 w 466"/>
                <a:gd name="T1" fmla="*/ 447 h 635"/>
                <a:gd name="T2" fmla="*/ 98 w 466"/>
                <a:gd name="T3" fmla="*/ 505 h 635"/>
                <a:gd name="T4" fmla="*/ 122 w 466"/>
                <a:gd name="T5" fmla="*/ 530 h 635"/>
                <a:gd name="T6" fmla="*/ 170 w 466"/>
                <a:gd name="T7" fmla="*/ 557 h 635"/>
                <a:gd name="T8" fmla="*/ 235 w 466"/>
                <a:gd name="T9" fmla="*/ 565 h 635"/>
                <a:gd name="T10" fmla="*/ 278 w 466"/>
                <a:gd name="T11" fmla="*/ 561 h 635"/>
                <a:gd name="T12" fmla="*/ 316 w 466"/>
                <a:gd name="T13" fmla="*/ 551 h 635"/>
                <a:gd name="T14" fmla="*/ 357 w 466"/>
                <a:gd name="T15" fmla="*/ 526 h 635"/>
                <a:gd name="T16" fmla="*/ 380 w 466"/>
                <a:gd name="T17" fmla="*/ 491 h 635"/>
                <a:gd name="T18" fmla="*/ 386 w 466"/>
                <a:gd name="T19" fmla="*/ 462 h 635"/>
                <a:gd name="T20" fmla="*/ 370 w 466"/>
                <a:gd name="T21" fmla="*/ 403 h 635"/>
                <a:gd name="T22" fmla="*/ 355 w 466"/>
                <a:gd name="T23" fmla="*/ 391 h 635"/>
                <a:gd name="T24" fmla="*/ 291 w 466"/>
                <a:gd name="T25" fmla="*/ 364 h 635"/>
                <a:gd name="T26" fmla="*/ 183 w 466"/>
                <a:gd name="T27" fmla="*/ 337 h 635"/>
                <a:gd name="T28" fmla="*/ 93 w 466"/>
                <a:gd name="T29" fmla="*/ 308 h 635"/>
                <a:gd name="T30" fmla="*/ 62 w 466"/>
                <a:gd name="T31" fmla="*/ 287 h 635"/>
                <a:gd name="T32" fmla="*/ 33 w 466"/>
                <a:gd name="T33" fmla="*/ 252 h 635"/>
                <a:gd name="T34" fmla="*/ 21 w 466"/>
                <a:gd name="T35" fmla="*/ 204 h 635"/>
                <a:gd name="T36" fmla="*/ 21 w 466"/>
                <a:gd name="T37" fmla="*/ 166 h 635"/>
                <a:gd name="T38" fmla="*/ 33 w 466"/>
                <a:gd name="T39" fmla="*/ 112 h 635"/>
                <a:gd name="T40" fmla="*/ 60 w 466"/>
                <a:gd name="T41" fmla="*/ 66 h 635"/>
                <a:gd name="T42" fmla="*/ 87 w 466"/>
                <a:gd name="T43" fmla="*/ 41 h 635"/>
                <a:gd name="T44" fmla="*/ 139 w 466"/>
                <a:gd name="T45" fmla="*/ 14 h 635"/>
                <a:gd name="T46" fmla="*/ 203 w 466"/>
                <a:gd name="T47" fmla="*/ 2 h 635"/>
                <a:gd name="T48" fmla="*/ 249 w 466"/>
                <a:gd name="T49" fmla="*/ 2 h 635"/>
                <a:gd name="T50" fmla="*/ 312 w 466"/>
                <a:gd name="T51" fmla="*/ 13 h 635"/>
                <a:gd name="T52" fmla="*/ 365 w 466"/>
                <a:gd name="T53" fmla="*/ 35 h 635"/>
                <a:gd name="T54" fmla="*/ 399 w 466"/>
                <a:gd name="T55" fmla="*/ 58 h 635"/>
                <a:gd name="T56" fmla="*/ 432 w 466"/>
                <a:gd name="T57" fmla="*/ 106 h 635"/>
                <a:gd name="T58" fmla="*/ 447 w 466"/>
                <a:gd name="T59" fmla="*/ 168 h 635"/>
                <a:gd name="T60" fmla="*/ 372 w 466"/>
                <a:gd name="T61" fmla="*/ 191 h 635"/>
                <a:gd name="T62" fmla="*/ 355 w 466"/>
                <a:gd name="T63" fmla="*/ 133 h 635"/>
                <a:gd name="T64" fmla="*/ 337 w 466"/>
                <a:gd name="T65" fmla="*/ 108 h 635"/>
                <a:gd name="T66" fmla="*/ 297 w 466"/>
                <a:gd name="T67" fmla="*/ 83 h 635"/>
                <a:gd name="T68" fmla="*/ 245 w 466"/>
                <a:gd name="T69" fmla="*/ 73 h 635"/>
                <a:gd name="T70" fmla="*/ 193 w 466"/>
                <a:gd name="T71" fmla="*/ 73 h 635"/>
                <a:gd name="T72" fmla="*/ 143 w 466"/>
                <a:gd name="T73" fmla="*/ 87 h 635"/>
                <a:gd name="T74" fmla="*/ 127 w 466"/>
                <a:gd name="T75" fmla="*/ 102 h 635"/>
                <a:gd name="T76" fmla="*/ 98 w 466"/>
                <a:gd name="T77" fmla="*/ 152 h 635"/>
                <a:gd name="T78" fmla="*/ 98 w 466"/>
                <a:gd name="T79" fmla="*/ 191 h 635"/>
                <a:gd name="T80" fmla="*/ 110 w 466"/>
                <a:gd name="T81" fmla="*/ 218 h 635"/>
                <a:gd name="T82" fmla="*/ 131 w 466"/>
                <a:gd name="T83" fmla="*/ 237 h 635"/>
                <a:gd name="T84" fmla="*/ 170 w 466"/>
                <a:gd name="T85" fmla="*/ 252 h 635"/>
                <a:gd name="T86" fmla="*/ 318 w 466"/>
                <a:gd name="T87" fmla="*/ 287 h 635"/>
                <a:gd name="T88" fmla="*/ 393 w 466"/>
                <a:gd name="T89" fmla="*/ 314 h 635"/>
                <a:gd name="T90" fmla="*/ 422 w 466"/>
                <a:gd name="T91" fmla="*/ 337 h 635"/>
                <a:gd name="T92" fmla="*/ 451 w 466"/>
                <a:gd name="T93" fmla="*/ 378 h 635"/>
                <a:gd name="T94" fmla="*/ 463 w 466"/>
                <a:gd name="T95" fmla="*/ 428 h 635"/>
                <a:gd name="T96" fmla="*/ 463 w 466"/>
                <a:gd name="T97" fmla="*/ 472 h 635"/>
                <a:gd name="T98" fmla="*/ 447 w 466"/>
                <a:gd name="T99" fmla="*/ 534 h 635"/>
                <a:gd name="T100" fmla="*/ 411 w 466"/>
                <a:gd name="T101" fmla="*/ 578 h 635"/>
                <a:gd name="T102" fmla="*/ 376 w 466"/>
                <a:gd name="T103" fmla="*/ 601 h 635"/>
                <a:gd name="T104" fmla="*/ 318 w 466"/>
                <a:gd name="T105" fmla="*/ 622 h 635"/>
                <a:gd name="T106" fmla="*/ 253 w 466"/>
                <a:gd name="T107" fmla="*/ 632 h 635"/>
                <a:gd name="T108" fmla="*/ 203 w 466"/>
                <a:gd name="T109" fmla="*/ 632 h 635"/>
                <a:gd name="T110" fmla="*/ 133 w 466"/>
                <a:gd name="T111" fmla="*/ 620 h 635"/>
                <a:gd name="T112" fmla="*/ 75 w 466"/>
                <a:gd name="T113" fmla="*/ 590 h 635"/>
                <a:gd name="T114" fmla="*/ 46 w 466"/>
                <a:gd name="T115" fmla="*/ 561 h 635"/>
                <a:gd name="T116" fmla="*/ 12 w 466"/>
                <a:gd name="T117" fmla="*/ 509 h 635"/>
                <a:gd name="T118" fmla="*/ 0 w 466"/>
                <a:gd name="T119" fmla="*/ 445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6" h="635">
                  <a:moveTo>
                    <a:pt x="75" y="422"/>
                  </a:moveTo>
                  <a:lnTo>
                    <a:pt x="75" y="422"/>
                  </a:lnTo>
                  <a:lnTo>
                    <a:pt x="77" y="447"/>
                  </a:lnTo>
                  <a:lnTo>
                    <a:pt x="83" y="468"/>
                  </a:lnTo>
                  <a:lnTo>
                    <a:pt x="89" y="489"/>
                  </a:lnTo>
                  <a:lnTo>
                    <a:pt x="98" y="505"/>
                  </a:lnTo>
                  <a:lnTo>
                    <a:pt x="98" y="505"/>
                  </a:lnTo>
                  <a:lnTo>
                    <a:pt x="108" y="520"/>
                  </a:lnTo>
                  <a:lnTo>
                    <a:pt x="122" y="530"/>
                  </a:lnTo>
                  <a:lnTo>
                    <a:pt x="135" y="540"/>
                  </a:lnTo>
                  <a:lnTo>
                    <a:pt x="152" y="549"/>
                  </a:lnTo>
                  <a:lnTo>
                    <a:pt x="170" y="557"/>
                  </a:lnTo>
                  <a:lnTo>
                    <a:pt x="191" y="561"/>
                  </a:lnTo>
                  <a:lnTo>
                    <a:pt x="212" y="563"/>
                  </a:lnTo>
                  <a:lnTo>
                    <a:pt x="235" y="565"/>
                  </a:lnTo>
                  <a:lnTo>
                    <a:pt x="235" y="565"/>
                  </a:lnTo>
                  <a:lnTo>
                    <a:pt x="258" y="563"/>
                  </a:lnTo>
                  <a:lnTo>
                    <a:pt x="278" y="561"/>
                  </a:lnTo>
                  <a:lnTo>
                    <a:pt x="297" y="557"/>
                  </a:lnTo>
                  <a:lnTo>
                    <a:pt x="316" y="551"/>
                  </a:lnTo>
                  <a:lnTo>
                    <a:pt x="316" y="551"/>
                  </a:lnTo>
                  <a:lnTo>
                    <a:pt x="332" y="545"/>
                  </a:lnTo>
                  <a:lnTo>
                    <a:pt x="347" y="536"/>
                  </a:lnTo>
                  <a:lnTo>
                    <a:pt x="357" y="526"/>
                  </a:lnTo>
                  <a:lnTo>
                    <a:pt x="368" y="515"/>
                  </a:lnTo>
                  <a:lnTo>
                    <a:pt x="376" y="505"/>
                  </a:lnTo>
                  <a:lnTo>
                    <a:pt x="380" y="491"/>
                  </a:lnTo>
                  <a:lnTo>
                    <a:pt x="384" y="476"/>
                  </a:lnTo>
                  <a:lnTo>
                    <a:pt x="386" y="462"/>
                  </a:lnTo>
                  <a:lnTo>
                    <a:pt x="386" y="462"/>
                  </a:lnTo>
                  <a:lnTo>
                    <a:pt x="384" y="439"/>
                  </a:lnTo>
                  <a:lnTo>
                    <a:pt x="378" y="420"/>
                  </a:lnTo>
                  <a:lnTo>
                    <a:pt x="370" y="403"/>
                  </a:lnTo>
                  <a:lnTo>
                    <a:pt x="364" y="397"/>
                  </a:lnTo>
                  <a:lnTo>
                    <a:pt x="355" y="391"/>
                  </a:lnTo>
                  <a:lnTo>
                    <a:pt x="355" y="391"/>
                  </a:lnTo>
                  <a:lnTo>
                    <a:pt x="339" y="381"/>
                  </a:lnTo>
                  <a:lnTo>
                    <a:pt x="318" y="372"/>
                  </a:lnTo>
                  <a:lnTo>
                    <a:pt x="291" y="364"/>
                  </a:lnTo>
                  <a:lnTo>
                    <a:pt x="262" y="356"/>
                  </a:lnTo>
                  <a:lnTo>
                    <a:pt x="183" y="337"/>
                  </a:lnTo>
                  <a:lnTo>
                    <a:pt x="183" y="337"/>
                  </a:lnTo>
                  <a:lnTo>
                    <a:pt x="147" y="329"/>
                  </a:lnTo>
                  <a:lnTo>
                    <a:pt x="118" y="318"/>
                  </a:lnTo>
                  <a:lnTo>
                    <a:pt x="93" y="308"/>
                  </a:lnTo>
                  <a:lnTo>
                    <a:pt x="75" y="297"/>
                  </a:lnTo>
                  <a:lnTo>
                    <a:pt x="75" y="297"/>
                  </a:lnTo>
                  <a:lnTo>
                    <a:pt x="62" y="287"/>
                  </a:lnTo>
                  <a:lnTo>
                    <a:pt x="50" y="276"/>
                  </a:lnTo>
                  <a:lnTo>
                    <a:pt x="42" y="264"/>
                  </a:lnTo>
                  <a:lnTo>
                    <a:pt x="33" y="252"/>
                  </a:lnTo>
                  <a:lnTo>
                    <a:pt x="27" y="237"/>
                  </a:lnTo>
                  <a:lnTo>
                    <a:pt x="23" y="220"/>
                  </a:lnTo>
                  <a:lnTo>
                    <a:pt x="21" y="204"/>
                  </a:lnTo>
                  <a:lnTo>
                    <a:pt x="19" y="185"/>
                  </a:lnTo>
                  <a:lnTo>
                    <a:pt x="19" y="185"/>
                  </a:lnTo>
                  <a:lnTo>
                    <a:pt x="21" y="166"/>
                  </a:lnTo>
                  <a:lnTo>
                    <a:pt x="23" y="148"/>
                  </a:lnTo>
                  <a:lnTo>
                    <a:pt x="27" y="129"/>
                  </a:lnTo>
                  <a:lnTo>
                    <a:pt x="33" y="112"/>
                  </a:lnTo>
                  <a:lnTo>
                    <a:pt x="39" y="96"/>
                  </a:lnTo>
                  <a:lnTo>
                    <a:pt x="50" y="81"/>
                  </a:lnTo>
                  <a:lnTo>
                    <a:pt x="60" y="66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87" y="41"/>
                  </a:lnTo>
                  <a:lnTo>
                    <a:pt x="104" y="31"/>
                  </a:lnTo>
                  <a:lnTo>
                    <a:pt x="121" y="21"/>
                  </a:lnTo>
                  <a:lnTo>
                    <a:pt x="139" y="14"/>
                  </a:lnTo>
                  <a:lnTo>
                    <a:pt x="160" y="8"/>
                  </a:lnTo>
                  <a:lnTo>
                    <a:pt x="181" y="4"/>
                  </a:lnTo>
                  <a:lnTo>
                    <a:pt x="203" y="2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49" y="2"/>
                  </a:lnTo>
                  <a:lnTo>
                    <a:pt x="272" y="4"/>
                  </a:lnTo>
                  <a:lnTo>
                    <a:pt x="293" y="8"/>
                  </a:lnTo>
                  <a:lnTo>
                    <a:pt x="312" y="13"/>
                  </a:lnTo>
                  <a:lnTo>
                    <a:pt x="330" y="19"/>
                  </a:lnTo>
                  <a:lnTo>
                    <a:pt x="349" y="27"/>
                  </a:lnTo>
                  <a:lnTo>
                    <a:pt x="365" y="35"/>
                  </a:lnTo>
                  <a:lnTo>
                    <a:pt x="382" y="46"/>
                  </a:lnTo>
                  <a:lnTo>
                    <a:pt x="382" y="46"/>
                  </a:lnTo>
                  <a:lnTo>
                    <a:pt x="399" y="58"/>
                  </a:lnTo>
                  <a:lnTo>
                    <a:pt x="411" y="73"/>
                  </a:lnTo>
                  <a:lnTo>
                    <a:pt x="422" y="87"/>
                  </a:lnTo>
                  <a:lnTo>
                    <a:pt x="432" y="106"/>
                  </a:lnTo>
                  <a:lnTo>
                    <a:pt x="438" y="125"/>
                  </a:lnTo>
                  <a:lnTo>
                    <a:pt x="443" y="146"/>
                  </a:lnTo>
                  <a:lnTo>
                    <a:pt x="447" y="168"/>
                  </a:lnTo>
                  <a:lnTo>
                    <a:pt x="447" y="191"/>
                  </a:lnTo>
                  <a:lnTo>
                    <a:pt x="372" y="191"/>
                  </a:lnTo>
                  <a:lnTo>
                    <a:pt x="372" y="191"/>
                  </a:lnTo>
                  <a:lnTo>
                    <a:pt x="368" y="168"/>
                  </a:lnTo>
                  <a:lnTo>
                    <a:pt x="361" y="150"/>
                  </a:lnTo>
                  <a:lnTo>
                    <a:pt x="355" y="133"/>
                  </a:lnTo>
                  <a:lnTo>
                    <a:pt x="345" y="118"/>
                  </a:lnTo>
                  <a:lnTo>
                    <a:pt x="345" y="118"/>
                  </a:lnTo>
                  <a:lnTo>
                    <a:pt x="337" y="108"/>
                  </a:lnTo>
                  <a:lnTo>
                    <a:pt x="324" y="98"/>
                  </a:lnTo>
                  <a:lnTo>
                    <a:pt x="312" y="89"/>
                  </a:lnTo>
                  <a:lnTo>
                    <a:pt x="297" y="83"/>
                  </a:lnTo>
                  <a:lnTo>
                    <a:pt x="283" y="77"/>
                  </a:lnTo>
                  <a:lnTo>
                    <a:pt x="264" y="75"/>
                  </a:lnTo>
                  <a:lnTo>
                    <a:pt x="245" y="73"/>
                  </a:lnTo>
                  <a:lnTo>
                    <a:pt x="224" y="71"/>
                  </a:lnTo>
                  <a:lnTo>
                    <a:pt x="224" y="71"/>
                  </a:lnTo>
                  <a:lnTo>
                    <a:pt x="193" y="73"/>
                  </a:lnTo>
                  <a:lnTo>
                    <a:pt x="166" y="79"/>
                  </a:lnTo>
                  <a:lnTo>
                    <a:pt x="154" y="83"/>
                  </a:lnTo>
                  <a:lnTo>
                    <a:pt x="143" y="87"/>
                  </a:lnTo>
                  <a:lnTo>
                    <a:pt x="135" y="94"/>
                  </a:lnTo>
                  <a:lnTo>
                    <a:pt x="127" y="102"/>
                  </a:lnTo>
                  <a:lnTo>
                    <a:pt x="127" y="102"/>
                  </a:lnTo>
                  <a:lnTo>
                    <a:pt x="112" y="116"/>
                  </a:lnTo>
                  <a:lnTo>
                    <a:pt x="104" y="133"/>
                  </a:lnTo>
                  <a:lnTo>
                    <a:pt x="98" y="152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8" y="191"/>
                  </a:lnTo>
                  <a:lnTo>
                    <a:pt x="102" y="202"/>
                  </a:lnTo>
                  <a:lnTo>
                    <a:pt x="104" y="210"/>
                  </a:lnTo>
                  <a:lnTo>
                    <a:pt x="110" y="218"/>
                  </a:lnTo>
                  <a:lnTo>
                    <a:pt x="116" y="224"/>
                  </a:lnTo>
                  <a:lnTo>
                    <a:pt x="122" y="231"/>
                  </a:lnTo>
                  <a:lnTo>
                    <a:pt x="131" y="237"/>
                  </a:lnTo>
                  <a:lnTo>
                    <a:pt x="131" y="237"/>
                  </a:lnTo>
                  <a:lnTo>
                    <a:pt x="147" y="243"/>
                  </a:lnTo>
                  <a:lnTo>
                    <a:pt x="170" y="252"/>
                  </a:lnTo>
                  <a:lnTo>
                    <a:pt x="237" y="268"/>
                  </a:lnTo>
                  <a:lnTo>
                    <a:pt x="318" y="287"/>
                  </a:lnTo>
                  <a:lnTo>
                    <a:pt x="318" y="287"/>
                  </a:lnTo>
                  <a:lnTo>
                    <a:pt x="347" y="295"/>
                  </a:lnTo>
                  <a:lnTo>
                    <a:pt x="370" y="304"/>
                  </a:lnTo>
                  <a:lnTo>
                    <a:pt x="393" y="314"/>
                  </a:lnTo>
                  <a:lnTo>
                    <a:pt x="409" y="326"/>
                  </a:lnTo>
                  <a:lnTo>
                    <a:pt x="409" y="326"/>
                  </a:lnTo>
                  <a:lnTo>
                    <a:pt x="422" y="337"/>
                  </a:lnTo>
                  <a:lnTo>
                    <a:pt x="434" y="349"/>
                  </a:lnTo>
                  <a:lnTo>
                    <a:pt x="443" y="362"/>
                  </a:lnTo>
                  <a:lnTo>
                    <a:pt x="451" y="378"/>
                  </a:lnTo>
                  <a:lnTo>
                    <a:pt x="457" y="393"/>
                  </a:lnTo>
                  <a:lnTo>
                    <a:pt x="461" y="410"/>
                  </a:lnTo>
                  <a:lnTo>
                    <a:pt x="463" y="428"/>
                  </a:lnTo>
                  <a:lnTo>
                    <a:pt x="465" y="447"/>
                  </a:lnTo>
                  <a:lnTo>
                    <a:pt x="465" y="447"/>
                  </a:lnTo>
                  <a:lnTo>
                    <a:pt x="463" y="472"/>
                  </a:lnTo>
                  <a:lnTo>
                    <a:pt x="461" y="495"/>
                  </a:lnTo>
                  <a:lnTo>
                    <a:pt x="455" y="515"/>
                  </a:lnTo>
                  <a:lnTo>
                    <a:pt x="447" y="534"/>
                  </a:lnTo>
                  <a:lnTo>
                    <a:pt x="436" y="551"/>
                  </a:lnTo>
                  <a:lnTo>
                    <a:pt x="426" y="565"/>
                  </a:lnTo>
                  <a:lnTo>
                    <a:pt x="411" y="578"/>
                  </a:lnTo>
                  <a:lnTo>
                    <a:pt x="395" y="590"/>
                  </a:lnTo>
                  <a:lnTo>
                    <a:pt x="395" y="590"/>
                  </a:lnTo>
                  <a:lnTo>
                    <a:pt x="376" y="601"/>
                  </a:lnTo>
                  <a:lnTo>
                    <a:pt x="357" y="609"/>
                  </a:lnTo>
                  <a:lnTo>
                    <a:pt x="339" y="615"/>
                  </a:lnTo>
                  <a:lnTo>
                    <a:pt x="318" y="622"/>
                  </a:lnTo>
                  <a:lnTo>
                    <a:pt x="297" y="628"/>
                  </a:lnTo>
                  <a:lnTo>
                    <a:pt x="276" y="630"/>
                  </a:lnTo>
                  <a:lnTo>
                    <a:pt x="253" y="632"/>
                  </a:lnTo>
                  <a:lnTo>
                    <a:pt x="231" y="634"/>
                  </a:lnTo>
                  <a:lnTo>
                    <a:pt x="231" y="634"/>
                  </a:lnTo>
                  <a:lnTo>
                    <a:pt x="203" y="632"/>
                  </a:lnTo>
                  <a:lnTo>
                    <a:pt x="179" y="630"/>
                  </a:lnTo>
                  <a:lnTo>
                    <a:pt x="156" y="626"/>
                  </a:lnTo>
                  <a:lnTo>
                    <a:pt x="133" y="620"/>
                  </a:lnTo>
                  <a:lnTo>
                    <a:pt x="112" y="611"/>
                  </a:lnTo>
                  <a:lnTo>
                    <a:pt x="93" y="601"/>
                  </a:lnTo>
                  <a:lnTo>
                    <a:pt x="75" y="590"/>
                  </a:lnTo>
                  <a:lnTo>
                    <a:pt x="60" y="576"/>
                  </a:lnTo>
                  <a:lnTo>
                    <a:pt x="60" y="576"/>
                  </a:lnTo>
                  <a:lnTo>
                    <a:pt x="46" y="561"/>
                  </a:lnTo>
                  <a:lnTo>
                    <a:pt x="33" y="545"/>
                  </a:lnTo>
                  <a:lnTo>
                    <a:pt x="23" y="528"/>
                  </a:lnTo>
                  <a:lnTo>
                    <a:pt x="12" y="509"/>
                  </a:lnTo>
                  <a:lnTo>
                    <a:pt x="6" y="489"/>
                  </a:lnTo>
                  <a:lnTo>
                    <a:pt x="2" y="468"/>
                  </a:lnTo>
                  <a:lnTo>
                    <a:pt x="0" y="445"/>
                  </a:lnTo>
                  <a:lnTo>
                    <a:pt x="0" y="422"/>
                  </a:lnTo>
                  <a:lnTo>
                    <a:pt x="75" y="422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id="{8484AFF0-2A7A-6444-B93C-9050BB6F14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2775" y="3884613"/>
              <a:ext cx="146050" cy="168275"/>
            </a:xfrm>
            <a:custGeom>
              <a:avLst/>
              <a:gdLst>
                <a:gd name="T0" fmla="*/ 359 w 404"/>
                <a:gd name="T1" fmla="*/ 71 h 467"/>
                <a:gd name="T2" fmla="*/ 389 w 404"/>
                <a:gd name="T3" fmla="*/ 125 h 467"/>
                <a:gd name="T4" fmla="*/ 403 w 404"/>
                <a:gd name="T5" fmla="*/ 196 h 467"/>
                <a:gd name="T6" fmla="*/ 403 w 404"/>
                <a:gd name="T7" fmla="*/ 248 h 467"/>
                <a:gd name="T8" fmla="*/ 391 w 404"/>
                <a:gd name="T9" fmla="*/ 318 h 467"/>
                <a:gd name="T10" fmla="*/ 366 w 404"/>
                <a:gd name="T11" fmla="*/ 379 h 467"/>
                <a:gd name="T12" fmla="*/ 339 w 404"/>
                <a:gd name="T13" fmla="*/ 412 h 467"/>
                <a:gd name="T14" fmla="*/ 287 w 404"/>
                <a:gd name="T15" fmla="*/ 447 h 467"/>
                <a:gd name="T16" fmla="*/ 220 w 404"/>
                <a:gd name="T17" fmla="*/ 464 h 467"/>
                <a:gd name="T18" fmla="*/ 172 w 404"/>
                <a:gd name="T19" fmla="*/ 464 h 467"/>
                <a:gd name="T20" fmla="*/ 114 w 404"/>
                <a:gd name="T21" fmla="*/ 449 h 467"/>
                <a:gd name="T22" fmla="*/ 67 w 404"/>
                <a:gd name="T23" fmla="*/ 418 h 467"/>
                <a:gd name="T24" fmla="*/ 40 w 404"/>
                <a:gd name="T25" fmla="*/ 389 h 467"/>
                <a:gd name="T26" fmla="*/ 13 w 404"/>
                <a:gd name="T27" fmla="*/ 333 h 467"/>
                <a:gd name="T28" fmla="*/ 0 w 404"/>
                <a:gd name="T29" fmla="*/ 266 h 467"/>
                <a:gd name="T30" fmla="*/ 0 w 404"/>
                <a:gd name="T31" fmla="*/ 215 h 467"/>
                <a:gd name="T32" fmla="*/ 13 w 404"/>
                <a:gd name="T33" fmla="*/ 142 h 467"/>
                <a:gd name="T34" fmla="*/ 42 w 404"/>
                <a:gd name="T35" fmla="*/ 81 h 467"/>
                <a:gd name="T36" fmla="*/ 69 w 404"/>
                <a:gd name="T37" fmla="*/ 50 h 467"/>
                <a:gd name="T38" fmla="*/ 121 w 404"/>
                <a:gd name="T39" fmla="*/ 17 h 467"/>
                <a:gd name="T40" fmla="*/ 181 w 404"/>
                <a:gd name="T41" fmla="*/ 0 h 467"/>
                <a:gd name="T42" fmla="*/ 225 w 404"/>
                <a:gd name="T43" fmla="*/ 0 h 467"/>
                <a:gd name="T44" fmla="*/ 281 w 404"/>
                <a:gd name="T45" fmla="*/ 15 h 467"/>
                <a:gd name="T46" fmla="*/ 331 w 404"/>
                <a:gd name="T47" fmla="*/ 44 h 467"/>
                <a:gd name="T48" fmla="*/ 299 w 404"/>
                <a:gd name="T49" fmla="*/ 348 h 467"/>
                <a:gd name="T50" fmla="*/ 326 w 404"/>
                <a:gd name="T51" fmla="*/ 256 h 467"/>
                <a:gd name="T52" fmla="*/ 326 w 404"/>
                <a:gd name="T53" fmla="*/ 194 h 467"/>
                <a:gd name="T54" fmla="*/ 308 w 404"/>
                <a:gd name="T55" fmla="*/ 125 h 467"/>
                <a:gd name="T56" fmla="*/ 289 w 404"/>
                <a:gd name="T57" fmla="*/ 98 h 467"/>
                <a:gd name="T58" fmla="*/ 252 w 404"/>
                <a:gd name="T59" fmla="*/ 73 h 467"/>
                <a:gd name="T60" fmla="*/ 202 w 404"/>
                <a:gd name="T61" fmla="*/ 65 h 467"/>
                <a:gd name="T62" fmla="*/ 171 w 404"/>
                <a:gd name="T63" fmla="*/ 67 h 467"/>
                <a:gd name="T64" fmla="*/ 133 w 404"/>
                <a:gd name="T65" fmla="*/ 83 h 467"/>
                <a:gd name="T66" fmla="*/ 106 w 404"/>
                <a:gd name="T67" fmla="*/ 115 h 467"/>
                <a:gd name="T68" fmla="*/ 83 w 404"/>
                <a:gd name="T69" fmla="*/ 173 h 467"/>
                <a:gd name="T70" fmla="*/ 75 w 404"/>
                <a:gd name="T71" fmla="*/ 239 h 467"/>
                <a:gd name="T72" fmla="*/ 91 w 404"/>
                <a:gd name="T73" fmla="*/ 331 h 467"/>
                <a:gd name="T74" fmla="*/ 114 w 404"/>
                <a:gd name="T75" fmla="*/ 366 h 467"/>
                <a:gd name="T76" fmla="*/ 143 w 404"/>
                <a:gd name="T77" fmla="*/ 391 h 467"/>
                <a:gd name="T78" fmla="*/ 185 w 404"/>
                <a:gd name="T79" fmla="*/ 401 h 467"/>
                <a:gd name="T80" fmla="*/ 218 w 404"/>
                <a:gd name="T81" fmla="*/ 401 h 467"/>
                <a:gd name="T82" fmla="*/ 262 w 404"/>
                <a:gd name="T83" fmla="*/ 389 h 467"/>
                <a:gd name="T84" fmla="*/ 293 w 404"/>
                <a:gd name="T85" fmla="*/ 36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4" h="467">
                  <a:moveTo>
                    <a:pt x="345" y="56"/>
                  </a:moveTo>
                  <a:lnTo>
                    <a:pt x="345" y="56"/>
                  </a:lnTo>
                  <a:lnTo>
                    <a:pt x="359" y="71"/>
                  </a:lnTo>
                  <a:lnTo>
                    <a:pt x="372" y="88"/>
                  </a:lnTo>
                  <a:lnTo>
                    <a:pt x="380" y="106"/>
                  </a:lnTo>
                  <a:lnTo>
                    <a:pt x="389" y="125"/>
                  </a:lnTo>
                  <a:lnTo>
                    <a:pt x="395" y="148"/>
                  </a:lnTo>
                  <a:lnTo>
                    <a:pt x="401" y="171"/>
                  </a:lnTo>
                  <a:lnTo>
                    <a:pt x="403" y="196"/>
                  </a:lnTo>
                  <a:lnTo>
                    <a:pt x="403" y="221"/>
                  </a:lnTo>
                  <a:lnTo>
                    <a:pt x="403" y="221"/>
                  </a:lnTo>
                  <a:lnTo>
                    <a:pt x="403" y="248"/>
                  </a:lnTo>
                  <a:lnTo>
                    <a:pt x="401" y="273"/>
                  </a:lnTo>
                  <a:lnTo>
                    <a:pt x="397" y="296"/>
                  </a:lnTo>
                  <a:lnTo>
                    <a:pt x="391" y="318"/>
                  </a:lnTo>
                  <a:lnTo>
                    <a:pt x="384" y="339"/>
                  </a:lnTo>
                  <a:lnTo>
                    <a:pt x="374" y="360"/>
                  </a:lnTo>
                  <a:lnTo>
                    <a:pt x="366" y="379"/>
                  </a:lnTo>
                  <a:lnTo>
                    <a:pt x="353" y="395"/>
                  </a:lnTo>
                  <a:lnTo>
                    <a:pt x="353" y="395"/>
                  </a:lnTo>
                  <a:lnTo>
                    <a:pt x="339" y="412"/>
                  </a:lnTo>
                  <a:lnTo>
                    <a:pt x="324" y="426"/>
                  </a:lnTo>
                  <a:lnTo>
                    <a:pt x="308" y="439"/>
                  </a:lnTo>
                  <a:lnTo>
                    <a:pt x="287" y="447"/>
                  </a:lnTo>
                  <a:lnTo>
                    <a:pt x="266" y="456"/>
                  </a:lnTo>
                  <a:lnTo>
                    <a:pt x="245" y="460"/>
                  </a:lnTo>
                  <a:lnTo>
                    <a:pt x="220" y="464"/>
                  </a:lnTo>
                  <a:lnTo>
                    <a:pt x="195" y="466"/>
                  </a:lnTo>
                  <a:lnTo>
                    <a:pt x="195" y="466"/>
                  </a:lnTo>
                  <a:lnTo>
                    <a:pt x="172" y="464"/>
                  </a:lnTo>
                  <a:lnTo>
                    <a:pt x="152" y="462"/>
                  </a:lnTo>
                  <a:lnTo>
                    <a:pt x="133" y="456"/>
                  </a:lnTo>
                  <a:lnTo>
                    <a:pt x="114" y="449"/>
                  </a:lnTo>
                  <a:lnTo>
                    <a:pt x="98" y="441"/>
                  </a:lnTo>
                  <a:lnTo>
                    <a:pt x="81" y="431"/>
                  </a:lnTo>
                  <a:lnTo>
                    <a:pt x="67" y="418"/>
                  </a:lnTo>
                  <a:lnTo>
                    <a:pt x="52" y="404"/>
                  </a:lnTo>
                  <a:lnTo>
                    <a:pt x="52" y="404"/>
                  </a:lnTo>
                  <a:lnTo>
                    <a:pt x="40" y="389"/>
                  </a:lnTo>
                  <a:lnTo>
                    <a:pt x="29" y="370"/>
                  </a:lnTo>
                  <a:lnTo>
                    <a:pt x="21" y="352"/>
                  </a:lnTo>
                  <a:lnTo>
                    <a:pt x="13" y="333"/>
                  </a:lnTo>
                  <a:lnTo>
                    <a:pt x="6" y="312"/>
                  </a:lnTo>
                  <a:lnTo>
                    <a:pt x="2" y="289"/>
                  </a:lnTo>
                  <a:lnTo>
                    <a:pt x="0" y="266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15"/>
                  </a:lnTo>
                  <a:lnTo>
                    <a:pt x="2" y="187"/>
                  </a:lnTo>
                  <a:lnTo>
                    <a:pt x="9" y="165"/>
                  </a:lnTo>
                  <a:lnTo>
                    <a:pt x="13" y="142"/>
                  </a:lnTo>
                  <a:lnTo>
                    <a:pt x="21" y="121"/>
                  </a:lnTo>
                  <a:lnTo>
                    <a:pt x="31" y="100"/>
                  </a:lnTo>
                  <a:lnTo>
                    <a:pt x="42" y="81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69" y="50"/>
                  </a:lnTo>
                  <a:lnTo>
                    <a:pt x="85" y="36"/>
                  </a:lnTo>
                  <a:lnTo>
                    <a:pt x="102" y="25"/>
                  </a:lnTo>
                  <a:lnTo>
                    <a:pt x="121" y="17"/>
                  </a:lnTo>
                  <a:lnTo>
                    <a:pt x="139" y="9"/>
                  </a:lnTo>
                  <a:lnTo>
                    <a:pt x="160" y="5"/>
                  </a:lnTo>
                  <a:lnTo>
                    <a:pt x="181" y="0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5" y="0"/>
                  </a:lnTo>
                  <a:lnTo>
                    <a:pt x="245" y="2"/>
                  </a:lnTo>
                  <a:lnTo>
                    <a:pt x="264" y="9"/>
                  </a:lnTo>
                  <a:lnTo>
                    <a:pt x="281" y="15"/>
                  </a:lnTo>
                  <a:lnTo>
                    <a:pt x="299" y="21"/>
                  </a:lnTo>
                  <a:lnTo>
                    <a:pt x="316" y="31"/>
                  </a:lnTo>
                  <a:lnTo>
                    <a:pt x="331" y="44"/>
                  </a:lnTo>
                  <a:lnTo>
                    <a:pt x="345" y="56"/>
                  </a:lnTo>
                  <a:close/>
                  <a:moveTo>
                    <a:pt x="299" y="348"/>
                  </a:moveTo>
                  <a:lnTo>
                    <a:pt x="299" y="348"/>
                  </a:lnTo>
                  <a:lnTo>
                    <a:pt x="312" y="318"/>
                  </a:lnTo>
                  <a:lnTo>
                    <a:pt x="320" y="289"/>
                  </a:lnTo>
                  <a:lnTo>
                    <a:pt x="326" y="256"/>
                  </a:lnTo>
                  <a:lnTo>
                    <a:pt x="326" y="223"/>
                  </a:lnTo>
                  <a:lnTo>
                    <a:pt x="326" y="223"/>
                  </a:lnTo>
                  <a:lnTo>
                    <a:pt x="326" y="194"/>
                  </a:lnTo>
                  <a:lnTo>
                    <a:pt x="322" y="169"/>
                  </a:lnTo>
                  <a:lnTo>
                    <a:pt x="316" y="146"/>
                  </a:lnTo>
                  <a:lnTo>
                    <a:pt x="308" y="125"/>
                  </a:lnTo>
                  <a:lnTo>
                    <a:pt x="308" y="125"/>
                  </a:lnTo>
                  <a:lnTo>
                    <a:pt x="299" y="110"/>
                  </a:lnTo>
                  <a:lnTo>
                    <a:pt x="289" y="98"/>
                  </a:lnTo>
                  <a:lnTo>
                    <a:pt x="278" y="88"/>
                  </a:lnTo>
                  <a:lnTo>
                    <a:pt x="266" y="79"/>
                  </a:lnTo>
                  <a:lnTo>
                    <a:pt x="252" y="73"/>
                  </a:lnTo>
                  <a:lnTo>
                    <a:pt x="237" y="67"/>
                  </a:lnTo>
                  <a:lnTo>
                    <a:pt x="220" y="65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187" y="65"/>
                  </a:lnTo>
                  <a:lnTo>
                    <a:pt x="171" y="67"/>
                  </a:lnTo>
                  <a:lnTo>
                    <a:pt x="158" y="71"/>
                  </a:lnTo>
                  <a:lnTo>
                    <a:pt x="146" y="77"/>
                  </a:lnTo>
                  <a:lnTo>
                    <a:pt x="133" y="83"/>
                  </a:lnTo>
                  <a:lnTo>
                    <a:pt x="123" y="94"/>
                  </a:lnTo>
                  <a:lnTo>
                    <a:pt x="114" y="104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91" y="142"/>
                  </a:lnTo>
                  <a:lnTo>
                    <a:pt x="83" y="173"/>
                  </a:lnTo>
                  <a:lnTo>
                    <a:pt x="77" y="204"/>
                  </a:lnTo>
                  <a:lnTo>
                    <a:pt x="75" y="239"/>
                  </a:lnTo>
                  <a:lnTo>
                    <a:pt x="75" y="239"/>
                  </a:lnTo>
                  <a:lnTo>
                    <a:pt x="77" y="273"/>
                  </a:lnTo>
                  <a:lnTo>
                    <a:pt x="83" y="304"/>
                  </a:lnTo>
                  <a:lnTo>
                    <a:pt x="91" y="331"/>
                  </a:lnTo>
                  <a:lnTo>
                    <a:pt x="106" y="356"/>
                  </a:lnTo>
                  <a:lnTo>
                    <a:pt x="106" y="356"/>
                  </a:lnTo>
                  <a:lnTo>
                    <a:pt x="114" y="366"/>
                  </a:lnTo>
                  <a:lnTo>
                    <a:pt x="123" y="377"/>
                  </a:lnTo>
                  <a:lnTo>
                    <a:pt x="133" y="383"/>
                  </a:lnTo>
                  <a:lnTo>
                    <a:pt x="143" y="391"/>
                  </a:lnTo>
                  <a:lnTo>
                    <a:pt x="158" y="395"/>
                  </a:lnTo>
                  <a:lnTo>
                    <a:pt x="171" y="399"/>
                  </a:lnTo>
                  <a:lnTo>
                    <a:pt x="185" y="401"/>
                  </a:lnTo>
                  <a:lnTo>
                    <a:pt x="202" y="401"/>
                  </a:lnTo>
                  <a:lnTo>
                    <a:pt x="202" y="401"/>
                  </a:lnTo>
                  <a:lnTo>
                    <a:pt x="218" y="401"/>
                  </a:lnTo>
                  <a:lnTo>
                    <a:pt x="235" y="397"/>
                  </a:lnTo>
                  <a:lnTo>
                    <a:pt x="249" y="393"/>
                  </a:lnTo>
                  <a:lnTo>
                    <a:pt x="262" y="389"/>
                  </a:lnTo>
                  <a:lnTo>
                    <a:pt x="274" y="381"/>
                  </a:lnTo>
                  <a:lnTo>
                    <a:pt x="285" y="370"/>
                  </a:lnTo>
                  <a:lnTo>
                    <a:pt x="293" y="360"/>
                  </a:lnTo>
                  <a:lnTo>
                    <a:pt x="299" y="3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A3CA7693-8AEB-D64C-B37B-9C10B420DE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9463" y="3884613"/>
              <a:ext cx="134937" cy="166687"/>
            </a:xfrm>
            <a:custGeom>
              <a:avLst/>
              <a:gdLst>
                <a:gd name="T0" fmla="*/ 320 w 375"/>
                <a:gd name="T1" fmla="*/ 36 h 463"/>
                <a:gd name="T2" fmla="*/ 341 w 375"/>
                <a:gd name="T3" fmla="*/ 56 h 463"/>
                <a:gd name="T4" fmla="*/ 356 w 375"/>
                <a:gd name="T5" fmla="*/ 86 h 463"/>
                <a:gd name="T6" fmla="*/ 368 w 375"/>
                <a:gd name="T7" fmla="*/ 119 h 463"/>
                <a:gd name="T8" fmla="*/ 374 w 375"/>
                <a:gd name="T9" fmla="*/ 160 h 463"/>
                <a:gd name="T10" fmla="*/ 304 w 375"/>
                <a:gd name="T11" fmla="*/ 160 h 463"/>
                <a:gd name="T12" fmla="*/ 293 w 375"/>
                <a:gd name="T13" fmla="*/ 123 h 463"/>
                <a:gd name="T14" fmla="*/ 275 w 375"/>
                <a:gd name="T15" fmla="*/ 92 h 463"/>
                <a:gd name="T16" fmla="*/ 260 w 375"/>
                <a:gd name="T17" fmla="*/ 81 h 463"/>
                <a:gd name="T18" fmla="*/ 223 w 375"/>
                <a:gd name="T19" fmla="*/ 67 h 463"/>
                <a:gd name="T20" fmla="*/ 200 w 375"/>
                <a:gd name="T21" fmla="*/ 65 h 463"/>
                <a:gd name="T22" fmla="*/ 167 w 375"/>
                <a:gd name="T23" fmla="*/ 69 h 463"/>
                <a:gd name="T24" fmla="*/ 140 w 375"/>
                <a:gd name="T25" fmla="*/ 83 h 463"/>
                <a:gd name="T26" fmla="*/ 117 w 375"/>
                <a:gd name="T27" fmla="*/ 104 h 463"/>
                <a:gd name="T28" fmla="*/ 98 w 375"/>
                <a:gd name="T29" fmla="*/ 133 h 463"/>
                <a:gd name="T30" fmla="*/ 90 w 375"/>
                <a:gd name="T31" fmla="*/ 158 h 463"/>
                <a:gd name="T32" fmla="*/ 81 w 375"/>
                <a:gd name="T33" fmla="*/ 212 h 463"/>
                <a:gd name="T34" fmla="*/ 79 w 375"/>
                <a:gd name="T35" fmla="*/ 244 h 463"/>
                <a:gd name="T36" fmla="*/ 86 w 375"/>
                <a:gd name="T37" fmla="*/ 304 h 463"/>
                <a:gd name="T38" fmla="*/ 106 w 375"/>
                <a:gd name="T39" fmla="*/ 354 h 463"/>
                <a:gd name="T40" fmla="*/ 115 w 375"/>
                <a:gd name="T41" fmla="*/ 364 h 463"/>
                <a:gd name="T42" fmla="*/ 133 w 375"/>
                <a:gd name="T43" fmla="*/ 381 h 463"/>
                <a:gd name="T44" fmla="*/ 154 w 375"/>
                <a:gd name="T45" fmla="*/ 393 h 463"/>
                <a:gd name="T46" fmla="*/ 179 w 375"/>
                <a:gd name="T47" fmla="*/ 397 h 463"/>
                <a:gd name="T48" fmla="*/ 194 w 375"/>
                <a:gd name="T49" fmla="*/ 399 h 463"/>
                <a:gd name="T50" fmla="*/ 235 w 375"/>
                <a:gd name="T51" fmla="*/ 391 h 463"/>
                <a:gd name="T52" fmla="*/ 266 w 375"/>
                <a:gd name="T53" fmla="*/ 370 h 463"/>
                <a:gd name="T54" fmla="*/ 279 w 375"/>
                <a:gd name="T55" fmla="*/ 356 h 463"/>
                <a:gd name="T56" fmla="*/ 297 w 375"/>
                <a:gd name="T57" fmla="*/ 318 h 463"/>
                <a:gd name="T58" fmla="*/ 374 w 375"/>
                <a:gd name="T59" fmla="*/ 296 h 463"/>
                <a:gd name="T60" fmla="*/ 372 w 375"/>
                <a:gd name="T61" fmla="*/ 316 h 463"/>
                <a:gd name="T62" fmla="*/ 360 w 375"/>
                <a:gd name="T63" fmla="*/ 354 h 463"/>
                <a:gd name="T64" fmla="*/ 345 w 375"/>
                <a:gd name="T65" fmla="*/ 385 h 463"/>
                <a:gd name="T66" fmla="*/ 327 w 375"/>
                <a:gd name="T67" fmla="*/ 412 h 463"/>
                <a:gd name="T68" fmla="*/ 314 w 375"/>
                <a:gd name="T69" fmla="*/ 422 h 463"/>
                <a:gd name="T70" fmla="*/ 287 w 375"/>
                <a:gd name="T71" fmla="*/ 439 h 463"/>
                <a:gd name="T72" fmla="*/ 258 w 375"/>
                <a:gd name="T73" fmla="*/ 451 h 463"/>
                <a:gd name="T74" fmla="*/ 225 w 375"/>
                <a:gd name="T75" fmla="*/ 460 h 463"/>
                <a:gd name="T76" fmla="*/ 190 w 375"/>
                <a:gd name="T77" fmla="*/ 462 h 463"/>
                <a:gd name="T78" fmla="*/ 169 w 375"/>
                <a:gd name="T79" fmla="*/ 462 h 463"/>
                <a:gd name="T80" fmla="*/ 129 w 375"/>
                <a:gd name="T81" fmla="*/ 454 h 463"/>
                <a:gd name="T82" fmla="*/ 96 w 375"/>
                <a:gd name="T83" fmla="*/ 437 h 463"/>
                <a:gd name="T84" fmla="*/ 65 w 375"/>
                <a:gd name="T85" fmla="*/ 414 h 463"/>
                <a:gd name="T86" fmla="*/ 52 w 375"/>
                <a:gd name="T87" fmla="*/ 399 h 463"/>
                <a:gd name="T88" fmla="*/ 30 w 375"/>
                <a:gd name="T89" fmla="*/ 366 h 463"/>
                <a:gd name="T90" fmla="*/ 13 w 375"/>
                <a:gd name="T91" fmla="*/ 329 h 463"/>
                <a:gd name="T92" fmla="*/ 5 w 375"/>
                <a:gd name="T93" fmla="*/ 287 h 463"/>
                <a:gd name="T94" fmla="*/ 0 w 375"/>
                <a:gd name="T95" fmla="*/ 244 h 463"/>
                <a:gd name="T96" fmla="*/ 2 w 375"/>
                <a:gd name="T97" fmla="*/ 215 h 463"/>
                <a:gd name="T98" fmla="*/ 9 w 375"/>
                <a:gd name="T99" fmla="*/ 165 h 463"/>
                <a:gd name="T100" fmla="*/ 23 w 375"/>
                <a:gd name="T101" fmla="*/ 119 h 463"/>
                <a:gd name="T102" fmla="*/ 44 w 375"/>
                <a:gd name="T103" fmla="*/ 81 h 463"/>
                <a:gd name="T104" fmla="*/ 56 w 375"/>
                <a:gd name="T105" fmla="*/ 65 h 463"/>
                <a:gd name="T106" fmla="*/ 88 w 375"/>
                <a:gd name="T107" fmla="*/ 36 h 463"/>
                <a:gd name="T108" fmla="*/ 121 w 375"/>
                <a:gd name="T109" fmla="*/ 15 h 463"/>
                <a:gd name="T110" fmla="*/ 158 w 375"/>
                <a:gd name="T111" fmla="*/ 5 h 463"/>
                <a:gd name="T112" fmla="*/ 200 w 375"/>
                <a:gd name="T113" fmla="*/ 0 h 463"/>
                <a:gd name="T114" fmla="*/ 235 w 375"/>
                <a:gd name="T115" fmla="*/ 2 h 463"/>
                <a:gd name="T116" fmla="*/ 266 w 375"/>
                <a:gd name="T117" fmla="*/ 9 h 463"/>
                <a:gd name="T118" fmla="*/ 296 w 375"/>
                <a:gd name="T119" fmla="*/ 21 h 463"/>
                <a:gd name="T120" fmla="*/ 320 w 375"/>
                <a:gd name="T121" fmla="*/ 36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5" h="463">
                  <a:moveTo>
                    <a:pt x="320" y="36"/>
                  </a:moveTo>
                  <a:lnTo>
                    <a:pt x="320" y="36"/>
                  </a:lnTo>
                  <a:lnTo>
                    <a:pt x="331" y="46"/>
                  </a:lnTo>
                  <a:lnTo>
                    <a:pt x="341" y="56"/>
                  </a:lnTo>
                  <a:lnTo>
                    <a:pt x="349" y="71"/>
                  </a:lnTo>
                  <a:lnTo>
                    <a:pt x="356" y="86"/>
                  </a:lnTo>
                  <a:lnTo>
                    <a:pt x="362" y="100"/>
                  </a:lnTo>
                  <a:lnTo>
                    <a:pt x="368" y="119"/>
                  </a:lnTo>
                  <a:lnTo>
                    <a:pt x="372" y="138"/>
                  </a:lnTo>
                  <a:lnTo>
                    <a:pt x="374" y="160"/>
                  </a:lnTo>
                  <a:lnTo>
                    <a:pt x="304" y="160"/>
                  </a:lnTo>
                  <a:lnTo>
                    <a:pt x="304" y="160"/>
                  </a:lnTo>
                  <a:lnTo>
                    <a:pt x="300" y="140"/>
                  </a:lnTo>
                  <a:lnTo>
                    <a:pt x="293" y="123"/>
                  </a:lnTo>
                  <a:lnTo>
                    <a:pt x="285" y="106"/>
                  </a:lnTo>
                  <a:lnTo>
                    <a:pt x="275" y="92"/>
                  </a:lnTo>
                  <a:lnTo>
                    <a:pt x="275" y="92"/>
                  </a:lnTo>
                  <a:lnTo>
                    <a:pt x="260" y="81"/>
                  </a:lnTo>
                  <a:lnTo>
                    <a:pt x="243" y="73"/>
                  </a:lnTo>
                  <a:lnTo>
                    <a:pt x="223" y="67"/>
                  </a:lnTo>
                  <a:lnTo>
                    <a:pt x="200" y="65"/>
                  </a:lnTo>
                  <a:lnTo>
                    <a:pt x="200" y="65"/>
                  </a:lnTo>
                  <a:lnTo>
                    <a:pt x="183" y="67"/>
                  </a:lnTo>
                  <a:lnTo>
                    <a:pt x="167" y="69"/>
                  </a:lnTo>
                  <a:lnTo>
                    <a:pt x="152" y="75"/>
                  </a:lnTo>
                  <a:lnTo>
                    <a:pt x="140" y="83"/>
                  </a:lnTo>
                  <a:lnTo>
                    <a:pt x="127" y="92"/>
                  </a:lnTo>
                  <a:lnTo>
                    <a:pt x="117" y="104"/>
                  </a:lnTo>
                  <a:lnTo>
                    <a:pt x="106" y="119"/>
                  </a:lnTo>
                  <a:lnTo>
                    <a:pt x="98" y="133"/>
                  </a:lnTo>
                  <a:lnTo>
                    <a:pt x="98" y="133"/>
                  </a:lnTo>
                  <a:lnTo>
                    <a:pt x="90" y="158"/>
                  </a:lnTo>
                  <a:lnTo>
                    <a:pt x="84" y="183"/>
                  </a:lnTo>
                  <a:lnTo>
                    <a:pt x="81" y="212"/>
                  </a:lnTo>
                  <a:lnTo>
                    <a:pt x="79" y="244"/>
                  </a:lnTo>
                  <a:lnTo>
                    <a:pt x="79" y="244"/>
                  </a:lnTo>
                  <a:lnTo>
                    <a:pt x="81" y="275"/>
                  </a:lnTo>
                  <a:lnTo>
                    <a:pt x="86" y="304"/>
                  </a:lnTo>
                  <a:lnTo>
                    <a:pt x="96" y="331"/>
                  </a:lnTo>
                  <a:lnTo>
                    <a:pt x="106" y="354"/>
                  </a:lnTo>
                  <a:lnTo>
                    <a:pt x="106" y="354"/>
                  </a:lnTo>
                  <a:lnTo>
                    <a:pt x="115" y="364"/>
                  </a:lnTo>
                  <a:lnTo>
                    <a:pt x="123" y="374"/>
                  </a:lnTo>
                  <a:lnTo>
                    <a:pt x="133" y="381"/>
                  </a:lnTo>
                  <a:lnTo>
                    <a:pt x="144" y="387"/>
                  </a:lnTo>
                  <a:lnTo>
                    <a:pt x="154" y="393"/>
                  </a:lnTo>
                  <a:lnTo>
                    <a:pt x="167" y="395"/>
                  </a:lnTo>
                  <a:lnTo>
                    <a:pt x="179" y="397"/>
                  </a:lnTo>
                  <a:lnTo>
                    <a:pt x="194" y="399"/>
                  </a:lnTo>
                  <a:lnTo>
                    <a:pt x="194" y="399"/>
                  </a:lnTo>
                  <a:lnTo>
                    <a:pt x="216" y="397"/>
                  </a:lnTo>
                  <a:lnTo>
                    <a:pt x="235" y="391"/>
                  </a:lnTo>
                  <a:lnTo>
                    <a:pt x="252" y="383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79" y="356"/>
                  </a:lnTo>
                  <a:lnTo>
                    <a:pt x="289" y="339"/>
                  </a:lnTo>
                  <a:lnTo>
                    <a:pt x="297" y="318"/>
                  </a:lnTo>
                  <a:lnTo>
                    <a:pt x="304" y="296"/>
                  </a:lnTo>
                  <a:lnTo>
                    <a:pt x="374" y="296"/>
                  </a:lnTo>
                  <a:lnTo>
                    <a:pt x="374" y="296"/>
                  </a:lnTo>
                  <a:lnTo>
                    <a:pt x="372" y="316"/>
                  </a:lnTo>
                  <a:lnTo>
                    <a:pt x="366" y="335"/>
                  </a:lnTo>
                  <a:lnTo>
                    <a:pt x="360" y="354"/>
                  </a:lnTo>
                  <a:lnTo>
                    <a:pt x="354" y="370"/>
                  </a:lnTo>
                  <a:lnTo>
                    <a:pt x="345" y="385"/>
                  </a:lnTo>
                  <a:lnTo>
                    <a:pt x="337" y="399"/>
                  </a:lnTo>
                  <a:lnTo>
                    <a:pt x="327" y="412"/>
                  </a:lnTo>
                  <a:lnTo>
                    <a:pt x="314" y="422"/>
                  </a:lnTo>
                  <a:lnTo>
                    <a:pt x="314" y="422"/>
                  </a:lnTo>
                  <a:lnTo>
                    <a:pt x="302" y="431"/>
                  </a:lnTo>
                  <a:lnTo>
                    <a:pt x="287" y="439"/>
                  </a:lnTo>
                  <a:lnTo>
                    <a:pt x="273" y="447"/>
                  </a:lnTo>
                  <a:lnTo>
                    <a:pt x="258" y="451"/>
                  </a:lnTo>
                  <a:lnTo>
                    <a:pt x="241" y="456"/>
                  </a:lnTo>
                  <a:lnTo>
                    <a:pt x="225" y="460"/>
                  </a:lnTo>
                  <a:lnTo>
                    <a:pt x="208" y="462"/>
                  </a:lnTo>
                  <a:lnTo>
                    <a:pt x="190" y="462"/>
                  </a:lnTo>
                  <a:lnTo>
                    <a:pt x="190" y="462"/>
                  </a:lnTo>
                  <a:lnTo>
                    <a:pt x="169" y="462"/>
                  </a:lnTo>
                  <a:lnTo>
                    <a:pt x="148" y="458"/>
                  </a:lnTo>
                  <a:lnTo>
                    <a:pt x="129" y="454"/>
                  </a:lnTo>
                  <a:lnTo>
                    <a:pt x="112" y="447"/>
                  </a:lnTo>
                  <a:lnTo>
                    <a:pt x="96" y="437"/>
                  </a:lnTo>
                  <a:lnTo>
                    <a:pt x="79" y="426"/>
                  </a:lnTo>
                  <a:lnTo>
                    <a:pt x="65" y="414"/>
                  </a:lnTo>
                  <a:lnTo>
                    <a:pt x="52" y="399"/>
                  </a:lnTo>
                  <a:lnTo>
                    <a:pt x="52" y="399"/>
                  </a:lnTo>
                  <a:lnTo>
                    <a:pt x="40" y="383"/>
                  </a:lnTo>
                  <a:lnTo>
                    <a:pt x="30" y="366"/>
                  </a:lnTo>
                  <a:lnTo>
                    <a:pt x="21" y="348"/>
                  </a:lnTo>
                  <a:lnTo>
                    <a:pt x="13" y="329"/>
                  </a:lnTo>
                  <a:lnTo>
                    <a:pt x="9" y="310"/>
                  </a:lnTo>
                  <a:lnTo>
                    <a:pt x="5" y="287"/>
                  </a:lnTo>
                  <a:lnTo>
                    <a:pt x="2" y="266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2" y="215"/>
                  </a:lnTo>
                  <a:lnTo>
                    <a:pt x="5" y="190"/>
                  </a:lnTo>
                  <a:lnTo>
                    <a:pt x="9" y="165"/>
                  </a:lnTo>
                  <a:lnTo>
                    <a:pt x="15" y="142"/>
                  </a:lnTo>
                  <a:lnTo>
                    <a:pt x="23" y="119"/>
                  </a:lnTo>
                  <a:lnTo>
                    <a:pt x="31" y="100"/>
                  </a:lnTo>
                  <a:lnTo>
                    <a:pt x="44" y="81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71" y="48"/>
                  </a:lnTo>
                  <a:lnTo>
                    <a:pt x="88" y="36"/>
                  </a:lnTo>
                  <a:lnTo>
                    <a:pt x="102" y="25"/>
                  </a:lnTo>
                  <a:lnTo>
                    <a:pt x="121" y="15"/>
                  </a:lnTo>
                  <a:lnTo>
                    <a:pt x="140" y="9"/>
                  </a:lnTo>
                  <a:lnTo>
                    <a:pt x="158" y="5"/>
                  </a:lnTo>
                  <a:lnTo>
                    <a:pt x="179" y="0"/>
                  </a:lnTo>
                  <a:lnTo>
                    <a:pt x="200" y="0"/>
                  </a:lnTo>
                  <a:lnTo>
                    <a:pt x="200" y="0"/>
                  </a:lnTo>
                  <a:lnTo>
                    <a:pt x="235" y="2"/>
                  </a:lnTo>
                  <a:lnTo>
                    <a:pt x="252" y="5"/>
                  </a:lnTo>
                  <a:lnTo>
                    <a:pt x="266" y="9"/>
                  </a:lnTo>
                  <a:lnTo>
                    <a:pt x="281" y="15"/>
                  </a:lnTo>
                  <a:lnTo>
                    <a:pt x="296" y="21"/>
                  </a:lnTo>
                  <a:lnTo>
                    <a:pt x="308" y="27"/>
                  </a:lnTo>
                  <a:lnTo>
                    <a:pt x="320" y="36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3" name="Freeform 20">
              <a:extLst>
                <a:ext uri="{FF2B5EF4-FFF2-40B4-BE49-F238E27FC236}">
                  <a16:creationId xmlns:a16="http://schemas.microsoft.com/office/drawing/2014/main" id="{4D77CDBE-B076-9B49-BADF-4F1BFC5D1E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1388" y="3830638"/>
              <a:ext cx="26987" cy="215900"/>
            </a:xfrm>
            <a:custGeom>
              <a:avLst/>
              <a:gdLst>
                <a:gd name="T0" fmla="*/ 0 w 76"/>
                <a:gd name="T1" fmla="*/ 0 h 599"/>
                <a:gd name="T2" fmla="*/ 75 w 76"/>
                <a:gd name="T3" fmla="*/ 0 h 599"/>
                <a:gd name="T4" fmla="*/ 75 w 76"/>
                <a:gd name="T5" fmla="*/ 83 h 599"/>
                <a:gd name="T6" fmla="*/ 0 w 76"/>
                <a:gd name="T7" fmla="*/ 83 h 599"/>
                <a:gd name="T8" fmla="*/ 0 w 76"/>
                <a:gd name="T9" fmla="*/ 0 h 599"/>
                <a:gd name="T10" fmla="*/ 0 w 76"/>
                <a:gd name="T11" fmla="*/ 164 h 599"/>
                <a:gd name="T12" fmla="*/ 75 w 76"/>
                <a:gd name="T13" fmla="*/ 164 h 599"/>
                <a:gd name="T14" fmla="*/ 75 w 76"/>
                <a:gd name="T15" fmla="*/ 598 h 599"/>
                <a:gd name="T16" fmla="*/ 0 w 76"/>
                <a:gd name="T17" fmla="*/ 598 h 599"/>
                <a:gd name="T18" fmla="*/ 0 w 76"/>
                <a:gd name="T19" fmla="*/ 164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599">
                  <a:moveTo>
                    <a:pt x="0" y="0"/>
                  </a:moveTo>
                  <a:lnTo>
                    <a:pt x="75" y="0"/>
                  </a:lnTo>
                  <a:lnTo>
                    <a:pt x="75" y="83"/>
                  </a:lnTo>
                  <a:lnTo>
                    <a:pt x="0" y="83"/>
                  </a:lnTo>
                  <a:lnTo>
                    <a:pt x="0" y="0"/>
                  </a:lnTo>
                  <a:close/>
                  <a:moveTo>
                    <a:pt x="0" y="164"/>
                  </a:moveTo>
                  <a:lnTo>
                    <a:pt x="75" y="164"/>
                  </a:lnTo>
                  <a:lnTo>
                    <a:pt x="75" y="598"/>
                  </a:lnTo>
                  <a:lnTo>
                    <a:pt x="0" y="598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DE63877A-8B74-B341-838B-1644B57214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0125" y="3884613"/>
              <a:ext cx="149225" cy="166687"/>
            </a:xfrm>
            <a:custGeom>
              <a:avLst/>
              <a:gdLst>
                <a:gd name="T0" fmla="*/ 266 w 415"/>
                <a:gd name="T1" fmla="*/ 181 h 463"/>
                <a:gd name="T2" fmla="*/ 289 w 415"/>
                <a:gd name="T3" fmla="*/ 163 h 463"/>
                <a:gd name="T4" fmla="*/ 293 w 415"/>
                <a:gd name="T5" fmla="*/ 133 h 463"/>
                <a:gd name="T6" fmla="*/ 287 w 415"/>
                <a:gd name="T7" fmla="*/ 100 h 463"/>
                <a:gd name="T8" fmla="*/ 266 w 415"/>
                <a:gd name="T9" fmla="*/ 79 h 463"/>
                <a:gd name="T10" fmla="*/ 214 w 415"/>
                <a:gd name="T11" fmla="*/ 63 h 463"/>
                <a:gd name="T12" fmla="*/ 164 w 415"/>
                <a:gd name="T13" fmla="*/ 65 h 463"/>
                <a:gd name="T14" fmla="*/ 123 w 415"/>
                <a:gd name="T15" fmla="*/ 79 h 463"/>
                <a:gd name="T16" fmla="*/ 111 w 415"/>
                <a:gd name="T17" fmla="*/ 94 h 463"/>
                <a:gd name="T18" fmla="*/ 94 w 415"/>
                <a:gd name="T19" fmla="*/ 129 h 463"/>
                <a:gd name="T20" fmla="*/ 23 w 415"/>
                <a:gd name="T21" fmla="*/ 144 h 463"/>
                <a:gd name="T22" fmla="*/ 31 w 415"/>
                <a:gd name="T23" fmla="*/ 90 h 463"/>
                <a:gd name="T24" fmla="*/ 54 w 415"/>
                <a:gd name="T25" fmla="*/ 50 h 463"/>
                <a:gd name="T26" fmla="*/ 75 w 415"/>
                <a:gd name="T27" fmla="*/ 31 h 463"/>
                <a:gd name="T28" fmla="*/ 160 w 415"/>
                <a:gd name="T29" fmla="*/ 3 h 463"/>
                <a:gd name="T30" fmla="*/ 229 w 415"/>
                <a:gd name="T31" fmla="*/ 3 h 463"/>
                <a:gd name="T32" fmla="*/ 318 w 415"/>
                <a:gd name="T33" fmla="*/ 29 h 463"/>
                <a:gd name="T34" fmla="*/ 339 w 415"/>
                <a:gd name="T35" fmla="*/ 46 h 463"/>
                <a:gd name="T36" fmla="*/ 358 w 415"/>
                <a:gd name="T37" fmla="*/ 79 h 463"/>
                <a:gd name="T38" fmla="*/ 366 w 415"/>
                <a:gd name="T39" fmla="*/ 121 h 463"/>
                <a:gd name="T40" fmla="*/ 366 w 415"/>
                <a:gd name="T41" fmla="*/ 383 h 463"/>
                <a:gd name="T42" fmla="*/ 372 w 415"/>
                <a:gd name="T43" fmla="*/ 393 h 463"/>
                <a:gd name="T44" fmla="*/ 389 w 415"/>
                <a:gd name="T45" fmla="*/ 397 h 463"/>
                <a:gd name="T46" fmla="*/ 414 w 415"/>
                <a:gd name="T47" fmla="*/ 395 h 463"/>
                <a:gd name="T48" fmla="*/ 387 w 415"/>
                <a:gd name="T49" fmla="*/ 456 h 463"/>
                <a:gd name="T50" fmla="*/ 364 w 415"/>
                <a:gd name="T51" fmla="*/ 458 h 463"/>
                <a:gd name="T52" fmla="*/ 318 w 415"/>
                <a:gd name="T53" fmla="*/ 441 h 463"/>
                <a:gd name="T54" fmla="*/ 302 w 415"/>
                <a:gd name="T55" fmla="*/ 412 h 463"/>
                <a:gd name="T56" fmla="*/ 283 w 415"/>
                <a:gd name="T57" fmla="*/ 404 h 463"/>
                <a:gd name="T58" fmla="*/ 231 w 415"/>
                <a:gd name="T59" fmla="*/ 441 h 463"/>
                <a:gd name="T60" fmla="*/ 187 w 415"/>
                <a:gd name="T61" fmla="*/ 458 h 463"/>
                <a:gd name="T62" fmla="*/ 139 w 415"/>
                <a:gd name="T63" fmla="*/ 462 h 463"/>
                <a:gd name="T64" fmla="*/ 83 w 415"/>
                <a:gd name="T65" fmla="*/ 454 h 463"/>
                <a:gd name="T66" fmla="*/ 50 w 415"/>
                <a:gd name="T67" fmla="*/ 435 h 463"/>
                <a:gd name="T68" fmla="*/ 29 w 415"/>
                <a:gd name="T69" fmla="*/ 416 h 463"/>
                <a:gd name="T70" fmla="*/ 11 w 415"/>
                <a:gd name="T71" fmla="*/ 383 h 463"/>
                <a:gd name="T72" fmla="*/ 0 w 415"/>
                <a:gd name="T73" fmla="*/ 347 h 463"/>
                <a:gd name="T74" fmla="*/ 0 w 415"/>
                <a:gd name="T75" fmla="*/ 319 h 463"/>
                <a:gd name="T76" fmla="*/ 11 w 415"/>
                <a:gd name="T77" fmla="*/ 279 h 463"/>
                <a:gd name="T78" fmla="*/ 29 w 415"/>
                <a:gd name="T79" fmla="*/ 248 h 463"/>
                <a:gd name="T80" fmla="*/ 58 w 415"/>
                <a:gd name="T81" fmla="*/ 223 h 463"/>
                <a:gd name="T82" fmla="*/ 137 w 415"/>
                <a:gd name="T83" fmla="*/ 198 h 463"/>
                <a:gd name="T84" fmla="*/ 100 w 415"/>
                <a:gd name="T85" fmla="*/ 381 h 463"/>
                <a:gd name="T86" fmla="*/ 139 w 415"/>
                <a:gd name="T87" fmla="*/ 399 h 463"/>
                <a:gd name="T88" fmla="*/ 175 w 415"/>
                <a:gd name="T89" fmla="*/ 399 h 463"/>
                <a:gd name="T90" fmla="*/ 231 w 415"/>
                <a:gd name="T91" fmla="*/ 383 h 463"/>
                <a:gd name="T92" fmla="*/ 258 w 415"/>
                <a:gd name="T93" fmla="*/ 364 h 463"/>
                <a:gd name="T94" fmla="*/ 283 w 415"/>
                <a:gd name="T95" fmla="*/ 331 h 463"/>
                <a:gd name="T96" fmla="*/ 291 w 415"/>
                <a:gd name="T97" fmla="*/ 285 h 463"/>
                <a:gd name="T98" fmla="*/ 277 w 415"/>
                <a:gd name="T99" fmla="*/ 233 h 463"/>
                <a:gd name="T100" fmla="*/ 237 w 415"/>
                <a:gd name="T101" fmla="*/ 246 h 463"/>
                <a:gd name="T102" fmla="*/ 171 w 415"/>
                <a:gd name="T103" fmla="*/ 254 h 463"/>
                <a:gd name="T104" fmla="*/ 111 w 415"/>
                <a:gd name="T105" fmla="*/ 271 h 463"/>
                <a:gd name="T106" fmla="*/ 90 w 415"/>
                <a:gd name="T107" fmla="*/ 287 h 463"/>
                <a:gd name="T108" fmla="*/ 79 w 415"/>
                <a:gd name="T109" fmla="*/ 312 h 463"/>
                <a:gd name="T110" fmla="*/ 79 w 415"/>
                <a:gd name="T111" fmla="*/ 346 h 463"/>
                <a:gd name="T112" fmla="*/ 100 w 415"/>
                <a:gd name="T113" fmla="*/ 381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5" h="463">
                  <a:moveTo>
                    <a:pt x="256" y="183"/>
                  </a:moveTo>
                  <a:lnTo>
                    <a:pt x="256" y="183"/>
                  </a:lnTo>
                  <a:lnTo>
                    <a:pt x="266" y="181"/>
                  </a:lnTo>
                  <a:lnTo>
                    <a:pt x="277" y="177"/>
                  </a:lnTo>
                  <a:lnTo>
                    <a:pt x="283" y="171"/>
                  </a:lnTo>
                  <a:lnTo>
                    <a:pt x="289" y="163"/>
                  </a:lnTo>
                  <a:lnTo>
                    <a:pt x="289" y="163"/>
                  </a:lnTo>
                  <a:lnTo>
                    <a:pt x="293" y="150"/>
                  </a:lnTo>
                  <a:lnTo>
                    <a:pt x="293" y="133"/>
                  </a:lnTo>
                  <a:lnTo>
                    <a:pt x="293" y="133"/>
                  </a:lnTo>
                  <a:lnTo>
                    <a:pt x="293" y="117"/>
                  </a:lnTo>
                  <a:lnTo>
                    <a:pt x="287" y="100"/>
                  </a:lnTo>
                  <a:lnTo>
                    <a:pt x="279" y="90"/>
                  </a:lnTo>
                  <a:lnTo>
                    <a:pt x="266" y="79"/>
                  </a:lnTo>
                  <a:lnTo>
                    <a:pt x="266" y="79"/>
                  </a:lnTo>
                  <a:lnTo>
                    <a:pt x="252" y="71"/>
                  </a:lnTo>
                  <a:lnTo>
                    <a:pt x="235" y="67"/>
                  </a:lnTo>
                  <a:lnTo>
                    <a:pt x="214" y="63"/>
                  </a:lnTo>
                  <a:lnTo>
                    <a:pt x="192" y="63"/>
                  </a:lnTo>
                  <a:lnTo>
                    <a:pt x="192" y="63"/>
                  </a:lnTo>
                  <a:lnTo>
                    <a:pt x="164" y="65"/>
                  </a:lnTo>
                  <a:lnTo>
                    <a:pt x="142" y="69"/>
                  </a:lnTo>
                  <a:lnTo>
                    <a:pt x="133" y="73"/>
                  </a:lnTo>
                  <a:lnTo>
                    <a:pt x="123" y="79"/>
                  </a:lnTo>
                  <a:lnTo>
                    <a:pt x="117" y="86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04" y="102"/>
                  </a:lnTo>
                  <a:lnTo>
                    <a:pt x="98" y="115"/>
                  </a:lnTo>
                  <a:lnTo>
                    <a:pt x="94" y="129"/>
                  </a:lnTo>
                  <a:lnTo>
                    <a:pt x="92" y="144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5" y="125"/>
                  </a:lnTo>
                  <a:lnTo>
                    <a:pt x="27" y="106"/>
                  </a:lnTo>
                  <a:lnTo>
                    <a:pt x="31" y="90"/>
                  </a:lnTo>
                  <a:lnTo>
                    <a:pt x="38" y="75"/>
                  </a:lnTo>
                  <a:lnTo>
                    <a:pt x="44" y="63"/>
                  </a:lnTo>
                  <a:lnTo>
                    <a:pt x="54" y="50"/>
                  </a:lnTo>
                  <a:lnTo>
                    <a:pt x="65" y="4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102" y="17"/>
                  </a:lnTo>
                  <a:lnTo>
                    <a:pt x="131" y="9"/>
                  </a:lnTo>
                  <a:lnTo>
                    <a:pt x="160" y="3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229" y="3"/>
                  </a:lnTo>
                  <a:lnTo>
                    <a:pt x="262" y="7"/>
                  </a:lnTo>
                  <a:lnTo>
                    <a:pt x="291" y="17"/>
                  </a:lnTo>
                  <a:lnTo>
                    <a:pt x="318" y="29"/>
                  </a:lnTo>
                  <a:lnTo>
                    <a:pt x="318" y="29"/>
                  </a:lnTo>
                  <a:lnTo>
                    <a:pt x="329" y="38"/>
                  </a:lnTo>
                  <a:lnTo>
                    <a:pt x="339" y="46"/>
                  </a:lnTo>
                  <a:lnTo>
                    <a:pt x="347" y="56"/>
                  </a:lnTo>
                  <a:lnTo>
                    <a:pt x="354" y="67"/>
                  </a:lnTo>
                  <a:lnTo>
                    <a:pt x="358" y="79"/>
                  </a:lnTo>
                  <a:lnTo>
                    <a:pt x="362" y="92"/>
                  </a:lnTo>
                  <a:lnTo>
                    <a:pt x="364" y="106"/>
                  </a:lnTo>
                  <a:lnTo>
                    <a:pt x="366" y="121"/>
                  </a:lnTo>
                  <a:lnTo>
                    <a:pt x="366" y="372"/>
                  </a:lnTo>
                  <a:lnTo>
                    <a:pt x="366" y="372"/>
                  </a:lnTo>
                  <a:lnTo>
                    <a:pt x="366" y="383"/>
                  </a:lnTo>
                  <a:lnTo>
                    <a:pt x="370" y="391"/>
                  </a:lnTo>
                  <a:lnTo>
                    <a:pt x="370" y="391"/>
                  </a:lnTo>
                  <a:lnTo>
                    <a:pt x="372" y="393"/>
                  </a:lnTo>
                  <a:lnTo>
                    <a:pt x="376" y="395"/>
                  </a:lnTo>
                  <a:lnTo>
                    <a:pt x="389" y="397"/>
                  </a:lnTo>
                  <a:lnTo>
                    <a:pt x="389" y="397"/>
                  </a:lnTo>
                  <a:lnTo>
                    <a:pt x="401" y="397"/>
                  </a:lnTo>
                  <a:lnTo>
                    <a:pt x="401" y="397"/>
                  </a:lnTo>
                  <a:lnTo>
                    <a:pt x="414" y="395"/>
                  </a:lnTo>
                  <a:lnTo>
                    <a:pt x="414" y="449"/>
                  </a:lnTo>
                  <a:lnTo>
                    <a:pt x="414" y="449"/>
                  </a:lnTo>
                  <a:lnTo>
                    <a:pt x="387" y="456"/>
                  </a:lnTo>
                  <a:lnTo>
                    <a:pt x="387" y="456"/>
                  </a:lnTo>
                  <a:lnTo>
                    <a:pt x="364" y="458"/>
                  </a:lnTo>
                  <a:lnTo>
                    <a:pt x="364" y="458"/>
                  </a:lnTo>
                  <a:lnTo>
                    <a:pt x="345" y="456"/>
                  </a:lnTo>
                  <a:lnTo>
                    <a:pt x="331" y="449"/>
                  </a:lnTo>
                  <a:lnTo>
                    <a:pt x="318" y="441"/>
                  </a:lnTo>
                  <a:lnTo>
                    <a:pt x="308" y="431"/>
                  </a:lnTo>
                  <a:lnTo>
                    <a:pt x="308" y="431"/>
                  </a:lnTo>
                  <a:lnTo>
                    <a:pt x="302" y="412"/>
                  </a:lnTo>
                  <a:lnTo>
                    <a:pt x="295" y="389"/>
                  </a:lnTo>
                  <a:lnTo>
                    <a:pt x="295" y="389"/>
                  </a:lnTo>
                  <a:lnTo>
                    <a:pt x="283" y="404"/>
                  </a:lnTo>
                  <a:lnTo>
                    <a:pt x="268" y="416"/>
                  </a:lnTo>
                  <a:lnTo>
                    <a:pt x="252" y="429"/>
                  </a:lnTo>
                  <a:lnTo>
                    <a:pt x="231" y="441"/>
                  </a:lnTo>
                  <a:lnTo>
                    <a:pt x="231" y="441"/>
                  </a:lnTo>
                  <a:lnTo>
                    <a:pt x="210" y="449"/>
                  </a:lnTo>
                  <a:lnTo>
                    <a:pt x="187" y="458"/>
                  </a:lnTo>
                  <a:lnTo>
                    <a:pt x="162" y="462"/>
                  </a:lnTo>
                  <a:lnTo>
                    <a:pt x="139" y="462"/>
                  </a:lnTo>
                  <a:lnTo>
                    <a:pt x="139" y="462"/>
                  </a:lnTo>
                  <a:lnTo>
                    <a:pt x="111" y="460"/>
                  </a:lnTo>
                  <a:lnTo>
                    <a:pt x="96" y="458"/>
                  </a:lnTo>
                  <a:lnTo>
                    <a:pt x="83" y="454"/>
                  </a:lnTo>
                  <a:lnTo>
                    <a:pt x="71" y="447"/>
                  </a:lnTo>
                  <a:lnTo>
                    <a:pt x="61" y="441"/>
                  </a:lnTo>
                  <a:lnTo>
                    <a:pt x="50" y="435"/>
                  </a:lnTo>
                  <a:lnTo>
                    <a:pt x="40" y="424"/>
                  </a:lnTo>
                  <a:lnTo>
                    <a:pt x="40" y="424"/>
                  </a:lnTo>
                  <a:lnTo>
                    <a:pt x="29" y="416"/>
                  </a:lnTo>
                  <a:lnTo>
                    <a:pt x="23" y="406"/>
                  </a:lnTo>
                  <a:lnTo>
                    <a:pt x="15" y="395"/>
                  </a:lnTo>
                  <a:lnTo>
                    <a:pt x="11" y="383"/>
                  </a:lnTo>
                  <a:lnTo>
                    <a:pt x="7" y="372"/>
                  </a:lnTo>
                  <a:lnTo>
                    <a:pt x="2" y="360"/>
                  </a:lnTo>
                  <a:lnTo>
                    <a:pt x="0" y="347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0" y="319"/>
                  </a:lnTo>
                  <a:lnTo>
                    <a:pt x="2" y="304"/>
                  </a:lnTo>
                  <a:lnTo>
                    <a:pt x="7" y="291"/>
                  </a:lnTo>
                  <a:lnTo>
                    <a:pt x="11" y="279"/>
                  </a:lnTo>
                  <a:lnTo>
                    <a:pt x="15" y="269"/>
                  </a:lnTo>
                  <a:lnTo>
                    <a:pt x="21" y="258"/>
                  </a:lnTo>
                  <a:lnTo>
                    <a:pt x="29" y="248"/>
                  </a:lnTo>
                  <a:lnTo>
                    <a:pt x="38" y="239"/>
                  </a:lnTo>
                  <a:lnTo>
                    <a:pt x="38" y="239"/>
                  </a:lnTo>
                  <a:lnTo>
                    <a:pt x="58" y="223"/>
                  </a:lnTo>
                  <a:lnTo>
                    <a:pt x="83" y="213"/>
                  </a:lnTo>
                  <a:lnTo>
                    <a:pt x="108" y="204"/>
                  </a:lnTo>
                  <a:lnTo>
                    <a:pt x="137" y="198"/>
                  </a:lnTo>
                  <a:lnTo>
                    <a:pt x="256" y="183"/>
                  </a:lnTo>
                  <a:close/>
                  <a:moveTo>
                    <a:pt x="100" y="381"/>
                  </a:moveTo>
                  <a:lnTo>
                    <a:pt x="100" y="381"/>
                  </a:lnTo>
                  <a:lnTo>
                    <a:pt x="112" y="389"/>
                  </a:lnTo>
                  <a:lnTo>
                    <a:pt x="127" y="395"/>
                  </a:lnTo>
                  <a:lnTo>
                    <a:pt x="139" y="399"/>
                  </a:lnTo>
                  <a:lnTo>
                    <a:pt x="156" y="399"/>
                  </a:lnTo>
                  <a:lnTo>
                    <a:pt x="156" y="399"/>
                  </a:lnTo>
                  <a:lnTo>
                    <a:pt x="175" y="399"/>
                  </a:lnTo>
                  <a:lnTo>
                    <a:pt x="193" y="395"/>
                  </a:lnTo>
                  <a:lnTo>
                    <a:pt x="212" y="389"/>
                  </a:lnTo>
                  <a:lnTo>
                    <a:pt x="231" y="383"/>
                  </a:lnTo>
                  <a:lnTo>
                    <a:pt x="231" y="383"/>
                  </a:lnTo>
                  <a:lnTo>
                    <a:pt x="245" y="375"/>
                  </a:lnTo>
                  <a:lnTo>
                    <a:pt x="258" y="364"/>
                  </a:lnTo>
                  <a:lnTo>
                    <a:pt x="268" y="354"/>
                  </a:lnTo>
                  <a:lnTo>
                    <a:pt x="277" y="343"/>
                  </a:lnTo>
                  <a:lnTo>
                    <a:pt x="283" y="331"/>
                  </a:lnTo>
                  <a:lnTo>
                    <a:pt x="289" y="316"/>
                  </a:lnTo>
                  <a:lnTo>
                    <a:pt x="291" y="302"/>
                  </a:lnTo>
                  <a:lnTo>
                    <a:pt x="291" y="285"/>
                  </a:lnTo>
                  <a:lnTo>
                    <a:pt x="291" y="225"/>
                  </a:lnTo>
                  <a:lnTo>
                    <a:pt x="291" y="225"/>
                  </a:lnTo>
                  <a:lnTo>
                    <a:pt x="277" y="233"/>
                  </a:lnTo>
                  <a:lnTo>
                    <a:pt x="258" y="239"/>
                  </a:lnTo>
                  <a:lnTo>
                    <a:pt x="258" y="239"/>
                  </a:lnTo>
                  <a:lnTo>
                    <a:pt x="237" y="246"/>
                  </a:lnTo>
                  <a:lnTo>
                    <a:pt x="216" y="248"/>
                  </a:lnTo>
                  <a:lnTo>
                    <a:pt x="171" y="254"/>
                  </a:lnTo>
                  <a:lnTo>
                    <a:pt x="171" y="254"/>
                  </a:lnTo>
                  <a:lnTo>
                    <a:pt x="137" y="260"/>
                  </a:lnTo>
                  <a:lnTo>
                    <a:pt x="123" y="264"/>
                  </a:lnTo>
                  <a:lnTo>
                    <a:pt x="111" y="271"/>
                  </a:lnTo>
                  <a:lnTo>
                    <a:pt x="111" y="271"/>
                  </a:lnTo>
                  <a:lnTo>
                    <a:pt x="96" y="281"/>
                  </a:lnTo>
                  <a:lnTo>
                    <a:pt x="90" y="287"/>
                  </a:lnTo>
                  <a:lnTo>
                    <a:pt x="86" y="296"/>
                  </a:lnTo>
                  <a:lnTo>
                    <a:pt x="81" y="304"/>
                  </a:lnTo>
                  <a:lnTo>
                    <a:pt x="79" y="312"/>
                  </a:lnTo>
                  <a:lnTo>
                    <a:pt x="77" y="331"/>
                  </a:lnTo>
                  <a:lnTo>
                    <a:pt x="77" y="331"/>
                  </a:lnTo>
                  <a:lnTo>
                    <a:pt x="79" y="346"/>
                  </a:lnTo>
                  <a:lnTo>
                    <a:pt x="83" y="360"/>
                  </a:lnTo>
                  <a:lnTo>
                    <a:pt x="90" y="372"/>
                  </a:lnTo>
                  <a:lnTo>
                    <a:pt x="100" y="3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5" name="Freeform 22">
              <a:extLst>
                <a:ext uri="{FF2B5EF4-FFF2-40B4-BE49-F238E27FC236}">
                  <a16:creationId xmlns:a16="http://schemas.microsoft.com/office/drawing/2014/main" id="{A9441B7A-DB76-204F-AA96-99ADBD4739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6338" y="3830638"/>
              <a:ext cx="26987" cy="215900"/>
            </a:xfrm>
            <a:custGeom>
              <a:avLst/>
              <a:gdLst>
                <a:gd name="T0" fmla="*/ 0 w 73"/>
                <a:gd name="T1" fmla="*/ 0 h 599"/>
                <a:gd name="T2" fmla="*/ 72 w 73"/>
                <a:gd name="T3" fmla="*/ 0 h 599"/>
                <a:gd name="T4" fmla="*/ 72 w 73"/>
                <a:gd name="T5" fmla="*/ 598 h 599"/>
                <a:gd name="T6" fmla="*/ 0 w 73"/>
                <a:gd name="T7" fmla="*/ 598 h 599"/>
                <a:gd name="T8" fmla="*/ 0 w 73"/>
                <a:gd name="T9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599">
                  <a:moveTo>
                    <a:pt x="0" y="0"/>
                  </a:moveTo>
                  <a:lnTo>
                    <a:pt x="72" y="0"/>
                  </a:lnTo>
                  <a:lnTo>
                    <a:pt x="72" y="598"/>
                  </a:lnTo>
                  <a:lnTo>
                    <a:pt x="0" y="598"/>
                  </a:ln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04061E42-D39D-3A4C-B70C-97038E0EA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0325" y="3830638"/>
              <a:ext cx="176213" cy="215900"/>
            </a:xfrm>
            <a:custGeom>
              <a:avLst/>
              <a:gdLst>
                <a:gd name="T0" fmla="*/ 238 w 489"/>
                <a:gd name="T1" fmla="*/ 0 h 599"/>
                <a:gd name="T2" fmla="*/ 270 w 489"/>
                <a:gd name="T3" fmla="*/ 0 h 599"/>
                <a:gd name="T4" fmla="*/ 324 w 489"/>
                <a:gd name="T5" fmla="*/ 12 h 599"/>
                <a:gd name="T6" fmla="*/ 369 w 489"/>
                <a:gd name="T7" fmla="*/ 33 h 599"/>
                <a:gd name="T8" fmla="*/ 411 w 489"/>
                <a:gd name="T9" fmla="*/ 66 h 599"/>
                <a:gd name="T10" fmla="*/ 428 w 489"/>
                <a:gd name="T11" fmla="*/ 87 h 599"/>
                <a:gd name="T12" fmla="*/ 454 w 489"/>
                <a:gd name="T13" fmla="*/ 129 h 599"/>
                <a:gd name="T14" fmla="*/ 473 w 489"/>
                <a:gd name="T15" fmla="*/ 176 h 599"/>
                <a:gd name="T16" fmla="*/ 484 w 489"/>
                <a:gd name="T17" fmla="*/ 230 h 599"/>
                <a:gd name="T18" fmla="*/ 488 w 489"/>
                <a:gd name="T19" fmla="*/ 291 h 599"/>
                <a:gd name="T20" fmla="*/ 486 w 489"/>
                <a:gd name="T21" fmla="*/ 336 h 599"/>
                <a:gd name="T22" fmla="*/ 469 w 489"/>
                <a:gd name="T23" fmla="*/ 422 h 599"/>
                <a:gd name="T24" fmla="*/ 453 w 489"/>
                <a:gd name="T25" fmla="*/ 463 h 599"/>
                <a:gd name="T26" fmla="*/ 415 w 489"/>
                <a:gd name="T27" fmla="*/ 522 h 599"/>
                <a:gd name="T28" fmla="*/ 382 w 489"/>
                <a:gd name="T29" fmla="*/ 555 h 599"/>
                <a:gd name="T30" fmla="*/ 355 w 489"/>
                <a:gd name="T31" fmla="*/ 573 h 599"/>
                <a:gd name="T32" fmla="*/ 309 w 489"/>
                <a:gd name="T33" fmla="*/ 590 h 599"/>
                <a:gd name="T34" fmla="*/ 238 w 489"/>
                <a:gd name="T35" fmla="*/ 598 h 599"/>
                <a:gd name="T36" fmla="*/ 0 w 489"/>
                <a:gd name="T37" fmla="*/ 0 h 599"/>
                <a:gd name="T38" fmla="*/ 224 w 489"/>
                <a:gd name="T39" fmla="*/ 530 h 599"/>
                <a:gd name="T40" fmla="*/ 276 w 489"/>
                <a:gd name="T41" fmla="*/ 523 h 599"/>
                <a:gd name="T42" fmla="*/ 291 w 489"/>
                <a:gd name="T43" fmla="*/ 522 h 599"/>
                <a:gd name="T44" fmla="*/ 332 w 489"/>
                <a:gd name="T45" fmla="*/ 497 h 599"/>
                <a:gd name="T46" fmla="*/ 365 w 489"/>
                <a:gd name="T47" fmla="*/ 459 h 599"/>
                <a:gd name="T48" fmla="*/ 376 w 489"/>
                <a:gd name="T49" fmla="*/ 440 h 599"/>
                <a:gd name="T50" fmla="*/ 392 w 489"/>
                <a:gd name="T51" fmla="*/ 393 h 599"/>
                <a:gd name="T52" fmla="*/ 398 w 489"/>
                <a:gd name="T53" fmla="*/ 365 h 599"/>
                <a:gd name="T54" fmla="*/ 405 w 489"/>
                <a:gd name="T55" fmla="*/ 303 h 599"/>
                <a:gd name="T56" fmla="*/ 405 w 489"/>
                <a:gd name="T57" fmla="*/ 276 h 599"/>
                <a:gd name="T58" fmla="*/ 398 w 489"/>
                <a:gd name="T59" fmla="*/ 226 h 599"/>
                <a:gd name="T60" fmla="*/ 388 w 489"/>
                <a:gd name="T61" fmla="*/ 185 h 599"/>
                <a:gd name="T62" fmla="*/ 372 w 489"/>
                <a:gd name="T63" fmla="*/ 147 h 599"/>
                <a:gd name="T64" fmla="*/ 361 w 489"/>
                <a:gd name="T65" fmla="*/ 131 h 599"/>
                <a:gd name="T66" fmla="*/ 336 w 489"/>
                <a:gd name="T67" fmla="*/ 104 h 599"/>
                <a:gd name="T68" fmla="*/ 305 w 489"/>
                <a:gd name="T69" fmla="*/ 85 h 599"/>
                <a:gd name="T70" fmla="*/ 268 w 489"/>
                <a:gd name="T71" fmla="*/ 72 h 599"/>
                <a:gd name="T72" fmla="*/ 222 w 489"/>
                <a:gd name="T73" fmla="*/ 68 h 599"/>
                <a:gd name="T74" fmla="*/ 83 w 489"/>
                <a:gd name="T75" fmla="*/ 53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9" h="599">
                  <a:moveTo>
                    <a:pt x="0" y="0"/>
                  </a:moveTo>
                  <a:lnTo>
                    <a:pt x="238" y="0"/>
                  </a:lnTo>
                  <a:lnTo>
                    <a:pt x="238" y="0"/>
                  </a:lnTo>
                  <a:lnTo>
                    <a:pt x="270" y="0"/>
                  </a:lnTo>
                  <a:lnTo>
                    <a:pt x="297" y="4"/>
                  </a:lnTo>
                  <a:lnTo>
                    <a:pt x="324" y="12"/>
                  </a:lnTo>
                  <a:lnTo>
                    <a:pt x="347" y="20"/>
                  </a:lnTo>
                  <a:lnTo>
                    <a:pt x="369" y="33"/>
                  </a:lnTo>
                  <a:lnTo>
                    <a:pt x="392" y="47"/>
                  </a:lnTo>
                  <a:lnTo>
                    <a:pt x="411" y="66"/>
                  </a:lnTo>
                  <a:lnTo>
                    <a:pt x="428" y="87"/>
                  </a:lnTo>
                  <a:lnTo>
                    <a:pt x="428" y="87"/>
                  </a:lnTo>
                  <a:lnTo>
                    <a:pt x="442" y="108"/>
                  </a:lnTo>
                  <a:lnTo>
                    <a:pt x="454" y="129"/>
                  </a:lnTo>
                  <a:lnTo>
                    <a:pt x="465" y="154"/>
                  </a:lnTo>
                  <a:lnTo>
                    <a:pt x="473" y="176"/>
                  </a:lnTo>
                  <a:lnTo>
                    <a:pt x="479" y="203"/>
                  </a:lnTo>
                  <a:lnTo>
                    <a:pt x="484" y="230"/>
                  </a:lnTo>
                  <a:lnTo>
                    <a:pt x="488" y="259"/>
                  </a:lnTo>
                  <a:lnTo>
                    <a:pt x="488" y="291"/>
                  </a:lnTo>
                  <a:lnTo>
                    <a:pt x="488" y="291"/>
                  </a:lnTo>
                  <a:lnTo>
                    <a:pt x="486" y="336"/>
                  </a:lnTo>
                  <a:lnTo>
                    <a:pt x="479" y="380"/>
                  </a:lnTo>
                  <a:lnTo>
                    <a:pt x="469" y="422"/>
                  </a:lnTo>
                  <a:lnTo>
                    <a:pt x="453" y="463"/>
                  </a:lnTo>
                  <a:lnTo>
                    <a:pt x="453" y="463"/>
                  </a:lnTo>
                  <a:lnTo>
                    <a:pt x="436" y="494"/>
                  </a:lnTo>
                  <a:lnTo>
                    <a:pt x="415" y="522"/>
                  </a:lnTo>
                  <a:lnTo>
                    <a:pt x="394" y="546"/>
                  </a:lnTo>
                  <a:lnTo>
                    <a:pt x="382" y="555"/>
                  </a:lnTo>
                  <a:lnTo>
                    <a:pt x="367" y="565"/>
                  </a:lnTo>
                  <a:lnTo>
                    <a:pt x="355" y="573"/>
                  </a:lnTo>
                  <a:lnTo>
                    <a:pt x="340" y="580"/>
                  </a:lnTo>
                  <a:lnTo>
                    <a:pt x="309" y="590"/>
                  </a:lnTo>
                  <a:lnTo>
                    <a:pt x="276" y="596"/>
                  </a:lnTo>
                  <a:lnTo>
                    <a:pt x="238" y="598"/>
                  </a:lnTo>
                  <a:lnTo>
                    <a:pt x="0" y="598"/>
                  </a:lnTo>
                  <a:lnTo>
                    <a:pt x="0" y="0"/>
                  </a:lnTo>
                  <a:close/>
                  <a:moveTo>
                    <a:pt x="224" y="530"/>
                  </a:moveTo>
                  <a:lnTo>
                    <a:pt x="224" y="530"/>
                  </a:lnTo>
                  <a:lnTo>
                    <a:pt x="259" y="528"/>
                  </a:lnTo>
                  <a:lnTo>
                    <a:pt x="276" y="523"/>
                  </a:lnTo>
                  <a:lnTo>
                    <a:pt x="291" y="522"/>
                  </a:lnTo>
                  <a:lnTo>
                    <a:pt x="291" y="522"/>
                  </a:lnTo>
                  <a:lnTo>
                    <a:pt x="311" y="511"/>
                  </a:lnTo>
                  <a:lnTo>
                    <a:pt x="332" y="497"/>
                  </a:lnTo>
                  <a:lnTo>
                    <a:pt x="349" y="480"/>
                  </a:lnTo>
                  <a:lnTo>
                    <a:pt x="365" y="459"/>
                  </a:lnTo>
                  <a:lnTo>
                    <a:pt x="365" y="459"/>
                  </a:lnTo>
                  <a:lnTo>
                    <a:pt x="376" y="440"/>
                  </a:lnTo>
                  <a:lnTo>
                    <a:pt x="386" y="417"/>
                  </a:lnTo>
                  <a:lnTo>
                    <a:pt x="392" y="393"/>
                  </a:lnTo>
                  <a:lnTo>
                    <a:pt x="398" y="365"/>
                  </a:lnTo>
                  <a:lnTo>
                    <a:pt x="398" y="365"/>
                  </a:lnTo>
                  <a:lnTo>
                    <a:pt x="403" y="334"/>
                  </a:lnTo>
                  <a:lnTo>
                    <a:pt x="405" y="303"/>
                  </a:lnTo>
                  <a:lnTo>
                    <a:pt x="405" y="303"/>
                  </a:lnTo>
                  <a:lnTo>
                    <a:pt x="405" y="276"/>
                  </a:lnTo>
                  <a:lnTo>
                    <a:pt x="403" y="251"/>
                  </a:lnTo>
                  <a:lnTo>
                    <a:pt x="398" y="226"/>
                  </a:lnTo>
                  <a:lnTo>
                    <a:pt x="394" y="205"/>
                  </a:lnTo>
                  <a:lnTo>
                    <a:pt x="388" y="185"/>
                  </a:lnTo>
                  <a:lnTo>
                    <a:pt x="380" y="164"/>
                  </a:lnTo>
                  <a:lnTo>
                    <a:pt x="372" y="147"/>
                  </a:lnTo>
                  <a:lnTo>
                    <a:pt x="361" y="131"/>
                  </a:lnTo>
                  <a:lnTo>
                    <a:pt x="361" y="131"/>
                  </a:lnTo>
                  <a:lnTo>
                    <a:pt x="351" y="116"/>
                  </a:lnTo>
                  <a:lnTo>
                    <a:pt x="336" y="104"/>
                  </a:lnTo>
                  <a:lnTo>
                    <a:pt x="322" y="93"/>
                  </a:lnTo>
                  <a:lnTo>
                    <a:pt x="305" y="85"/>
                  </a:lnTo>
                  <a:lnTo>
                    <a:pt x="286" y="77"/>
                  </a:lnTo>
                  <a:lnTo>
                    <a:pt x="268" y="72"/>
                  </a:lnTo>
                  <a:lnTo>
                    <a:pt x="245" y="70"/>
                  </a:lnTo>
                  <a:lnTo>
                    <a:pt x="222" y="68"/>
                  </a:lnTo>
                  <a:lnTo>
                    <a:pt x="83" y="68"/>
                  </a:lnTo>
                  <a:lnTo>
                    <a:pt x="83" y="530"/>
                  </a:lnTo>
                  <a:lnTo>
                    <a:pt x="224" y="5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" name="Freeform 24">
              <a:extLst>
                <a:ext uri="{FF2B5EF4-FFF2-40B4-BE49-F238E27FC236}">
                  <a16:creationId xmlns:a16="http://schemas.microsoft.com/office/drawing/2014/main" id="{A7EFF959-8989-A042-80DA-DA8D64F69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3525" y="3884613"/>
              <a:ext cx="142875" cy="166687"/>
            </a:xfrm>
            <a:custGeom>
              <a:avLst/>
              <a:gdLst>
                <a:gd name="T0" fmla="*/ 295 w 397"/>
                <a:gd name="T1" fmla="*/ 23 h 465"/>
                <a:gd name="T2" fmla="*/ 332 w 397"/>
                <a:gd name="T3" fmla="*/ 48 h 465"/>
                <a:gd name="T4" fmla="*/ 361 w 397"/>
                <a:gd name="T5" fmla="*/ 79 h 465"/>
                <a:gd name="T6" fmla="*/ 370 w 397"/>
                <a:gd name="T7" fmla="*/ 96 h 465"/>
                <a:gd name="T8" fmla="*/ 384 w 397"/>
                <a:gd name="T9" fmla="*/ 136 h 465"/>
                <a:gd name="T10" fmla="*/ 390 w 397"/>
                <a:gd name="T11" fmla="*/ 156 h 465"/>
                <a:gd name="T12" fmla="*/ 394 w 397"/>
                <a:gd name="T13" fmla="*/ 196 h 465"/>
                <a:gd name="T14" fmla="*/ 79 w 397"/>
                <a:gd name="T15" fmla="*/ 252 h 465"/>
                <a:gd name="T16" fmla="*/ 81 w 397"/>
                <a:gd name="T17" fmla="*/ 285 h 465"/>
                <a:gd name="T18" fmla="*/ 97 w 397"/>
                <a:gd name="T19" fmla="*/ 337 h 465"/>
                <a:gd name="T20" fmla="*/ 110 w 397"/>
                <a:gd name="T21" fmla="*/ 360 h 465"/>
                <a:gd name="T22" fmla="*/ 126 w 397"/>
                <a:gd name="T23" fmla="*/ 377 h 465"/>
                <a:gd name="T24" fmla="*/ 147 w 397"/>
                <a:gd name="T25" fmla="*/ 389 h 465"/>
                <a:gd name="T26" fmla="*/ 172 w 397"/>
                <a:gd name="T27" fmla="*/ 397 h 465"/>
                <a:gd name="T28" fmla="*/ 199 w 397"/>
                <a:gd name="T29" fmla="*/ 399 h 465"/>
                <a:gd name="T30" fmla="*/ 214 w 397"/>
                <a:gd name="T31" fmla="*/ 399 h 465"/>
                <a:gd name="T32" fmla="*/ 239 w 397"/>
                <a:gd name="T33" fmla="*/ 395 h 465"/>
                <a:gd name="T34" fmla="*/ 261 w 397"/>
                <a:gd name="T35" fmla="*/ 385 h 465"/>
                <a:gd name="T36" fmla="*/ 282 w 397"/>
                <a:gd name="T37" fmla="*/ 371 h 465"/>
                <a:gd name="T38" fmla="*/ 291 w 397"/>
                <a:gd name="T39" fmla="*/ 362 h 465"/>
                <a:gd name="T40" fmla="*/ 307 w 397"/>
                <a:gd name="T41" fmla="*/ 337 h 465"/>
                <a:gd name="T42" fmla="*/ 317 w 397"/>
                <a:gd name="T43" fmla="*/ 310 h 465"/>
                <a:gd name="T44" fmla="*/ 390 w 397"/>
                <a:gd name="T45" fmla="*/ 310 h 465"/>
                <a:gd name="T46" fmla="*/ 384 w 397"/>
                <a:gd name="T47" fmla="*/ 335 h 465"/>
                <a:gd name="T48" fmla="*/ 372 w 397"/>
                <a:gd name="T49" fmla="*/ 364 h 465"/>
                <a:gd name="T50" fmla="*/ 334 w 397"/>
                <a:gd name="T51" fmla="*/ 412 h 465"/>
                <a:gd name="T52" fmla="*/ 317 w 397"/>
                <a:gd name="T53" fmla="*/ 427 h 465"/>
                <a:gd name="T54" fmla="*/ 276 w 397"/>
                <a:gd name="T55" fmla="*/ 449 h 465"/>
                <a:gd name="T56" fmla="*/ 253 w 397"/>
                <a:gd name="T57" fmla="*/ 456 h 465"/>
                <a:gd name="T58" fmla="*/ 193 w 397"/>
                <a:gd name="T59" fmla="*/ 464 h 465"/>
                <a:gd name="T60" fmla="*/ 174 w 397"/>
                <a:gd name="T61" fmla="*/ 462 h 465"/>
                <a:gd name="T62" fmla="*/ 137 w 397"/>
                <a:gd name="T63" fmla="*/ 456 h 465"/>
                <a:gd name="T64" fmla="*/ 101 w 397"/>
                <a:gd name="T65" fmla="*/ 439 h 465"/>
                <a:gd name="T66" fmla="*/ 70 w 397"/>
                <a:gd name="T67" fmla="*/ 418 h 465"/>
                <a:gd name="T68" fmla="*/ 56 w 397"/>
                <a:gd name="T69" fmla="*/ 404 h 465"/>
                <a:gd name="T70" fmla="*/ 31 w 397"/>
                <a:gd name="T71" fmla="*/ 371 h 465"/>
                <a:gd name="T72" fmla="*/ 14 w 397"/>
                <a:gd name="T73" fmla="*/ 333 h 465"/>
                <a:gd name="T74" fmla="*/ 4 w 397"/>
                <a:gd name="T75" fmla="*/ 287 h 465"/>
                <a:gd name="T76" fmla="*/ 0 w 397"/>
                <a:gd name="T77" fmla="*/ 237 h 465"/>
                <a:gd name="T78" fmla="*/ 0 w 397"/>
                <a:gd name="T79" fmla="*/ 213 h 465"/>
                <a:gd name="T80" fmla="*/ 8 w 397"/>
                <a:gd name="T81" fmla="*/ 165 h 465"/>
                <a:gd name="T82" fmla="*/ 23 w 397"/>
                <a:gd name="T83" fmla="*/ 121 h 465"/>
                <a:gd name="T84" fmla="*/ 43 w 397"/>
                <a:gd name="T85" fmla="*/ 84 h 465"/>
                <a:gd name="T86" fmla="*/ 56 w 397"/>
                <a:gd name="T87" fmla="*/ 67 h 465"/>
                <a:gd name="T88" fmla="*/ 87 w 397"/>
                <a:gd name="T89" fmla="*/ 38 h 465"/>
                <a:gd name="T90" fmla="*/ 122 w 397"/>
                <a:gd name="T91" fmla="*/ 17 h 465"/>
                <a:gd name="T92" fmla="*/ 162 w 397"/>
                <a:gd name="T93" fmla="*/ 5 h 465"/>
                <a:gd name="T94" fmla="*/ 205 w 397"/>
                <a:gd name="T95" fmla="*/ 0 h 465"/>
                <a:gd name="T96" fmla="*/ 228 w 397"/>
                <a:gd name="T97" fmla="*/ 3 h 465"/>
                <a:gd name="T98" fmla="*/ 272 w 397"/>
                <a:gd name="T99" fmla="*/ 13 h 465"/>
                <a:gd name="T100" fmla="*/ 320 w 397"/>
                <a:gd name="T101" fmla="*/ 194 h 465"/>
                <a:gd name="T102" fmla="*/ 317 w 397"/>
                <a:gd name="T103" fmla="*/ 171 h 465"/>
                <a:gd name="T104" fmla="*/ 307 w 397"/>
                <a:gd name="T105" fmla="*/ 133 h 465"/>
                <a:gd name="T106" fmla="*/ 299 w 397"/>
                <a:gd name="T107" fmla="*/ 119 h 465"/>
                <a:gd name="T108" fmla="*/ 282 w 397"/>
                <a:gd name="T109" fmla="*/ 94 h 465"/>
                <a:gd name="T110" fmla="*/ 259 w 397"/>
                <a:gd name="T111" fmla="*/ 77 h 465"/>
                <a:gd name="T112" fmla="*/ 232 w 397"/>
                <a:gd name="T113" fmla="*/ 69 h 465"/>
                <a:gd name="T114" fmla="*/ 199 w 397"/>
                <a:gd name="T115" fmla="*/ 65 h 465"/>
                <a:gd name="T116" fmla="*/ 176 w 397"/>
                <a:gd name="T117" fmla="*/ 67 h 465"/>
                <a:gd name="T118" fmla="*/ 135 w 397"/>
                <a:gd name="T119" fmla="*/ 86 h 465"/>
                <a:gd name="T120" fmla="*/ 116 w 397"/>
                <a:gd name="T121" fmla="*/ 102 h 465"/>
                <a:gd name="T122" fmla="*/ 89 w 397"/>
                <a:gd name="T123" fmla="*/ 144 h 465"/>
                <a:gd name="T124" fmla="*/ 81 w 397"/>
                <a:gd name="T125" fmla="*/ 19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7" h="465">
                  <a:moveTo>
                    <a:pt x="295" y="23"/>
                  </a:moveTo>
                  <a:lnTo>
                    <a:pt x="295" y="23"/>
                  </a:lnTo>
                  <a:lnTo>
                    <a:pt x="315" y="34"/>
                  </a:lnTo>
                  <a:lnTo>
                    <a:pt x="332" y="48"/>
                  </a:lnTo>
                  <a:lnTo>
                    <a:pt x="347" y="63"/>
                  </a:lnTo>
                  <a:lnTo>
                    <a:pt x="361" y="79"/>
                  </a:lnTo>
                  <a:lnTo>
                    <a:pt x="361" y="79"/>
                  </a:lnTo>
                  <a:lnTo>
                    <a:pt x="370" y="96"/>
                  </a:lnTo>
                  <a:lnTo>
                    <a:pt x="378" y="115"/>
                  </a:lnTo>
                  <a:lnTo>
                    <a:pt x="384" y="136"/>
                  </a:lnTo>
                  <a:lnTo>
                    <a:pt x="390" y="156"/>
                  </a:lnTo>
                  <a:lnTo>
                    <a:pt x="390" y="156"/>
                  </a:lnTo>
                  <a:lnTo>
                    <a:pt x="392" y="173"/>
                  </a:lnTo>
                  <a:lnTo>
                    <a:pt x="394" y="196"/>
                  </a:lnTo>
                  <a:lnTo>
                    <a:pt x="396" y="252"/>
                  </a:lnTo>
                  <a:lnTo>
                    <a:pt x="79" y="252"/>
                  </a:lnTo>
                  <a:lnTo>
                    <a:pt x="79" y="252"/>
                  </a:lnTo>
                  <a:lnTo>
                    <a:pt x="81" y="285"/>
                  </a:lnTo>
                  <a:lnTo>
                    <a:pt x="87" y="312"/>
                  </a:lnTo>
                  <a:lnTo>
                    <a:pt x="97" y="337"/>
                  </a:lnTo>
                  <a:lnTo>
                    <a:pt x="110" y="360"/>
                  </a:lnTo>
                  <a:lnTo>
                    <a:pt x="110" y="360"/>
                  </a:lnTo>
                  <a:lnTo>
                    <a:pt x="118" y="368"/>
                  </a:lnTo>
                  <a:lnTo>
                    <a:pt x="126" y="377"/>
                  </a:lnTo>
                  <a:lnTo>
                    <a:pt x="135" y="385"/>
                  </a:lnTo>
                  <a:lnTo>
                    <a:pt x="147" y="389"/>
                  </a:lnTo>
                  <a:lnTo>
                    <a:pt x="158" y="393"/>
                  </a:lnTo>
                  <a:lnTo>
                    <a:pt x="172" y="397"/>
                  </a:lnTo>
                  <a:lnTo>
                    <a:pt x="185" y="399"/>
                  </a:lnTo>
                  <a:lnTo>
                    <a:pt x="199" y="399"/>
                  </a:lnTo>
                  <a:lnTo>
                    <a:pt x="199" y="399"/>
                  </a:lnTo>
                  <a:lnTo>
                    <a:pt x="214" y="399"/>
                  </a:lnTo>
                  <a:lnTo>
                    <a:pt x="226" y="397"/>
                  </a:lnTo>
                  <a:lnTo>
                    <a:pt x="239" y="395"/>
                  </a:lnTo>
                  <a:lnTo>
                    <a:pt x="251" y="391"/>
                  </a:lnTo>
                  <a:lnTo>
                    <a:pt x="261" y="385"/>
                  </a:lnTo>
                  <a:lnTo>
                    <a:pt x="272" y="379"/>
                  </a:lnTo>
                  <a:lnTo>
                    <a:pt x="282" y="371"/>
                  </a:lnTo>
                  <a:lnTo>
                    <a:pt x="291" y="362"/>
                  </a:lnTo>
                  <a:lnTo>
                    <a:pt x="291" y="362"/>
                  </a:lnTo>
                  <a:lnTo>
                    <a:pt x="299" y="350"/>
                  </a:lnTo>
                  <a:lnTo>
                    <a:pt x="307" y="337"/>
                  </a:lnTo>
                  <a:lnTo>
                    <a:pt x="313" y="325"/>
                  </a:lnTo>
                  <a:lnTo>
                    <a:pt x="317" y="310"/>
                  </a:lnTo>
                  <a:lnTo>
                    <a:pt x="390" y="310"/>
                  </a:lnTo>
                  <a:lnTo>
                    <a:pt x="390" y="310"/>
                  </a:lnTo>
                  <a:lnTo>
                    <a:pt x="388" y="323"/>
                  </a:lnTo>
                  <a:lnTo>
                    <a:pt x="384" y="335"/>
                  </a:lnTo>
                  <a:lnTo>
                    <a:pt x="372" y="364"/>
                  </a:lnTo>
                  <a:lnTo>
                    <a:pt x="372" y="364"/>
                  </a:lnTo>
                  <a:lnTo>
                    <a:pt x="353" y="391"/>
                  </a:lnTo>
                  <a:lnTo>
                    <a:pt x="334" y="412"/>
                  </a:lnTo>
                  <a:lnTo>
                    <a:pt x="334" y="412"/>
                  </a:lnTo>
                  <a:lnTo>
                    <a:pt x="317" y="427"/>
                  </a:lnTo>
                  <a:lnTo>
                    <a:pt x="297" y="439"/>
                  </a:lnTo>
                  <a:lnTo>
                    <a:pt x="276" y="449"/>
                  </a:lnTo>
                  <a:lnTo>
                    <a:pt x="253" y="456"/>
                  </a:lnTo>
                  <a:lnTo>
                    <a:pt x="253" y="456"/>
                  </a:lnTo>
                  <a:lnTo>
                    <a:pt x="224" y="462"/>
                  </a:lnTo>
                  <a:lnTo>
                    <a:pt x="193" y="464"/>
                  </a:lnTo>
                  <a:lnTo>
                    <a:pt x="193" y="464"/>
                  </a:lnTo>
                  <a:lnTo>
                    <a:pt x="174" y="462"/>
                  </a:lnTo>
                  <a:lnTo>
                    <a:pt x="154" y="460"/>
                  </a:lnTo>
                  <a:lnTo>
                    <a:pt x="137" y="456"/>
                  </a:lnTo>
                  <a:lnTo>
                    <a:pt x="118" y="447"/>
                  </a:lnTo>
                  <a:lnTo>
                    <a:pt x="101" y="439"/>
                  </a:lnTo>
                  <a:lnTo>
                    <a:pt x="85" y="431"/>
                  </a:lnTo>
                  <a:lnTo>
                    <a:pt x="70" y="418"/>
                  </a:lnTo>
                  <a:lnTo>
                    <a:pt x="56" y="404"/>
                  </a:lnTo>
                  <a:lnTo>
                    <a:pt x="56" y="404"/>
                  </a:lnTo>
                  <a:lnTo>
                    <a:pt x="43" y="389"/>
                  </a:lnTo>
                  <a:lnTo>
                    <a:pt x="31" y="371"/>
                  </a:lnTo>
                  <a:lnTo>
                    <a:pt x="23" y="352"/>
                  </a:lnTo>
                  <a:lnTo>
                    <a:pt x="14" y="333"/>
                  </a:lnTo>
                  <a:lnTo>
                    <a:pt x="8" y="310"/>
                  </a:lnTo>
                  <a:lnTo>
                    <a:pt x="4" y="287"/>
                  </a:lnTo>
                  <a:lnTo>
                    <a:pt x="0" y="264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0" y="213"/>
                  </a:lnTo>
                  <a:lnTo>
                    <a:pt x="4" y="188"/>
                  </a:lnTo>
                  <a:lnTo>
                    <a:pt x="8" y="165"/>
                  </a:lnTo>
                  <a:lnTo>
                    <a:pt x="14" y="142"/>
                  </a:lnTo>
                  <a:lnTo>
                    <a:pt x="23" y="121"/>
                  </a:lnTo>
                  <a:lnTo>
                    <a:pt x="31" y="102"/>
                  </a:lnTo>
                  <a:lnTo>
                    <a:pt x="43" y="84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70" y="50"/>
                  </a:lnTo>
                  <a:lnTo>
                    <a:pt x="87" y="38"/>
                  </a:lnTo>
                  <a:lnTo>
                    <a:pt x="104" y="27"/>
                  </a:lnTo>
                  <a:lnTo>
                    <a:pt x="122" y="17"/>
                  </a:lnTo>
                  <a:lnTo>
                    <a:pt x="141" y="11"/>
                  </a:lnTo>
                  <a:lnTo>
                    <a:pt x="162" y="5"/>
                  </a:lnTo>
                  <a:lnTo>
                    <a:pt x="182" y="3"/>
                  </a:lnTo>
                  <a:lnTo>
                    <a:pt x="205" y="0"/>
                  </a:lnTo>
                  <a:lnTo>
                    <a:pt x="205" y="0"/>
                  </a:lnTo>
                  <a:lnTo>
                    <a:pt x="228" y="3"/>
                  </a:lnTo>
                  <a:lnTo>
                    <a:pt x="251" y="7"/>
                  </a:lnTo>
                  <a:lnTo>
                    <a:pt x="272" y="13"/>
                  </a:lnTo>
                  <a:lnTo>
                    <a:pt x="295" y="23"/>
                  </a:lnTo>
                  <a:close/>
                  <a:moveTo>
                    <a:pt x="320" y="194"/>
                  </a:moveTo>
                  <a:lnTo>
                    <a:pt x="320" y="194"/>
                  </a:lnTo>
                  <a:lnTo>
                    <a:pt x="317" y="171"/>
                  </a:lnTo>
                  <a:lnTo>
                    <a:pt x="313" y="152"/>
                  </a:lnTo>
                  <a:lnTo>
                    <a:pt x="307" y="133"/>
                  </a:lnTo>
                  <a:lnTo>
                    <a:pt x="299" y="119"/>
                  </a:lnTo>
                  <a:lnTo>
                    <a:pt x="299" y="119"/>
                  </a:lnTo>
                  <a:lnTo>
                    <a:pt x="292" y="106"/>
                  </a:lnTo>
                  <a:lnTo>
                    <a:pt x="282" y="94"/>
                  </a:lnTo>
                  <a:lnTo>
                    <a:pt x="272" y="86"/>
                  </a:lnTo>
                  <a:lnTo>
                    <a:pt x="259" y="77"/>
                  </a:lnTo>
                  <a:lnTo>
                    <a:pt x="247" y="73"/>
                  </a:lnTo>
                  <a:lnTo>
                    <a:pt x="232" y="69"/>
                  </a:lnTo>
                  <a:lnTo>
                    <a:pt x="218" y="65"/>
                  </a:lnTo>
                  <a:lnTo>
                    <a:pt x="199" y="65"/>
                  </a:lnTo>
                  <a:lnTo>
                    <a:pt x="199" y="65"/>
                  </a:lnTo>
                  <a:lnTo>
                    <a:pt x="176" y="67"/>
                  </a:lnTo>
                  <a:lnTo>
                    <a:pt x="154" y="73"/>
                  </a:lnTo>
                  <a:lnTo>
                    <a:pt x="135" y="86"/>
                  </a:lnTo>
                  <a:lnTo>
                    <a:pt x="116" y="102"/>
                  </a:lnTo>
                  <a:lnTo>
                    <a:pt x="116" y="102"/>
                  </a:lnTo>
                  <a:lnTo>
                    <a:pt x="101" y="121"/>
                  </a:lnTo>
                  <a:lnTo>
                    <a:pt x="89" y="144"/>
                  </a:lnTo>
                  <a:lnTo>
                    <a:pt x="83" y="167"/>
                  </a:lnTo>
                  <a:lnTo>
                    <a:pt x="81" y="194"/>
                  </a:lnTo>
                  <a:lnTo>
                    <a:pt x="32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" name="Freeform 25">
              <a:extLst>
                <a:ext uri="{FF2B5EF4-FFF2-40B4-BE49-F238E27FC236}">
                  <a16:creationId xmlns:a16="http://schemas.microsoft.com/office/drawing/2014/main" id="{3AC4613E-5AF4-914A-90AB-283C58EEF7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2275" y="3889375"/>
              <a:ext cx="146050" cy="157163"/>
            </a:xfrm>
            <a:custGeom>
              <a:avLst/>
              <a:gdLst>
                <a:gd name="T0" fmla="*/ 85 w 404"/>
                <a:gd name="T1" fmla="*/ 0 h 437"/>
                <a:gd name="T2" fmla="*/ 202 w 404"/>
                <a:gd name="T3" fmla="*/ 355 h 437"/>
                <a:gd name="T4" fmla="*/ 322 w 404"/>
                <a:gd name="T5" fmla="*/ 0 h 437"/>
                <a:gd name="T6" fmla="*/ 403 w 404"/>
                <a:gd name="T7" fmla="*/ 0 h 437"/>
                <a:gd name="T8" fmla="*/ 239 w 404"/>
                <a:gd name="T9" fmla="*/ 436 h 437"/>
                <a:gd name="T10" fmla="*/ 160 w 404"/>
                <a:gd name="T11" fmla="*/ 436 h 437"/>
                <a:gd name="T12" fmla="*/ 0 w 404"/>
                <a:gd name="T13" fmla="*/ 0 h 437"/>
                <a:gd name="T14" fmla="*/ 85 w 404"/>
                <a:gd name="T15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4" h="437">
                  <a:moveTo>
                    <a:pt x="85" y="0"/>
                  </a:moveTo>
                  <a:lnTo>
                    <a:pt x="202" y="355"/>
                  </a:lnTo>
                  <a:lnTo>
                    <a:pt x="322" y="0"/>
                  </a:lnTo>
                  <a:lnTo>
                    <a:pt x="403" y="0"/>
                  </a:lnTo>
                  <a:lnTo>
                    <a:pt x="239" y="436"/>
                  </a:lnTo>
                  <a:lnTo>
                    <a:pt x="160" y="436"/>
                  </a:lnTo>
                  <a:lnTo>
                    <a:pt x="0" y="0"/>
                  </a:lnTo>
                  <a:lnTo>
                    <a:pt x="85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" name="Freeform 26">
              <a:extLst>
                <a:ext uri="{FF2B5EF4-FFF2-40B4-BE49-F238E27FC236}">
                  <a16:creationId xmlns:a16="http://schemas.microsoft.com/office/drawing/2014/main" id="{A9450A42-C080-834F-863E-DE8552B780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1025" y="3884613"/>
              <a:ext cx="142875" cy="166687"/>
            </a:xfrm>
            <a:custGeom>
              <a:avLst/>
              <a:gdLst>
                <a:gd name="T0" fmla="*/ 293 w 395"/>
                <a:gd name="T1" fmla="*/ 23 h 465"/>
                <a:gd name="T2" fmla="*/ 332 w 395"/>
                <a:gd name="T3" fmla="*/ 48 h 465"/>
                <a:gd name="T4" fmla="*/ 359 w 395"/>
                <a:gd name="T5" fmla="*/ 79 h 465"/>
                <a:gd name="T6" fmla="*/ 369 w 395"/>
                <a:gd name="T7" fmla="*/ 96 h 465"/>
                <a:gd name="T8" fmla="*/ 384 w 395"/>
                <a:gd name="T9" fmla="*/ 136 h 465"/>
                <a:gd name="T10" fmla="*/ 388 w 395"/>
                <a:gd name="T11" fmla="*/ 156 h 465"/>
                <a:gd name="T12" fmla="*/ 394 w 395"/>
                <a:gd name="T13" fmla="*/ 196 h 465"/>
                <a:gd name="T14" fmla="*/ 77 w 395"/>
                <a:gd name="T15" fmla="*/ 252 h 465"/>
                <a:gd name="T16" fmla="*/ 81 w 395"/>
                <a:gd name="T17" fmla="*/ 285 h 465"/>
                <a:gd name="T18" fmla="*/ 95 w 395"/>
                <a:gd name="T19" fmla="*/ 337 h 465"/>
                <a:gd name="T20" fmla="*/ 108 w 395"/>
                <a:gd name="T21" fmla="*/ 360 h 465"/>
                <a:gd name="T22" fmla="*/ 124 w 395"/>
                <a:gd name="T23" fmla="*/ 377 h 465"/>
                <a:gd name="T24" fmla="*/ 145 w 395"/>
                <a:gd name="T25" fmla="*/ 389 h 465"/>
                <a:gd name="T26" fmla="*/ 170 w 395"/>
                <a:gd name="T27" fmla="*/ 397 h 465"/>
                <a:gd name="T28" fmla="*/ 199 w 395"/>
                <a:gd name="T29" fmla="*/ 399 h 465"/>
                <a:gd name="T30" fmla="*/ 214 w 395"/>
                <a:gd name="T31" fmla="*/ 399 h 465"/>
                <a:gd name="T32" fmla="*/ 239 w 395"/>
                <a:gd name="T33" fmla="*/ 395 h 465"/>
                <a:gd name="T34" fmla="*/ 261 w 395"/>
                <a:gd name="T35" fmla="*/ 385 h 465"/>
                <a:gd name="T36" fmla="*/ 280 w 395"/>
                <a:gd name="T37" fmla="*/ 371 h 465"/>
                <a:gd name="T38" fmla="*/ 290 w 395"/>
                <a:gd name="T39" fmla="*/ 362 h 465"/>
                <a:gd name="T40" fmla="*/ 305 w 395"/>
                <a:gd name="T41" fmla="*/ 337 h 465"/>
                <a:gd name="T42" fmla="*/ 318 w 395"/>
                <a:gd name="T43" fmla="*/ 310 h 465"/>
                <a:gd name="T44" fmla="*/ 388 w 395"/>
                <a:gd name="T45" fmla="*/ 310 h 465"/>
                <a:gd name="T46" fmla="*/ 382 w 395"/>
                <a:gd name="T47" fmla="*/ 335 h 465"/>
                <a:gd name="T48" fmla="*/ 369 w 395"/>
                <a:gd name="T49" fmla="*/ 364 h 465"/>
                <a:gd name="T50" fmla="*/ 334 w 395"/>
                <a:gd name="T51" fmla="*/ 412 h 465"/>
                <a:gd name="T52" fmla="*/ 315 w 395"/>
                <a:gd name="T53" fmla="*/ 427 h 465"/>
                <a:gd name="T54" fmla="*/ 276 w 395"/>
                <a:gd name="T55" fmla="*/ 449 h 465"/>
                <a:gd name="T56" fmla="*/ 251 w 395"/>
                <a:gd name="T57" fmla="*/ 456 h 465"/>
                <a:gd name="T58" fmla="*/ 193 w 395"/>
                <a:gd name="T59" fmla="*/ 464 h 465"/>
                <a:gd name="T60" fmla="*/ 172 w 395"/>
                <a:gd name="T61" fmla="*/ 462 h 465"/>
                <a:gd name="T62" fmla="*/ 135 w 395"/>
                <a:gd name="T63" fmla="*/ 456 h 465"/>
                <a:gd name="T64" fmla="*/ 102 w 395"/>
                <a:gd name="T65" fmla="*/ 439 h 465"/>
                <a:gd name="T66" fmla="*/ 70 w 395"/>
                <a:gd name="T67" fmla="*/ 418 h 465"/>
                <a:gd name="T68" fmla="*/ 56 w 395"/>
                <a:gd name="T69" fmla="*/ 404 h 465"/>
                <a:gd name="T70" fmla="*/ 31 w 395"/>
                <a:gd name="T71" fmla="*/ 371 h 465"/>
                <a:gd name="T72" fmla="*/ 12 w 395"/>
                <a:gd name="T73" fmla="*/ 333 h 465"/>
                <a:gd name="T74" fmla="*/ 2 w 395"/>
                <a:gd name="T75" fmla="*/ 287 h 465"/>
                <a:gd name="T76" fmla="*/ 0 w 395"/>
                <a:gd name="T77" fmla="*/ 237 h 465"/>
                <a:gd name="T78" fmla="*/ 0 w 395"/>
                <a:gd name="T79" fmla="*/ 213 h 465"/>
                <a:gd name="T80" fmla="*/ 6 w 395"/>
                <a:gd name="T81" fmla="*/ 165 h 465"/>
                <a:gd name="T82" fmla="*/ 21 w 395"/>
                <a:gd name="T83" fmla="*/ 121 h 465"/>
                <a:gd name="T84" fmla="*/ 41 w 395"/>
                <a:gd name="T85" fmla="*/ 84 h 465"/>
                <a:gd name="T86" fmla="*/ 56 w 395"/>
                <a:gd name="T87" fmla="*/ 67 h 465"/>
                <a:gd name="T88" fmla="*/ 87 w 395"/>
                <a:gd name="T89" fmla="*/ 38 h 465"/>
                <a:gd name="T90" fmla="*/ 120 w 395"/>
                <a:gd name="T91" fmla="*/ 17 h 465"/>
                <a:gd name="T92" fmla="*/ 159 w 395"/>
                <a:gd name="T93" fmla="*/ 5 h 465"/>
                <a:gd name="T94" fmla="*/ 203 w 395"/>
                <a:gd name="T95" fmla="*/ 0 h 465"/>
                <a:gd name="T96" fmla="*/ 226 w 395"/>
                <a:gd name="T97" fmla="*/ 3 h 465"/>
                <a:gd name="T98" fmla="*/ 272 w 395"/>
                <a:gd name="T99" fmla="*/ 13 h 465"/>
                <a:gd name="T100" fmla="*/ 320 w 395"/>
                <a:gd name="T101" fmla="*/ 194 h 465"/>
                <a:gd name="T102" fmla="*/ 318 w 395"/>
                <a:gd name="T103" fmla="*/ 171 h 465"/>
                <a:gd name="T104" fmla="*/ 307 w 395"/>
                <a:gd name="T105" fmla="*/ 133 h 465"/>
                <a:gd name="T106" fmla="*/ 299 w 395"/>
                <a:gd name="T107" fmla="*/ 119 h 465"/>
                <a:gd name="T108" fmla="*/ 282 w 395"/>
                <a:gd name="T109" fmla="*/ 94 h 465"/>
                <a:gd name="T110" fmla="*/ 259 w 395"/>
                <a:gd name="T111" fmla="*/ 77 h 465"/>
                <a:gd name="T112" fmla="*/ 232 w 395"/>
                <a:gd name="T113" fmla="*/ 69 h 465"/>
                <a:gd name="T114" fmla="*/ 199 w 395"/>
                <a:gd name="T115" fmla="*/ 65 h 465"/>
                <a:gd name="T116" fmla="*/ 174 w 395"/>
                <a:gd name="T117" fmla="*/ 67 h 465"/>
                <a:gd name="T118" fmla="*/ 133 w 395"/>
                <a:gd name="T119" fmla="*/ 86 h 465"/>
                <a:gd name="T120" fmla="*/ 116 w 395"/>
                <a:gd name="T121" fmla="*/ 102 h 465"/>
                <a:gd name="T122" fmla="*/ 89 w 395"/>
                <a:gd name="T123" fmla="*/ 144 h 465"/>
                <a:gd name="T124" fmla="*/ 79 w 395"/>
                <a:gd name="T125" fmla="*/ 19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5" h="465">
                  <a:moveTo>
                    <a:pt x="293" y="23"/>
                  </a:moveTo>
                  <a:lnTo>
                    <a:pt x="293" y="23"/>
                  </a:lnTo>
                  <a:lnTo>
                    <a:pt x="313" y="34"/>
                  </a:lnTo>
                  <a:lnTo>
                    <a:pt x="332" y="48"/>
                  </a:lnTo>
                  <a:lnTo>
                    <a:pt x="347" y="63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69" y="96"/>
                  </a:lnTo>
                  <a:lnTo>
                    <a:pt x="378" y="115"/>
                  </a:lnTo>
                  <a:lnTo>
                    <a:pt x="384" y="136"/>
                  </a:lnTo>
                  <a:lnTo>
                    <a:pt x="388" y="156"/>
                  </a:lnTo>
                  <a:lnTo>
                    <a:pt x="388" y="156"/>
                  </a:lnTo>
                  <a:lnTo>
                    <a:pt x="392" y="173"/>
                  </a:lnTo>
                  <a:lnTo>
                    <a:pt x="394" y="196"/>
                  </a:lnTo>
                  <a:lnTo>
                    <a:pt x="394" y="252"/>
                  </a:lnTo>
                  <a:lnTo>
                    <a:pt x="77" y="252"/>
                  </a:lnTo>
                  <a:lnTo>
                    <a:pt x="77" y="252"/>
                  </a:lnTo>
                  <a:lnTo>
                    <a:pt x="81" y="285"/>
                  </a:lnTo>
                  <a:lnTo>
                    <a:pt x="87" y="312"/>
                  </a:lnTo>
                  <a:lnTo>
                    <a:pt x="95" y="337"/>
                  </a:lnTo>
                  <a:lnTo>
                    <a:pt x="108" y="360"/>
                  </a:lnTo>
                  <a:lnTo>
                    <a:pt x="108" y="360"/>
                  </a:lnTo>
                  <a:lnTo>
                    <a:pt x="116" y="368"/>
                  </a:lnTo>
                  <a:lnTo>
                    <a:pt x="124" y="377"/>
                  </a:lnTo>
                  <a:lnTo>
                    <a:pt x="135" y="385"/>
                  </a:lnTo>
                  <a:lnTo>
                    <a:pt x="145" y="389"/>
                  </a:lnTo>
                  <a:lnTo>
                    <a:pt x="158" y="393"/>
                  </a:lnTo>
                  <a:lnTo>
                    <a:pt x="170" y="397"/>
                  </a:lnTo>
                  <a:lnTo>
                    <a:pt x="184" y="399"/>
                  </a:lnTo>
                  <a:lnTo>
                    <a:pt x="199" y="399"/>
                  </a:lnTo>
                  <a:lnTo>
                    <a:pt x="199" y="399"/>
                  </a:lnTo>
                  <a:lnTo>
                    <a:pt x="214" y="399"/>
                  </a:lnTo>
                  <a:lnTo>
                    <a:pt x="226" y="397"/>
                  </a:lnTo>
                  <a:lnTo>
                    <a:pt x="239" y="395"/>
                  </a:lnTo>
                  <a:lnTo>
                    <a:pt x="251" y="391"/>
                  </a:lnTo>
                  <a:lnTo>
                    <a:pt x="261" y="385"/>
                  </a:lnTo>
                  <a:lnTo>
                    <a:pt x="272" y="379"/>
                  </a:lnTo>
                  <a:lnTo>
                    <a:pt x="280" y="371"/>
                  </a:lnTo>
                  <a:lnTo>
                    <a:pt x="290" y="362"/>
                  </a:lnTo>
                  <a:lnTo>
                    <a:pt x="290" y="362"/>
                  </a:lnTo>
                  <a:lnTo>
                    <a:pt x="299" y="350"/>
                  </a:lnTo>
                  <a:lnTo>
                    <a:pt x="305" y="337"/>
                  </a:lnTo>
                  <a:lnTo>
                    <a:pt x="311" y="325"/>
                  </a:lnTo>
                  <a:lnTo>
                    <a:pt x="318" y="310"/>
                  </a:lnTo>
                  <a:lnTo>
                    <a:pt x="388" y="310"/>
                  </a:lnTo>
                  <a:lnTo>
                    <a:pt x="388" y="310"/>
                  </a:lnTo>
                  <a:lnTo>
                    <a:pt x="386" y="323"/>
                  </a:lnTo>
                  <a:lnTo>
                    <a:pt x="382" y="335"/>
                  </a:lnTo>
                  <a:lnTo>
                    <a:pt x="369" y="364"/>
                  </a:lnTo>
                  <a:lnTo>
                    <a:pt x="369" y="364"/>
                  </a:lnTo>
                  <a:lnTo>
                    <a:pt x="353" y="391"/>
                  </a:lnTo>
                  <a:lnTo>
                    <a:pt x="334" y="412"/>
                  </a:lnTo>
                  <a:lnTo>
                    <a:pt x="334" y="412"/>
                  </a:lnTo>
                  <a:lnTo>
                    <a:pt x="315" y="427"/>
                  </a:lnTo>
                  <a:lnTo>
                    <a:pt x="297" y="439"/>
                  </a:lnTo>
                  <a:lnTo>
                    <a:pt x="276" y="449"/>
                  </a:lnTo>
                  <a:lnTo>
                    <a:pt x="251" y="456"/>
                  </a:lnTo>
                  <a:lnTo>
                    <a:pt x="251" y="456"/>
                  </a:lnTo>
                  <a:lnTo>
                    <a:pt x="224" y="462"/>
                  </a:lnTo>
                  <a:lnTo>
                    <a:pt x="193" y="464"/>
                  </a:lnTo>
                  <a:lnTo>
                    <a:pt x="193" y="464"/>
                  </a:lnTo>
                  <a:lnTo>
                    <a:pt x="172" y="462"/>
                  </a:lnTo>
                  <a:lnTo>
                    <a:pt x="153" y="460"/>
                  </a:lnTo>
                  <a:lnTo>
                    <a:pt x="135" y="456"/>
                  </a:lnTo>
                  <a:lnTo>
                    <a:pt x="118" y="447"/>
                  </a:lnTo>
                  <a:lnTo>
                    <a:pt x="102" y="439"/>
                  </a:lnTo>
                  <a:lnTo>
                    <a:pt x="85" y="431"/>
                  </a:lnTo>
                  <a:lnTo>
                    <a:pt x="70" y="418"/>
                  </a:lnTo>
                  <a:lnTo>
                    <a:pt x="56" y="404"/>
                  </a:lnTo>
                  <a:lnTo>
                    <a:pt x="56" y="404"/>
                  </a:lnTo>
                  <a:lnTo>
                    <a:pt x="41" y="389"/>
                  </a:lnTo>
                  <a:lnTo>
                    <a:pt x="31" y="371"/>
                  </a:lnTo>
                  <a:lnTo>
                    <a:pt x="21" y="352"/>
                  </a:lnTo>
                  <a:lnTo>
                    <a:pt x="12" y="333"/>
                  </a:lnTo>
                  <a:lnTo>
                    <a:pt x="6" y="310"/>
                  </a:lnTo>
                  <a:lnTo>
                    <a:pt x="2" y="287"/>
                  </a:lnTo>
                  <a:lnTo>
                    <a:pt x="0" y="264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0" y="213"/>
                  </a:lnTo>
                  <a:lnTo>
                    <a:pt x="2" y="188"/>
                  </a:lnTo>
                  <a:lnTo>
                    <a:pt x="6" y="165"/>
                  </a:lnTo>
                  <a:lnTo>
                    <a:pt x="12" y="142"/>
                  </a:lnTo>
                  <a:lnTo>
                    <a:pt x="21" y="121"/>
                  </a:lnTo>
                  <a:lnTo>
                    <a:pt x="31" y="102"/>
                  </a:lnTo>
                  <a:lnTo>
                    <a:pt x="41" y="84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70" y="50"/>
                  </a:lnTo>
                  <a:lnTo>
                    <a:pt x="87" y="38"/>
                  </a:lnTo>
                  <a:lnTo>
                    <a:pt x="103" y="27"/>
                  </a:lnTo>
                  <a:lnTo>
                    <a:pt x="120" y="17"/>
                  </a:lnTo>
                  <a:lnTo>
                    <a:pt x="141" y="11"/>
                  </a:lnTo>
                  <a:lnTo>
                    <a:pt x="159" y="5"/>
                  </a:lnTo>
                  <a:lnTo>
                    <a:pt x="180" y="3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226" y="3"/>
                  </a:lnTo>
                  <a:lnTo>
                    <a:pt x="249" y="7"/>
                  </a:lnTo>
                  <a:lnTo>
                    <a:pt x="272" y="13"/>
                  </a:lnTo>
                  <a:lnTo>
                    <a:pt x="293" y="23"/>
                  </a:lnTo>
                  <a:close/>
                  <a:moveTo>
                    <a:pt x="320" y="194"/>
                  </a:moveTo>
                  <a:lnTo>
                    <a:pt x="320" y="194"/>
                  </a:lnTo>
                  <a:lnTo>
                    <a:pt x="318" y="171"/>
                  </a:lnTo>
                  <a:lnTo>
                    <a:pt x="311" y="152"/>
                  </a:lnTo>
                  <a:lnTo>
                    <a:pt x="307" y="133"/>
                  </a:lnTo>
                  <a:lnTo>
                    <a:pt x="299" y="119"/>
                  </a:lnTo>
                  <a:lnTo>
                    <a:pt x="299" y="119"/>
                  </a:lnTo>
                  <a:lnTo>
                    <a:pt x="290" y="106"/>
                  </a:lnTo>
                  <a:lnTo>
                    <a:pt x="282" y="94"/>
                  </a:lnTo>
                  <a:lnTo>
                    <a:pt x="272" y="86"/>
                  </a:lnTo>
                  <a:lnTo>
                    <a:pt x="259" y="77"/>
                  </a:lnTo>
                  <a:lnTo>
                    <a:pt x="247" y="73"/>
                  </a:lnTo>
                  <a:lnTo>
                    <a:pt x="232" y="69"/>
                  </a:lnTo>
                  <a:lnTo>
                    <a:pt x="216" y="65"/>
                  </a:lnTo>
                  <a:lnTo>
                    <a:pt x="199" y="65"/>
                  </a:lnTo>
                  <a:lnTo>
                    <a:pt x="199" y="65"/>
                  </a:lnTo>
                  <a:lnTo>
                    <a:pt x="174" y="67"/>
                  </a:lnTo>
                  <a:lnTo>
                    <a:pt x="153" y="73"/>
                  </a:lnTo>
                  <a:lnTo>
                    <a:pt x="133" y="86"/>
                  </a:lnTo>
                  <a:lnTo>
                    <a:pt x="116" y="102"/>
                  </a:lnTo>
                  <a:lnTo>
                    <a:pt x="116" y="102"/>
                  </a:lnTo>
                  <a:lnTo>
                    <a:pt x="99" y="121"/>
                  </a:lnTo>
                  <a:lnTo>
                    <a:pt x="89" y="144"/>
                  </a:lnTo>
                  <a:lnTo>
                    <a:pt x="83" y="167"/>
                  </a:lnTo>
                  <a:lnTo>
                    <a:pt x="79" y="194"/>
                  </a:lnTo>
                  <a:lnTo>
                    <a:pt x="32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F998069D-638B-3448-8879-2F726EDCE9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7238" y="3830638"/>
              <a:ext cx="26987" cy="215900"/>
            </a:xfrm>
            <a:custGeom>
              <a:avLst/>
              <a:gdLst>
                <a:gd name="T0" fmla="*/ 0 w 74"/>
                <a:gd name="T1" fmla="*/ 0 h 599"/>
                <a:gd name="T2" fmla="*/ 73 w 74"/>
                <a:gd name="T3" fmla="*/ 0 h 599"/>
                <a:gd name="T4" fmla="*/ 73 w 74"/>
                <a:gd name="T5" fmla="*/ 598 h 599"/>
                <a:gd name="T6" fmla="*/ 0 w 74"/>
                <a:gd name="T7" fmla="*/ 598 h 599"/>
                <a:gd name="T8" fmla="*/ 0 w 74"/>
                <a:gd name="T9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599">
                  <a:moveTo>
                    <a:pt x="0" y="0"/>
                  </a:moveTo>
                  <a:lnTo>
                    <a:pt x="73" y="0"/>
                  </a:lnTo>
                  <a:lnTo>
                    <a:pt x="73" y="598"/>
                  </a:lnTo>
                  <a:lnTo>
                    <a:pt x="0" y="598"/>
                  </a:ln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1" name="Freeform 28">
              <a:extLst>
                <a:ext uri="{FF2B5EF4-FFF2-40B4-BE49-F238E27FC236}">
                  <a16:creationId xmlns:a16="http://schemas.microsoft.com/office/drawing/2014/main" id="{E64C2775-2629-2C48-9DE5-F5F165B056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2800" y="3884613"/>
              <a:ext cx="146050" cy="168275"/>
            </a:xfrm>
            <a:custGeom>
              <a:avLst/>
              <a:gdLst>
                <a:gd name="T0" fmla="*/ 359 w 406"/>
                <a:gd name="T1" fmla="*/ 71 h 467"/>
                <a:gd name="T2" fmla="*/ 390 w 406"/>
                <a:gd name="T3" fmla="*/ 125 h 467"/>
                <a:gd name="T4" fmla="*/ 403 w 406"/>
                <a:gd name="T5" fmla="*/ 196 h 467"/>
                <a:gd name="T6" fmla="*/ 403 w 406"/>
                <a:gd name="T7" fmla="*/ 248 h 467"/>
                <a:gd name="T8" fmla="*/ 390 w 406"/>
                <a:gd name="T9" fmla="*/ 318 h 467"/>
                <a:gd name="T10" fmla="*/ 365 w 406"/>
                <a:gd name="T11" fmla="*/ 379 h 467"/>
                <a:gd name="T12" fmla="*/ 338 w 406"/>
                <a:gd name="T13" fmla="*/ 412 h 467"/>
                <a:gd name="T14" fmla="*/ 289 w 406"/>
                <a:gd name="T15" fmla="*/ 447 h 467"/>
                <a:gd name="T16" fmla="*/ 220 w 406"/>
                <a:gd name="T17" fmla="*/ 464 h 467"/>
                <a:gd name="T18" fmla="*/ 172 w 406"/>
                <a:gd name="T19" fmla="*/ 464 h 467"/>
                <a:gd name="T20" fmla="*/ 114 w 406"/>
                <a:gd name="T21" fmla="*/ 449 h 467"/>
                <a:gd name="T22" fmla="*/ 66 w 406"/>
                <a:gd name="T23" fmla="*/ 418 h 467"/>
                <a:gd name="T24" fmla="*/ 39 w 406"/>
                <a:gd name="T25" fmla="*/ 389 h 467"/>
                <a:gd name="T26" fmla="*/ 12 w 406"/>
                <a:gd name="T27" fmla="*/ 333 h 467"/>
                <a:gd name="T28" fmla="*/ 0 w 406"/>
                <a:gd name="T29" fmla="*/ 266 h 467"/>
                <a:gd name="T30" fmla="*/ 0 w 406"/>
                <a:gd name="T31" fmla="*/ 215 h 467"/>
                <a:gd name="T32" fmla="*/ 14 w 406"/>
                <a:gd name="T33" fmla="*/ 142 h 467"/>
                <a:gd name="T34" fmla="*/ 41 w 406"/>
                <a:gd name="T35" fmla="*/ 81 h 467"/>
                <a:gd name="T36" fmla="*/ 70 w 406"/>
                <a:gd name="T37" fmla="*/ 50 h 467"/>
                <a:gd name="T38" fmla="*/ 120 w 406"/>
                <a:gd name="T39" fmla="*/ 17 h 467"/>
                <a:gd name="T40" fmla="*/ 183 w 406"/>
                <a:gd name="T41" fmla="*/ 0 h 467"/>
                <a:gd name="T42" fmla="*/ 224 w 406"/>
                <a:gd name="T43" fmla="*/ 0 h 467"/>
                <a:gd name="T44" fmla="*/ 282 w 406"/>
                <a:gd name="T45" fmla="*/ 15 h 467"/>
                <a:gd name="T46" fmla="*/ 332 w 406"/>
                <a:gd name="T47" fmla="*/ 44 h 467"/>
                <a:gd name="T48" fmla="*/ 301 w 406"/>
                <a:gd name="T49" fmla="*/ 348 h 467"/>
                <a:gd name="T50" fmla="*/ 326 w 406"/>
                <a:gd name="T51" fmla="*/ 256 h 467"/>
                <a:gd name="T52" fmla="*/ 326 w 406"/>
                <a:gd name="T53" fmla="*/ 194 h 467"/>
                <a:gd name="T54" fmla="*/ 307 w 406"/>
                <a:gd name="T55" fmla="*/ 125 h 467"/>
                <a:gd name="T56" fmla="*/ 290 w 406"/>
                <a:gd name="T57" fmla="*/ 98 h 467"/>
                <a:gd name="T58" fmla="*/ 253 w 406"/>
                <a:gd name="T59" fmla="*/ 73 h 467"/>
                <a:gd name="T60" fmla="*/ 203 w 406"/>
                <a:gd name="T61" fmla="*/ 65 h 467"/>
                <a:gd name="T62" fmla="*/ 172 w 406"/>
                <a:gd name="T63" fmla="*/ 67 h 467"/>
                <a:gd name="T64" fmla="*/ 133 w 406"/>
                <a:gd name="T65" fmla="*/ 83 h 467"/>
                <a:gd name="T66" fmla="*/ 106 w 406"/>
                <a:gd name="T67" fmla="*/ 115 h 467"/>
                <a:gd name="T68" fmla="*/ 83 w 406"/>
                <a:gd name="T69" fmla="*/ 173 h 467"/>
                <a:gd name="T70" fmla="*/ 74 w 406"/>
                <a:gd name="T71" fmla="*/ 239 h 467"/>
                <a:gd name="T72" fmla="*/ 93 w 406"/>
                <a:gd name="T73" fmla="*/ 331 h 467"/>
                <a:gd name="T74" fmla="*/ 114 w 406"/>
                <a:gd name="T75" fmla="*/ 366 h 467"/>
                <a:gd name="T76" fmla="*/ 145 w 406"/>
                <a:gd name="T77" fmla="*/ 391 h 467"/>
                <a:gd name="T78" fmla="*/ 185 w 406"/>
                <a:gd name="T79" fmla="*/ 401 h 467"/>
                <a:gd name="T80" fmla="*/ 218 w 406"/>
                <a:gd name="T81" fmla="*/ 401 h 467"/>
                <a:gd name="T82" fmla="*/ 261 w 406"/>
                <a:gd name="T83" fmla="*/ 389 h 467"/>
                <a:gd name="T84" fmla="*/ 293 w 406"/>
                <a:gd name="T85" fmla="*/ 36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6" h="467">
                  <a:moveTo>
                    <a:pt x="347" y="56"/>
                  </a:moveTo>
                  <a:lnTo>
                    <a:pt x="347" y="56"/>
                  </a:lnTo>
                  <a:lnTo>
                    <a:pt x="359" y="71"/>
                  </a:lnTo>
                  <a:lnTo>
                    <a:pt x="372" y="88"/>
                  </a:lnTo>
                  <a:lnTo>
                    <a:pt x="382" y="106"/>
                  </a:lnTo>
                  <a:lnTo>
                    <a:pt x="390" y="125"/>
                  </a:lnTo>
                  <a:lnTo>
                    <a:pt x="396" y="148"/>
                  </a:lnTo>
                  <a:lnTo>
                    <a:pt x="401" y="171"/>
                  </a:lnTo>
                  <a:lnTo>
                    <a:pt x="403" y="196"/>
                  </a:lnTo>
                  <a:lnTo>
                    <a:pt x="405" y="221"/>
                  </a:lnTo>
                  <a:lnTo>
                    <a:pt x="405" y="221"/>
                  </a:lnTo>
                  <a:lnTo>
                    <a:pt x="403" y="248"/>
                  </a:lnTo>
                  <a:lnTo>
                    <a:pt x="401" y="273"/>
                  </a:lnTo>
                  <a:lnTo>
                    <a:pt x="396" y="296"/>
                  </a:lnTo>
                  <a:lnTo>
                    <a:pt x="390" y="318"/>
                  </a:lnTo>
                  <a:lnTo>
                    <a:pt x="384" y="339"/>
                  </a:lnTo>
                  <a:lnTo>
                    <a:pt x="376" y="360"/>
                  </a:lnTo>
                  <a:lnTo>
                    <a:pt x="365" y="379"/>
                  </a:lnTo>
                  <a:lnTo>
                    <a:pt x="353" y="395"/>
                  </a:lnTo>
                  <a:lnTo>
                    <a:pt x="353" y="395"/>
                  </a:lnTo>
                  <a:lnTo>
                    <a:pt x="338" y="412"/>
                  </a:lnTo>
                  <a:lnTo>
                    <a:pt x="324" y="426"/>
                  </a:lnTo>
                  <a:lnTo>
                    <a:pt x="307" y="439"/>
                  </a:lnTo>
                  <a:lnTo>
                    <a:pt x="289" y="447"/>
                  </a:lnTo>
                  <a:lnTo>
                    <a:pt x="268" y="456"/>
                  </a:lnTo>
                  <a:lnTo>
                    <a:pt x="245" y="460"/>
                  </a:lnTo>
                  <a:lnTo>
                    <a:pt x="220" y="464"/>
                  </a:lnTo>
                  <a:lnTo>
                    <a:pt x="195" y="466"/>
                  </a:lnTo>
                  <a:lnTo>
                    <a:pt x="195" y="466"/>
                  </a:lnTo>
                  <a:lnTo>
                    <a:pt x="172" y="464"/>
                  </a:lnTo>
                  <a:lnTo>
                    <a:pt x="151" y="462"/>
                  </a:lnTo>
                  <a:lnTo>
                    <a:pt x="133" y="456"/>
                  </a:lnTo>
                  <a:lnTo>
                    <a:pt x="114" y="449"/>
                  </a:lnTo>
                  <a:lnTo>
                    <a:pt x="97" y="441"/>
                  </a:lnTo>
                  <a:lnTo>
                    <a:pt x="81" y="431"/>
                  </a:lnTo>
                  <a:lnTo>
                    <a:pt x="66" y="418"/>
                  </a:lnTo>
                  <a:lnTo>
                    <a:pt x="52" y="404"/>
                  </a:lnTo>
                  <a:lnTo>
                    <a:pt x="52" y="404"/>
                  </a:lnTo>
                  <a:lnTo>
                    <a:pt x="39" y="389"/>
                  </a:lnTo>
                  <a:lnTo>
                    <a:pt x="29" y="370"/>
                  </a:lnTo>
                  <a:lnTo>
                    <a:pt x="21" y="352"/>
                  </a:lnTo>
                  <a:lnTo>
                    <a:pt x="12" y="333"/>
                  </a:lnTo>
                  <a:lnTo>
                    <a:pt x="8" y="312"/>
                  </a:lnTo>
                  <a:lnTo>
                    <a:pt x="4" y="289"/>
                  </a:lnTo>
                  <a:lnTo>
                    <a:pt x="0" y="266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15"/>
                  </a:lnTo>
                  <a:lnTo>
                    <a:pt x="4" y="187"/>
                  </a:lnTo>
                  <a:lnTo>
                    <a:pt x="8" y="165"/>
                  </a:lnTo>
                  <a:lnTo>
                    <a:pt x="14" y="142"/>
                  </a:lnTo>
                  <a:lnTo>
                    <a:pt x="21" y="121"/>
                  </a:lnTo>
                  <a:lnTo>
                    <a:pt x="31" y="100"/>
                  </a:lnTo>
                  <a:lnTo>
                    <a:pt x="41" y="81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70" y="50"/>
                  </a:lnTo>
                  <a:lnTo>
                    <a:pt x="85" y="36"/>
                  </a:lnTo>
                  <a:lnTo>
                    <a:pt x="102" y="25"/>
                  </a:lnTo>
                  <a:lnTo>
                    <a:pt x="120" y="17"/>
                  </a:lnTo>
                  <a:lnTo>
                    <a:pt x="139" y="9"/>
                  </a:lnTo>
                  <a:lnTo>
                    <a:pt x="160" y="5"/>
                  </a:lnTo>
                  <a:lnTo>
                    <a:pt x="183" y="0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224" y="0"/>
                  </a:lnTo>
                  <a:lnTo>
                    <a:pt x="245" y="2"/>
                  </a:lnTo>
                  <a:lnTo>
                    <a:pt x="264" y="9"/>
                  </a:lnTo>
                  <a:lnTo>
                    <a:pt x="282" y="15"/>
                  </a:lnTo>
                  <a:lnTo>
                    <a:pt x="299" y="21"/>
                  </a:lnTo>
                  <a:lnTo>
                    <a:pt x="315" y="31"/>
                  </a:lnTo>
                  <a:lnTo>
                    <a:pt x="332" y="44"/>
                  </a:lnTo>
                  <a:lnTo>
                    <a:pt x="347" y="56"/>
                  </a:lnTo>
                  <a:close/>
                  <a:moveTo>
                    <a:pt x="301" y="348"/>
                  </a:moveTo>
                  <a:lnTo>
                    <a:pt x="301" y="348"/>
                  </a:lnTo>
                  <a:lnTo>
                    <a:pt x="311" y="318"/>
                  </a:lnTo>
                  <a:lnTo>
                    <a:pt x="320" y="289"/>
                  </a:lnTo>
                  <a:lnTo>
                    <a:pt x="326" y="256"/>
                  </a:lnTo>
                  <a:lnTo>
                    <a:pt x="328" y="223"/>
                  </a:lnTo>
                  <a:lnTo>
                    <a:pt x="328" y="223"/>
                  </a:lnTo>
                  <a:lnTo>
                    <a:pt x="326" y="194"/>
                  </a:lnTo>
                  <a:lnTo>
                    <a:pt x="322" y="169"/>
                  </a:lnTo>
                  <a:lnTo>
                    <a:pt x="315" y="146"/>
                  </a:lnTo>
                  <a:lnTo>
                    <a:pt x="307" y="125"/>
                  </a:lnTo>
                  <a:lnTo>
                    <a:pt x="307" y="125"/>
                  </a:lnTo>
                  <a:lnTo>
                    <a:pt x="299" y="110"/>
                  </a:lnTo>
                  <a:lnTo>
                    <a:pt x="290" y="98"/>
                  </a:lnTo>
                  <a:lnTo>
                    <a:pt x="278" y="88"/>
                  </a:lnTo>
                  <a:lnTo>
                    <a:pt x="266" y="79"/>
                  </a:lnTo>
                  <a:lnTo>
                    <a:pt x="253" y="73"/>
                  </a:lnTo>
                  <a:lnTo>
                    <a:pt x="237" y="67"/>
                  </a:lnTo>
                  <a:lnTo>
                    <a:pt x="220" y="65"/>
                  </a:lnTo>
                  <a:lnTo>
                    <a:pt x="203" y="65"/>
                  </a:lnTo>
                  <a:lnTo>
                    <a:pt x="203" y="65"/>
                  </a:lnTo>
                  <a:lnTo>
                    <a:pt x="187" y="65"/>
                  </a:lnTo>
                  <a:lnTo>
                    <a:pt x="172" y="67"/>
                  </a:lnTo>
                  <a:lnTo>
                    <a:pt x="158" y="71"/>
                  </a:lnTo>
                  <a:lnTo>
                    <a:pt x="145" y="77"/>
                  </a:lnTo>
                  <a:lnTo>
                    <a:pt x="133" y="83"/>
                  </a:lnTo>
                  <a:lnTo>
                    <a:pt x="122" y="94"/>
                  </a:lnTo>
                  <a:lnTo>
                    <a:pt x="114" y="104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93" y="142"/>
                  </a:lnTo>
                  <a:lnTo>
                    <a:pt x="83" y="173"/>
                  </a:lnTo>
                  <a:lnTo>
                    <a:pt x="77" y="204"/>
                  </a:lnTo>
                  <a:lnTo>
                    <a:pt x="74" y="239"/>
                  </a:lnTo>
                  <a:lnTo>
                    <a:pt x="74" y="239"/>
                  </a:lnTo>
                  <a:lnTo>
                    <a:pt x="77" y="273"/>
                  </a:lnTo>
                  <a:lnTo>
                    <a:pt x="83" y="304"/>
                  </a:lnTo>
                  <a:lnTo>
                    <a:pt x="93" y="331"/>
                  </a:lnTo>
                  <a:lnTo>
                    <a:pt x="106" y="356"/>
                  </a:lnTo>
                  <a:lnTo>
                    <a:pt x="106" y="356"/>
                  </a:lnTo>
                  <a:lnTo>
                    <a:pt x="114" y="366"/>
                  </a:lnTo>
                  <a:lnTo>
                    <a:pt x="122" y="377"/>
                  </a:lnTo>
                  <a:lnTo>
                    <a:pt x="133" y="383"/>
                  </a:lnTo>
                  <a:lnTo>
                    <a:pt x="145" y="391"/>
                  </a:lnTo>
                  <a:lnTo>
                    <a:pt x="158" y="395"/>
                  </a:lnTo>
                  <a:lnTo>
                    <a:pt x="170" y="399"/>
                  </a:lnTo>
                  <a:lnTo>
                    <a:pt x="185" y="401"/>
                  </a:lnTo>
                  <a:lnTo>
                    <a:pt x="201" y="401"/>
                  </a:lnTo>
                  <a:lnTo>
                    <a:pt x="201" y="401"/>
                  </a:lnTo>
                  <a:lnTo>
                    <a:pt x="218" y="401"/>
                  </a:lnTo>
                  <a:lnTo>
                    <a:pt x="234" y="397"/>
                  </a:lnTo>
                  <a:lnTo>
                    <a:pt x="249" y="393"/>
                  </a:lnTo>
                  <a:lnTo>
                    <a:pt x="261" y="389"/>
                  </a:lnTo>
                  <a:lnTo>
                    <a:pt x="274" y="381"/>
                  </a:lnTo>
                  <a:lnTo>
                    <a:pt x="284" y="370"/>
                  </a:lnTo>
                  <a:lnTo>
                    <a:pt x="293" y="360"/>
                  </a:lnTo>
                  <a:lnTo>
                    <a:pt x="301" y="3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2" name="Freeform 29">
              <a:extLst>
                <a:ext uri="{FF2B5EF4-FFF2-40B4-BE49-F238E27FC236}">
                  <a16:creationId xmlns:a16="http://schemas.microsoft.com/office/drawing/2014/main" id="{D6773A6B-FDDF-6046-9134-D0A1BA438D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9013" y="3884613"/>
              <a:ext cx="139700" cy="223837"/>
            </a:xfrm>
            <a:custGeom>
              <a:avLst/>
              <a:gdLst>
                <a:gd name="T0" fmla="*/ 73 w 387"/>
                <a:gd name="T1" fmla="*/ 13 h 623"/>
                <a:gd name="T2" fmla="*/ 73 w 387"/>
                <a:gd name="T3" fmla="*/ 71 h 623"/>
                <a:gd name="T4" fmla="*/ 96 w 387"/>
                <a:gd name="T5" fmla="*/ 44 h 623"/>
                <a:gd name="T6" fmla="*/ 120 w 387"/>
                <a:gd name="T7" fmla="*/ 25 h 623"/>
                <a:gd name="T8" fmla="*/ 139 w 387"/>
                <a:gd name="T9" fmla="*/ 13 h 623"/>
                <a:gd name="T10" fmla="*/ 183 w 387"/>
                <a:gd name="T11" fmla="*/ 3 h 623"/>
                <a:gd name="T12" fmla="*/ 208 w 387"/>
                <a:gd name="T13" fmla="*/ 0 h 623"/>
                <a:gd name="T14" fmla="*/ 243 w 387"/>
                <a:gd name="T15" fmla="*/ 3 h 623"/>
                <a:gd name="T16" fmla="*/ 276 w 387"/>
                <a:gd name="T17" fmla="*/ 15 h 623"/>
                <a:gd name="T18" fmla="*/ 308 w 387"/>
                <a:gd name="T19" fmla="*/ 31 h 623"/>
                <a:gd name="T20" fmla="*/ 334 w 387"/>
                <a:gd name="T21" fmla="*/ 56 h 623"/>
                <a:gd name="T22" fmla="*/ 347 w 387"/>
                <a:gd name="T23" fmla="*/ 71 h 623"/>
                <a:gd name="T24" fmla="*/ 366 w 387"/>
                <a:gd name="T25" fmla="*/ 106 h 623"/>
                <a:gd name="T26" fmla="*/ 378 w 387"/>
                <a:gd name="T27" fmla="*/ 148 h 623"/>
                <a:gd name="T28" fmla="*/ 384 w 387"/>
                <a:gd name="T29" fmla="*/ 194 h 623"/>
                <a:gd name="T30" fmla="*/ 386 w 387"/>
                <a:gd name="T31" fmla="*/ 219 h 623"/>
                <a:gd name="T32" fmla="*/ 380 w 387"/>
                <a:gd name="T33" fmla="*/ 285 h 623"/>
                <a:gd name="T34" fmla="*/ 368 w 387"/>
                <a:gd name="T35" fmla="*/ 341 h 623"/>
                <a:gd name="T36" fmla="*/ 343 w 387"/>
                <a:gd name="T37" fmla="*/ 387 h 623"/>
                <a:gd name="T38" fmla="*/ 312 w 387"/>
                <a:gd name="T39" fmla="*/ 424 h 623"/>
                <a:gd name="T40" fmla="*/ 299 w 387"/>
                <a:gd name="T41" fmla="*/ 433 h 623"/>
                <a:gd name="T42" fmla="*/ 272 w 387"/>
                <a:gd name="T43" fmla="*/ 447 h 623"/>
                <a:gd name="T44" fmla="*/ 245 w 387"/>
                <a:gd name="T45" fmla="*/ 458 h 623"/>
                <a:gd name="T46" fmla="*/ 199 w 387"/>
                <a:gd name="T47" fmla="*/ 462 h 623"/>
                <a:gd name="T48" fmla="*/ 177 w 387"/>
                <a:gd name="T49" fmla="*/ 462 h 623"/>
                <a:gd name="T50" fmla="*/ 135 w 387"/>
                <a:gd name="T51" fmla="*/ 449 h 623"/>
                <a:gd name="T52" fmla="*/ 116 w 387"/>
                <a:gd name="T53" fmla="*/ 441 h 623"/>
                <a:gd name="T54" fmla="*/ 96 w 387"/>
                <a:gd name="T55" fmla="*/ 424 h 623"/>
                <a:gd name="T56" fmla="*/ 73 w 387"/>
                <a:gd name="T57" fmla="*/ 622 h 623"/>
                <a:gd name="T58" fmla="*/ 0 w 387"/>
                <a:gd name="T59" fmla="*/ 13 h 623"/>
                <a:gd name="T60" fmla="*/ 276 w 387"/>
                <a:gd name="T61" fmla="*/ 356 h 623"/>
                <a:gd name="T62" fmla="*/ 291 w 387"/>
                <a:gd name="T63" fmla="*/ 331 h 623"/>
                <a:gd name="T64" fmla="*/ 301 w 387"/>
                <a:gd name="T65" fmla="*/ 302 h 623"/>
                <a:gd name="T66" fmla="*/ 308 w 387"/>
                <a:gd name="T67" fmla="*/ 266 h 623"/>
                <a:gd name="T68" fmla="*/ 309 w 387"/>
                <a:gd name="T69" fmla="*/ 227 h 623"/>
                <a:gd name="T70" fmla="*/ 308 w 387"/>
                <a:gd name="T71" fmla="*/ 177 h 623"/>
                <a:gd name="T72" fmla="*/ 295 w 387"/>
                <a:gd name="T73" fmla="*/ 138 h 623"/>
                <a:gd name="T74" fmla="*/ 287 w 387"/>
                <a:gd name="T75" fmla="*/ 119 h 623"/>
                <a:gd name="T76" fmla="*/ 268 w 387"/>
                <a:gd name="T77" fmla="*/ 92 h 623"/>
                <a:gd name="T78" fmla="*/ 241 w 387"/>
                <a:gd name="T79" fmla="*/ 75 h 623"/>
                <a:gd name="T80" fmla="*/ 208 w 387"/>
                <a:gd name="T81" fmla="*/ 65 h 623"/>
                <a:gd name="T82" fmla="*/ 191 w 387"/>
                <a:gd name="T83" fmla="*/ 65 h 623"/>
                <a:gd name="T84" fmla="*/ 156 w 387"/>
                <a:gd name="T85" fmla="*/ 69 h 623"/>
                <a:gd name="T86" fmla="*/ 127 w 387"/>
                <a:gd name="T87" fmla="*/ 84 h 623"/>
                <a:gd name="T88" fmla="*/ 104 w 387"/>
                <a:gd name="T89" fmla="*/ 106 h 623"/>
                <a:gd name="T90" fmla="*/ 85 w 387"/>
                <a:gd name="T91" fmla="*/ 140 h 623"/>
                <a:gd name="T92" fmla="*/ 79 w 387"/>
                <a:gd name="T93" fmla="*/ 163 h 623"/>
                <a:gd name="T94" fmla="*/ 71 w 387"/>
                <a:gd name="T95" fmla="*/ 214 h 623"/>
                <a:gd name="T96" fmla="*/ 71 w 387"/>
                <a:gd name="T97" fmla="*/ 244 h 623"/>
                <a:gd name="T98" fmla="*/ 75 w 387"/>
                <a:gd name="T99" fmla="*/ 291 h 623"/>
                <a:gd name="T100" fmla="*/ 85 w 387"/>
                <a:gd name="T101" fmla="*/ 331 h 623"/>
                <a:gd name="T102" fmla="*/ 93 w 387"/>
                <a:gd name="T103" fmla="*/ 346 h 623"/>
                <a:gd name="T104" fmla="*/ 114 w 387"/>
                <a:gd name="T105" fmla="*/ 372 h 623"/>
                <a:gd name="T106" fmla="*/ 139 w 387"/>
                <a:gd name="T107" fmla="*/ 389 h 623"/>
                <a:gd name="T108" fmla="*/ 172 w 387"/>
                <a:gd name="T109" fmla="*/ 397 h 623"/>
                <a:gd name="T110" fmla="*/ 191 w 387"/>
                <a:gd name="T111" fmla="*/ 397 h 623"/>
                <a:gd name="T112" fmla="*/ 216 w 387"/>
                <a:gd name="T113" fmla="*/ 395 h 623"/>
                <a:gd name="T114" fmla="*/ 237 w 387"/>
                <a:gd name="T115" fmla="*/ 387 h 623"/>
                <a:gd name="T116" fmla="*/ 258 w 387"/>
                <a:gd name="T117" fmla="*/ 375 h 623"/>
                <a:gd name="T118" fmla="*/ 276 w 387"/>
                <a:gd name="T119" fmla="*/ 356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7" h="623">
                  <a:moveTo>
                    <a:pt x="0" y="13"/>
                  </a:moveTo>
                  <a:lnTo>
                    <a:pt x="73" y="13"/>
                  </a:lnTo>
                  <a:lnTo>
                    <a:pt x="73" y="71"/>
                  </a:lnTo>
                  <a:lnTo>
                    <a:pt x="73" y="71"/>
                  </a:lnTo>
                  <a:lnTo>
                    <a:pt x="83" y="56"/>
                  </a:lnTo>
                  <a:lnTo>
                    <a:pt x="96" y="44"/>
                  </a:lnTo>
                  <a:lnTo>
                    <a:pt x="108" y="34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39" y="13"/>
                  </a:lnTo>
                  <a:lnTo>
                    <a:pt x="160" y="7"/>
                  </a:lnTo>
                  <a:lnTo>
                    <a:pt x="183" y="3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26" y="0"/>
                  </a:lnTo>
                  <a:lnTo>
                    <a:pt x="243" y="3"/>
                  </a:lnTo>
                  <a:lnTo>
                    <a:pt x="260" y="9"/>
                  </a:lnTo>
                  <a:lnTo>
                    <a:pt x="276" y="15"/>
                  </a:lnTo>
                  <a:lnTo>
                    <a:pt x="291" y="21"/>
                  </a:lnTo>
                  <a:lnTo>
                    <a:pt x="308" y="31"/>
                  </a:lnTo>
                  <a:lnTo>
                    <a:pt x="320" y="44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47" y="71"/>
                  </a:lnTo>
                  <a:lnTo>
                    <a:pt x="357" y="88"/>
                  </a:lnTo>
                  <a:lnTo>
                    <a:pt x="366" y="106"/>
                  </a:lnTo>
                  <a:lnTo>
                    <a:pt x="372" y="125"/>
                  </a:lnTo>
                  <a:lnTo>
                    <a:pt x="378" y="148"/>
                  </a:lnTo>
                  <a:lnTo>
                    <a:pt x="382" y="169"/>
                  </a:lnTo>
                  <a:lnTo>
                    <a:pt x="384" y="194"/>
                  </a:lnTo>
                  <a:lnTo>
                    <a:pt x="386" y="219"/>
                  </a:lnTo>
                  <a:lnTo>
                    <a:pt x="386" y="219"/>
                  </a:lnTo>
                  <a:lnTo>
                    <a:pt x="384" y="254"/>
                  </a:lnTo>
                  <a:lnTo>
                    <a:pt x="380" y="285"/>
                  </a:lnTo>
                  <a:lnTo>
                    <a:pt x="376" y="314"/>
                  </a:lnTo>
                  <a:lnTo>
                    <a:pt x="368" y="341"/>
                  </a:lnTo>
                  <a:lnTo>
                    <a:pt x="357" y="366"/>
                  </a:lnTo>
                  <a:lnTo>
                    <a:pt x="343" y="387"/>
                  </a:lnTo>
                  <a:lnTo>
                    <a:pt x="328" y="408"/>
                  </a:lnTo>
                  <a:lnTo>
                    <a:pt x="312" y="424"/>
                  </a:lnTo>
                  <a:lnTo>
                    <a:pt x="312" y="424"/>
                  </a:lnTo>
                  <a:lnTo>
                    <a:pt x="299" y="433"/>
                  </a:lnTo>
                  <a:lnTo>
                    <a:pt x="287" y="441"/>
                  </a:lnTo>
                  <a:lnTo>
                    <a:pt x="272" y="447"/>
                  </a:lnTo>
                  <a:lnTo>
                    <a:pt x="260" y="454"/>
                  </a:lnTo>
                  <a:lnTo>
                    <a:pt x="245" y="458"/>
                  </a:lnTo>
                  <a:lnTo>
                    <a:pt x="230" y="460"/>
                  </a:lnTo>
                  <a:lnTo>
                    <a:pt x="199" y="462"/>
                  </a:lnTo>
                  <a:lnTo>
                    <a:pt x="199" y="462"/>
                  </a:lnTo>
                  <a:lnTo>
                    <a:pt x="177" y="462"/>
                  </a:lnTo>
                  <a:lnTo>
                    <a:pt x="156" y="458"/>
                  </a:lnTo>
                  <a:lnTo>
                    <a:pt x="135" y="449"/>
                  </a:lnTo>
                  <a:lnTo>
                    <a:pt x="116" y="441"/>
                  </a:lnTo>
                  <a:lnTo>
                    <a:pt x="116" y="441"/>
                  </a:lnTo>
                  <a:lnTo>
                    <a:pt x="108" y="433"/>
                  </a:lnTo>
                  <a:lnTo>
                    <a:pt x="96" y="424"/>
                  </a:lnTo>
                  <a:lnTo>
                    <a:pt x="73" y="399"/>
                  </a:lnTo>
                  <a:lnTo>
                    <a:pt x="73" y="622"/>
                  </a:lnTo>
                  <a:lnTo>
                    <a:pt x="0" y="622"/>
                  </a:lnTo>
                  <a:lnTo>
                    <a:pt x="0" y="13"/>
                  </a:lnTo>
                  <a:close/>
                  <a:moveTo>
                    <a:pt x="276" y="356"/>
                  </a:moveTo>
                  <a:lnTo>
                    <a:pt x="276" y="356"/>
                  </a:lnTo>
                  <a:lnTo>
                    <a:pt x="285" y="343"/>
                  </a:lnTo>
                  <a:lnTo>
                    <a:pt x="291" y="331"/>
                  </a:lnTo>
                  <a:lnTo>
                    <a:pt x="297" y="316"/>
                  </a:lnTo>
                  <a:lnTo>
                    <a:pt x="301" y="302"/>
                  </a:lnTo>
                  <a:lnTo>
                    <a:pt x="305" y="285"/>
                  </a:lnTo>
                  <a:lnTo>
                    <a:pt x="308" y="266"/>
                  </a:lnTo>
                  <a:lnTo>
                    <a:pt x="309" y="227"/>
                  </a:lnTo>
                  <a:lnTo>
                    <a:pt x="309" y="227"/>
                  </a:lnTo>
                  <a:lnTo>
                    <a:pt x="309" y="202"/>
                  </a:lnTo>
                  <a:lnTo>
                    <a:pt x="308" y="177"/>
                  </a:lnTo>
                  <a:lnTo>
                    <a:pt x="301" y="156"/>
                  </a:lnTo>
                  <a:lnTo>
                    <a:pt x="295" y="138"/>
                  </a:lnTo>
                  <a:lnTo>
                    <a:pt x="295" y="138"/>
                  </a:lnTo>
                  <a:lnTo>
                    <a:pt x="287" y="119"/>
                  </a:lnTo>
                  <a:lnTo>
                    <a:pt x="278" y="104"/>
                  </a:lnTo>
                  <a:lnTo>
                    <a:pt x="268" y="92"/>
                  </a:lnTo>
                  <a:lnTo>
                    <a:pt x="255" y="81"/>
                  </a:lnTo>
                  <a:lnTo>
                    <a:pt x="241" y="75"/>
                  </a:lnTo>
                  <a:lnTo>
                    <a:pt x="226" y="69"/>
                  </a:lnTo>
                  <a:lnTo>
                    <a:pt x="208" y="65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72" y="65"/>
                  </a:lnTo>
                  <a:lnTo>
                    <a:pt x="156" y="69"/>
                  </a:lnTo>
                  <a:lnTo>
                    <a:pt x="139" y="75"/>
                  </a:lnTo>
                  <a:lnTo>
                    <a:pt x="127" y="84"/>
                  </a:lnTo>
                  <a:lnTo>
                    <a:pt x="114" y="94"/>
                  </a:lnTo>
                  <a:lnTo>
                    <a:pt x="104" y="106"/>
                  </a:lnTo>
                  <a:lnTo>
                    <a:pt x="93" y="123"/>
                  </a:lnTo>
                  <a:lnTo>
                    <a:pt x="85" y="140"/>
                  </a:lnTo>
                  <a:lnTo>
                    <a:pt x="85" y="140"/>
                  </a:lnTo>
                  <a:lnTo>
                    <a:pt x="79" y="163"/>
                  </a:lnTo>
                  <a:lnTo>
                    <a:pt x="75" y="188"/>
                  </a:lnTo>
                  <a:lnTo>
                    <a:pt x="71" y="21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69"/>
                  </a:lnTo>
                  <a:lnTo>
                    <a:pt x="75" y="291"/>
                  </a:lnTo>
                  <a:lnTo>
                    <a:pt x="79" y="312"/>
                  </a:lnTo>
                  <a:lnTo>
                    <a:pt x="85" y="331"/>
                  </a:lnTo>
                  <a:lnTo>
                    <a:pt x="85" y="331"/>
                  </a:lnTo>
                  <a:lnTo>
                    <a:pt x="93" y="346"/>
                  </a:lnTo>
                  <a:lnTo>
                    <a:pt x="104" y="360"/>
                  </a:lnTo>
                  <a:lnTo>
                    <a:pt x="114" y="372"/>
                  </a:lnTo>
                  <a:lnTo>
                    <a:pt x="127" y="381"/>
                  </a:lnTo>
                  <a:lnTo>
                    <a:pt x="139" y="389"/>
                  </a:lnTo>
                  <a:lnTo>
                    <a:pt x="156" y="393"/>
                  </a:lnTo>
                  <a:lnTo>
                    <a:pt x="172" y="397"/>
                  </a:lnTo>
                  <a:lnTo>
                    <a:pt x="191" y="397"/>
                  </a:lnTo>
                  <a:lnTo>
                    <a:pt x="191" y="397"/>
                  </a:lnTo>
                  <a:lnTo>
                    <a:pt x="204" y="397"/>
                  </a:lnTo>
                  <a:lnTo>
                    <a:pt x="216" y="395"/>
                  </a:lnTo>
                  <a:lnTo>
                    <a:pt x="226" y="391"/>
                  </a:lnTo>
                  <a:lnTo>
                    <a:pt x="237" y="387"/>
                  </a:lnTo>
                  <a:lnTo>
                    <a:pt x="247" y="381"/>
                  </a:lnTo>
                  <a:lnTo>
                    <a:pt x="258" y="375"/>
                  </a:lnTo>
                  <a:lnTo>
                    <a:pt x="268" y="366"/>
                  </a:lnTo>
                  <a:lnTo>
                    <a:pt x="276" y="3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3" name="Freeform 30">
              <a:extLst>
                <a:ext uri="{FF2B5EF4-FFF2-40B4-BE49-F238E27FC236}">
                  <a16:creationId xmlns:a16="http://schemas.microsoft.com/office/drawing/2014/main" id="{14EEEDD0-68E8-8447-BB1A-9215F65DC8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8875" y="3884613"/>
              <a:ext cx="211138" cy="161925"/>
            </a:xfrm>
            <a:custGeom>
              <a:avLst/>
              <a:gdLst>
                <a:gd name="T0" fmla="*/ 71 w 588"/>
                <a:gd name="T1" fmla="*/ 11 h 448"/>
                <a:gd name="T2" fmla="*/ 71 w 588"/>
                <a:gd name="T3" fmla="*/ 73 h 448"/>
                <a:gd name="T4" fmla="*/ 109 w 588"/>
                <a:gd name="T5" fmla="*/ 34 h 448"/>
                <a:gd name="T6" fmla="*/ 119 w 588"/>
                <a:gd name="T7" fmla="*/ 25 h 448"/>
                <a:gd name="T8" fmla="*/ 159 w 588"/>
                <a:gd name="T9" fmla="*/ 7 h 448"/>
                <a:gd name="T10" fmla="*/ 202 w 588"/>
                <a:gd name="T11" fmla="*/ 0 h 448"/>
                <a:gd name="T12" fmla="*/ 227 w 588"/>
                <a:gd name="T13" fmla="*/ 3 h 448"/>
                <a:gd name="T14" fmla="*/ 269 w 588"/>
                <a:gd name="T15" fmla="*/ 15 h 448"/>
                <a:gd name="T16" fmla="*/ 285 w 588"/>
                <a:gd name="T17" fmla="*/ 27 h 448"/>
                <a:gd name="T18" fmla="*/ 304 w 588"/>
                <a:gd name="T19" fmla="*/ 44 h 448"/>
                <a:gd name="T20" fmla="*/ 318 w 588"/>
                <a:gd name="T21" fmla="*/ 69 h 448"/>
                <a:gd name="T22" fmla="*/ 331 w 588"/>
                <a:gd name="T23" fmla="*/ 52 h 448"/>
                <a:gd name="T24" fmla="*/ 360 w 588"/>
                <a:gd name="T25" fmla="*/ 27 h 448"/>
                <a:gd name="T26" fmla="*/ 377 w 588"/>
                <a:gd name="T27" fmla="*/ 17 h 448"/>
                <a:gd name="T28" fmla="*/ 412 w 588"/>
                <a:gd name="T29" fmla="*/ 5 h 448"/>
                <a:gd name="T30" fmla="*/ 449 w 588"/>
                <a:gd name="T31" fmla="*/ 0 h 448"/>
                <a:gd name="T32" fmla="*/ 472 w 588"/>
                <a:gd name="T33" fmla="*/ 3 h 448"/>
                <a:gd name="T34" fmla="*/ 508 w 588"/>
                <a:gd name="T35" fmla="*/ 9 h 448"/>
                <a:gd name="T36" fmla="*/ 539 w 588"/>
                <a:gd name="T37" fmla="*/ 25 h 448"/>
                <a:gd name="T38" fmla="*/ 562 w 588"/>
                <a:gd name="T39" fmla="*/ 50 h 448"/>
                <a:gd name="T40" fmla="*/ 570 w 588"/>
                <a:gd name="T41" fmla="*/ 65 h 448"/>
                <a:gd name="T42" fmla="*/ 582 w 588"/>
                <a:gd name="T43" fmla="*/ 104 h 448"/>
                <a:gd name="T44" fmla="*/ 587 w 588"/>
                <a:gd name="T45" fmla="*/ 156 h 448"/>
                <a:gd name="T46" fmla="*/ 512 w 588"/>
                <a:gd name="T47" fmla="*/ 447 h 448"/>
                <a:gd name="T48" fmla="*/ 512 w 588"/>
                <a:gd name="T49" fmla="*/ 144 h 448"/>
                <a:gd name="T50" fmla="*/ 505 w 588"/>
                <a:gd name="T51" fmla="*/ 106 h 448"/>
                <a:gd name="T52" fmla="*/ 489 w 588"/>
                <a:gd name="T53" fmla="*/ 84 h 448"/>
                <a:gd name="T54" fmla="*/ 478 w 588"/>
                <a:gd name="T55" fmla="*/ 77 h 448"/>
                <a:gd name="T56" fmla="*/ 451 w 588"/>
                <a:gd name="T57" fmla="*/ 69 h 448"/>
                <a:gd name="T58" fmla="*/ 437 w 588"/>
                <a:gd name="T59" fmla="*/ 67 h 448"/>
                <a:gd name="T60" fmla="*/ 395 w 588"/>
                <a:gd name="T61" fmla="*/ 75 h 448"/>
                <a:gd name="T62" fmla="*/ 362 w 588"/>
                <a:gd name="T63" fmla="*/ 96 h 448"/>
                <a:gd name="T64" fmla="*/ 354 w 588"/>
                <a:gd name="T65" fmla="*/ 104 h 448"/>
                <a:gd name="T66" fmla="*/ 343 w 588"/>
                <a:gd name="T67" fmla="*/ 123 h 448"/>
                <a:gd name="T68" fmla="*/ 333 w 588"/>
                <a:gd name="T69" fmla="*/ 163 h 448"/>
                <a:gd name="T70" fmla="*/ 331 w 588"/>
                <a:gd name="T71" fmla="*/ 447 h 448"/>
                <a:gd name="T72" fmla="*/ 256 w 588"/>
                <a:gd name="T73" fmla="*/ 163 h 448"/>
                <a:gd name="T74" fmla="*/ 254 w 588"/>
                <a:gd name="T75" fmla="*/ 142 h 448"/>
                <a:gd name="T76" fmla="*/ 250 w 588"/>
                <a:gd name="T77" fmla="*/ 108 h 448"/>
                <a:gd name="T78" fmla="*/ 246 w 588"/>
                <a:gd name="T79" fmla="*/ 98 h 448"/>
                <a:gd name="T80" fmla="*/ 235 w 588"/>
                <a:gd name="T81" fmla="*/ 84 h 448"/>
                <a:gd name="T82" fmla="*/ 221 w 588"/>
                <a:gd name="T83" fmla="*/ 75 h 448"/>
                <a:gd name="T84" fmla="*/ 183 w 588"/>
                <a:gd name="T85" fmla="*/ 67 h 448"/>
                <a:gd name="T86" fmla="*/ 163 w 588"/>
                <a:gd name="T87" fmla="*/ 69 h 448"/>
                <a:gd name="T88" fmla="*/ 125 w 588"/>
                <a:gd name="T89" fmla="*/ 86 h 448"/>
                <a:gd name="T90" fmla="*/ 106 w 588"/>
                <a:gd name="T91" fmla="*/ 98 h 448"/>
                <a:gd name="T92" fmla="*/ 92 w 588"/>
                <a:gd name="T93" fmla="*/ 119 h 448"/>
                <a:gd name="T94" fmla="*/ 81 w 588"/>
                <a:gd name="T95" fmla="*/ 144 h 448"/>
                <a:gd name="T96" fmla="*/ 75 w 588"/>
                <a:gd name="T97" fmla="*/ 177 h 448"/>
                <a:gd name="T98" fmla="*/ 73 w 588"/>
                <a:gd name="T99" fmla="*/ 447 h 448"/>
                <a:gd name="T100" fmla="*/ 0 w 588"/>
                <a:gd name="T101" fmla="*/ 1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88" h="448">
                  <a:moveTo>
                    <a:pt x="0" y="11"/>
                  </a:moveTo>
                  <a:lnTo>
                    <a:pt x="71" y="11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96" y="44"/>
                  </a:lnTo>
                  <a:lnTo>
                    <a:pt x="109" y="34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38" y="15"/>
                  </a:lnTo>
                  <a:lnTo>
                    <a:pt x="159" y="7"/>
                  </a:lnTo>
                  <a:lnTo>
                    <a:pt x="179" y="3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227" y="3"/>
                  </a:lnTo>
                  <a:lnTo>
                    <a:pt x="250" y="7"/>
                  </a:lnTo>
                  <a:lnTo>
                    <a:pt x="269" y="15"/>
                  </a:lnTo>
                  <a:lnTo>
                    <a:pt x="285" y="27"/>
                  </a:lnTo>
                  <a:lnTo>
                    <a:pt x="285" y="27"/>
                  </a:lnTo>
                  <a:lnTo>
                    <a:pt x="296" y="34"/>
                  </a:lnTo>
                  <a:lnTo>
                    <a:pt x="304" y="44"/>
                  </a:lnTo>
                  <a:lnTo>
                    <a:pt x="310" y="56"/>
                  </a:lnTo>
                  <a:lnTo>
                    <a:pt x="318" y="69"/>
                  </a:lnTo>
                  <a:lnTo>
                    <a:pt x="318" y="69"/>
                  </a:lnTo>
                  <a:lnTo>
                    <a:pt x="331" y="52"/>
                  </a:lnTo>
                  <a:lnTo>
                    <a:pt x="346" y="40"/>
                  </a:lnTo>
                  <a:lnTo>
                    <a:pt x="360" y="27"/>
                  </a:lnTo>
                  <a:lnTo>
                    <a:pt x="377" y="17"/>
                  </a:lnTo>
                  <a:lnTo>
                    <a:pt x="377" y="17"/>
                  </a:lnTo>
                  <a:lnTo>
                    <a:pt x="393" y="11"/>
                  </a:lnTo>
                  <a:lnTo>
                    <a:pt x="412" y="5"/>
                  </a:lnTo>
                  <a:lnTo>
                    <a:pt x="431" y="3"/>
                  </a:lnTo>
                  <a:lnTo>
                    <a:pt x="449" y="0"/>
                  </a:lnTo>
                  <a:lnTo>
                    <a:pt x="449" y="0"/>
                  </a:lnTo>
                  <a:lnTo>
                    <a:pt x="472" y="3"/>
                  </a:lnTo>
                  <a:lnTo>
                    <a:pt x="491" y="5"/>
                  </a:lnTo>
                  <a:lnTo>
                    <a:pt x="508" y="9"/>
                  </a:lnTo>
                  <a:lnTo>
                    <a:pt x="524" y="17"/>
                  </a:lnTo>
                  <a:lnTo>
                    <a:pt x="539" y="25"/>
                  </a:lnTo>
                  <a:lnTo>
                    <a:pt x="551" y="36"/>
                  </a:lnTo>
                  <a:lnTo>
                    <a:pt x="562" y="50"/>
                  </a:lnTo>
                  <a:lnTo>
                    <a:pt x="570" y="65"/>
                  </a:lnTo>
                  <a:lnTo>
                    <a:pt x="570" y="65"/>
                  </a:lnTo>
                  <a:lnTo>
                    <a:pt x="578" y="84"/>
                  </a:lnTo>
                  <a:lnTo>
                    <a:pt x="582" y="104"/>
                  </a:lnTo>
                  <a:lnTo>
                    <a:pt x="587" y="129"/>
                  </a:lnTo>
                  <a:lnTo>
                    <a:pt x="587" y="156"/>
                  </a:lnTo>
                  <a:lnTo>
                    <a:pt x="587" y="447"/>
                  </a:lnTo>
                  <a:lnTo>
                    <a:pt x="512" y="447"/>
                  </a:lnTo>
                  <a:lnTo>
                    <a:pt x="512" y="144"/>
                  </a:lnTo>
                  <a:lnTo>
                    <a:pt x="512" y="144"/>
                  </a:lnTo>
                  <a:lnTo>
                    <a:pt x="509" y="123"/>
                  </a:lnTo>
                  <a:lnTo>
                    <a:pt x="505" y="106"/>
                  </a:lnTo>
                  <a:lnTo>
                    <a:pt x="499" y="94"/>
                  </a:lnTo>
                  <a:lnTo>
                    <a:pt x="489" y="84"/>
                  </a:lnTo>
                  <a:lnTo>
                    <a:pt x="489" y="84"/>
                  </a:lnTo>
                  <a:lnTo>
                    <a:pt x="478" y="77"/>
                  </a:lnTo>
                  <a:lnTo>
                    <a:pt x="466" y="71"/>
                  </a:lnTo>
                  <a:lnTo>
                    <a:pt x="451" y="69"/>
                  </a:lnTo>
                  <a:lnTo>
                    <a:pt x="437" y="67"/>
                  </a:lnTo>
                  <a:lnTo>
                    <a:pt x="437" y="67"/>
                  </a:lnTo>
                  <a:lnTo>
                    <a:pt x="416" y="69"/>
                  </a:lnTo>
                  <a:lnTo>
                    <a:pt x="395" y="75"/>
                  </a:lnTo>
                  <a:lnTo>
                    <a:pt x="379" y="84"/>
                  </a:lnTo>
                  <a:lnTo>
                    <a:pt x="362" y="96"/>
                  </a:lnTo>
                  <a:lnTo>
                    <a:pt x="362" y="96"/>
                  </a:lnTo>
                  <a:lnTo>
                    <a:pt x="354" y="104"/>
                  </a:lnTo>
                  <a:lnTo>
                    <a:pt x="347" y="113"/>
                  </a:lnTo>
                  <a:lnTo>
                    <a:pt x="343" y="123"/>
                  </a:lnTo>
                  <a:lnTo>
                    <a:pt x="337" y="136"/>
                  </a:lnTo>
                  <a:lnTo>
                    <a:pt x="333" y="163"/>
                  </a:lnTo>
                  <a:lnTo>
                    <a:pt x="331" y="194"/>
                  </a:lnTo>
                  <a:lnTo>
                    <a:pt x="331" y="447"/>
                  </a:lnTo>
                  <a:lnTo>
                    <a:pt x="256" y="447"/>
                  </a:lnTo>
                  <a:lnTo>
                    <a:pt x="256" y="163"/>
                  </a:lnTo>
                  <a:lnTo>
                    <a:pt x="256" y="163"/>
                  </a:lnTo>
                  <a:lnTo>
                    <a:pt x="254" y="142"/>
                  </a:lnTo>
                  <a:lnTo>
                    <a:pt x="254" y="123"/>
                  </a:lnTo>
                  <a:lnTo>
                    <a:pt x="250" y="108"/>
                  </a:lnTo>
                  <a:lnTo>
                    <a:pt x="246" y="98"/>
                  </a:lnTo>
                  <a:lnTo>
                    <a:pt x="246" y="98"/>
                  </a:lnTo>
                  <a:lnTo>
                    <a:pt x="240" y="90"/>
                  </a:lnTo>
                  <a:lnTo>
                    <a:pt x="235" y="84"/>
                  </a:lnTo>
                  <a:lnTo>
                    <a:pt x="229" y="79"/>
                  </a:lnTo>
                  <a:lnTo>
                    <a:pt x="221" y="75"/>
                  </a:lnTo>
                  <a:lnTo>
                    <a:pt x="204" y="69"/>
                  </a:lnTo>
                  <a:lnTo>
                    <a:pt x="183" y="67"/>
                  </a:lnTo>
                  <a:lnTo>
                    <a:pt x="183" y="67"/>
                  </a:lnTo>
                  <a:lnTo>
                    <a:pt x="163" y="69"/>
                  </a:lnTo>
                  <a:lnTo>
                    <a:pt x="144" y="75"/>
                  </a:lnTo>
                  <a:lnTo>
                    <a:pt x="125" y="86"/>
                  </a:lnTo>
                  <a:lnTo>
                    <a:pt x="106" y="98"/>
                  </a:lnTo>
                  <a:lnTo>
                    <a:pt x="106" y="98"/>
                  </a:lnTo>
                  <a:lnTo>
                    <a:pt x="98" y="108"/>
                  </a:lnTo>
                  <a:lnTo>
                    <a:pt x="92" y="119"/>
                  </a:lnTo>
                  <a:lnTo>
                    <a:pt x="86" y="131"/>
                  </a:lnTo>
                  <a:lnTo>
                    <a:pt x="81" y="144"/>
                  </a:lnTo>
                  <a:lnTo>
                    <a:pt x="77" y="161"/>
                  </a:lnTo>
                  <a:lnTo>
                    <a:pt x="75" y="177"/>
                  </a:lnTo>
                  <a:lnTo>
                    <a:pt x="73" y="217"/>
                  </a:lnTo>
                  <a:lnTo>
                    <a:pt x="73" y="447"/>
                  </a:lnTo>
                  <a:lnTo>
                    <a:pt x="0" y="447"/>
                  </a:lnTo>
                  <a:lnTo>
                    <a:pt x="0" y="1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4" name="Freeform 31">
              <a:extLst>
                <a:ext uri="{FF2B5EF4-FFF2-40B4-BE49-F238E27FC236}">
                  <a16:creationId xmlns:a16="http://schemas.microsoft.com/office/drawing/2014/main" id="{77A78F05-D1A8-D245-8E54-97BBBAC315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0175" y="3884613"/>
              <a:ext cx="142875" cy="166687"/>
            </a:xfrm>
            <a:custGeom>
              <a:avLst/>
              <a:gdLst>
                <a:gd name="T0" fmla="*/ 296 w 398"/>
                <a:gd name="T1" fmla="*/ 23 h 465"/>
                <a:gd name="T2" fmla="*/ 335 w 398"/>
                <a:gd name="T3" fmla="*/ 48 h 465"/>
                <a:gd name="T4" fmla="*/ 362 w 398"/>
                <a:gd name="T5" fmla="*/ 79 h 465"/>
                <a:gd name="T6" fmla="*/ 372 w 398"/>
                <a:gd name="T7" fmla="*/ 96 h 465"/>
                <a:gd name="T8" fmla="*/ 387 w 398"/>
                <a:gd name="T9" fmla="*/ 136 h 465"/>
                <a:gd name="T10" fmla="*/ 391 w 398"/>
                <a:gd name="T11" fmla="*/ 156 h 465"/>
                <a:gd name="T12" fmla="*/ 395 w 398"/>
                <a:gd name="T13" fmla="*/ 196 h 465"/>
                <a:gd name="T14" fmla="*/ 80 w 398"/>
                <a:gd name="T15" fmla="*/ 252 h 465"/>
                <a:gd name="T16" fmla="*/ 84 w 398"/>
                <a:gd name="T17" fmla="*/ 285 h 465"/>
                <a:gd name="T18" fmla="*/ 98 w 398"/>
                <a:gd name="T19" fmla="*/ 337 h 465"/>
                <a:gd name="T20" fmla="*/ 111 w 398"/>
                <a:gd name="T21" fmla="*/ 360 h 465"/>
                <a:gd name="T22" fmla="*/ 127 w 398"/>
                <a:gd name="T23" fmla="*/ 377 h 465"/>
                <a:gd name="T24" fmla="*/ 148 w 398"/>
                <a:gd name="T25" fmla="*/ 389 h 465"/>
                <a:gd name="T26" fmla="*/ 173 w 398"/>
                <a:gd name="T27" fmla="*/ 397 h 465"/>
                <a:gd name="T28" fmla="*/ 202 w 398"/>
                <a:gd name="T29" fmla="*/ 399 h 465"/>
                <a:gd name="T30" fmla="*/ 215 w 398"/>
                <a:gd name="T31" fmla="*/ 399 h 465"/>
                <a:gd name="T32" fmla="*/ 242 w 398"/>
                <a:gd name="T33" fmla="*/ 395 h 465"/>
                <a:gd name="T34" fmla="*/ 264 w 398"/>
                <a:gd name="T35" fmla="*/ 385 h 465"/>
                <a:gd name="T36" fmla="*/ 283 w 398"/>
                <a:gd name="T37" fmla="*/ 371 h 465"/>
                <a:gd name="T38" fmla="*/ 293 w 398"/>
                <a:gd name="T39" fmla="*/ 362 h 465"/>
                <a:gd name="T40" fmla="*/ 308 w 398"/>
                <a:gd name="T41" fmla="*/ 337 h 465"/>
                <a:gd name="T42" fmla="*/ 321 w 398"/>
                <a:gd name="T43" fmla="*/ 310 h 465"/>
                <a:gd name="T44" fmla="*/ 391 w 398"/>
                <a:gd name="T45" fmla="*/ 310 h 465"/>
                <a:gd name="T46" fmla="*/ 385 w 398"/>
                <a:gd name="T47" fmla="*/ 335 h 465"/>
                <a:gd name="T48" fmla="*/ 372 w 398"/>
                <a:gd name="T49" fmla="*/ 364 h 465"/>
                <a:gd name="T50" fmla="*/ 337 w 398"/>
                <a:gd name="T51" fmla="*/ 412 h 465"/>
                <a:gd name="T52" fmla="*/ 318 w 398"/>
                <a:gd name="T53" fmla="*/ 427 h 465"/>
                <a:gd name="T54" fmla="*/ 279 w 398"/>
                <a:gd name="T55" fmla="*/ 449 h 465"/>
                <a:gd name="T56" fmla="*/ 254 w 398"/>
                <a:gd name="T57" fmla="*/ 456 h 465"/>
                <a:gd name="T58" fmla="*/ 196 w 398"/>
                <a:gd name="T59" fmla="*/ 464 h 465"/>
                <a:gd name="T60" fmla="*/ 175 w 398"/>
                <a:gd name="T61" fmla="*/ 462 h 465"/>
                <a:gd name="T62" fmla="*/ 138 w 398"/>
                <a:gd name="T63" fmla="*/ 456 h 465"/>
                <a:gd name="T64" fmla="*/ 104 w 398"/>
                <a:gd name="T65" fmla="*/ 439 h 465"/>
                <a:gd name="T66" fmla="*/ 73 w 398"/>
                <a:gd name="T67" fmla="*/ 418 h 465"/>
                <a:gd name="T68" fmla="*/ 59 w 398"/>
                <a:gd name="T69" fmla="*/ 404 h 465"/>
                <a:gd name="T70" fmla="*/ 34 w 398"/>
                <a:gd name="T71" fmla="*/ 371 h 465"/>
                <a:gd name="T72" fmla="*/ 15 w 398"/>
                <a:gd name="T73" fmla="*/ 333 h 465"/>
                <a:gd name="T74" fmla="*/ 5 w 398"/>
                <a:gd name="T75" fmla="*/ 287 h 465"/>
                <a:gd name="T76" fmla="*/ 0 w 398"/>
                <a:gd name="T77" fmla="*/ 237 h 465"/>
                <a:gd name="T78" fmla="*/ 3 w 398"/>
                <a:gd name="T79" fmla="*/ 213 h 465"/>
                <a:gd name="T80" fmla="*/ 9 w 398"/>
                <a:gd name="T81" fmla="*/ 165 h 465"/>
                <a:gd name="T82" fmla="*/ 24 w 398"/>
                <a:gd name="T83" fmla="*/ 121 h 465"/>
                <a:gd name="T84" fmla="*/ 44 w 398"/>
                <a:gd name="T85" fmla="*/ 84 h 465"/>
                <a:gd name="T86" fmla="*/ 59 w 398"/>
                <a:gd name="T87" fmla="*/ 67 h 465"/>
                <a:gd name="T88" fmla="*/ 88 w 398"/>
                <a:gd name="T89" fmla="*/ 38 h 465"/>
                <a:gd name="T90" fmla="*/ 123 w 398"/>
                <a:gd name="T91" fmla="*/ 17 h 465"/>
                <a:gd name="T92" fmla="*/ 162 w 398"/>
                <a:gd name="T93" fmla="*/ 5 h 465"/>
                <a:gd name="T94" fmla="*/ 206 w 398"/>
                <a:gd name="T95" fmla="*/ 0 h 465"/>
                <a:gd name="T96" fmla="*/ 229 w 398"/>
                <a:gd name="T97" fmla="*/ 3 h 465"/>
                <a:gd name="T98" fmla="*/ 275 w 398"/>
                <a:gd name="T99" fmla="*/ 13 h 465"/>
                <a:gd name="T100" fmla="*/ 323 w 398"/>
                <a:gd name="T101" fmla="*/ 194 h 465"/>
                <a:gd name="T102" fmla="*/ 318 w 398"/>
                <a:gd name="T103" fmla="*/ 171 h 465"/>
                <a:gd name="T104" fmla="*/ 310 w 398"/>
                <a:gd name="T105" fmla="*/ 133 h 465"/>
                <a:gd name="T106" fmla="*/ 302 w 398"/>
                <a:gd name="T107" fmla="*/ 119 h 465"/>
                <a:gd name="T108" fmla="*/ 285 w 398"/>
                <a:gd name="T109" fmla="*/ 94 h 465"/>
                <a:gd name="T110" fmla="*/ 262 w 398"/>
                <a:gd name="T111" fmla="*/ 77 h 465"/>
                <a:gd name="T112" fmla="*/ 235 w 398"/>
                <a:gd name="T113" fmla="*/ 69 h 465"/>
                <a:gd name="T114" fmla="*/ 202 w 398"/>
                <a:gd name="T115" fmla="*/ 65 h 465"/>
                <a:gd name="T116" fmla="*/ 177 w 398"/>
                <a:gd name="T117" fmla="*/ 67 h 465"/>
                <a:gd name="T118" fmla="*/ 136 w 398"/>
                <a:gd name="T119" fmla="*/ 86 h 465"/>
                <a:gd name="T120" fmla="*/ 117 w 398"/>
                <a:gd name="T121" fmla="*/ 102 h 465"/>
                <a:gd name="T122" fmla="*/ 92 w 398"/>
                <a:gd name="T123" fmla="*/ 144 h 465"/>
                <a:gd name="T124" fmla="*/ 81 w 398"/>
                <a:gd name="T125" fmla="*/ 19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8" h="465">
                  <a:moveTo>
                    <a:pt x="296" y="23"/>
                  </a:moveTo>
                  <a:lnTo>
                    <a:pt x="296" y="23"/>
                  </a:lnTo>
                  <a:lnTo>
                    <a:pt x="316" y="34"/>
                  </a:lnTo>
                  <a:lnTo>
                    <a:pt x="335" y="48"/>
                  </a:lnTo>
                  <a:lnTo>
                    <a:pt x="350" y="63"/>
                  </a:lnTo>
                  <a:lnTo>
                    <a:pt x="362" y="79"/>
                  </a:lnTo>
                  <a:lnTo>
                    <a:pt x="362" y="79"/>
                  </a:lnTo>
                  <a:lnTo>
                    <a:pt x="372" y="96"/>
                  </a:lnTo>
                  <a:lnTo>
                    <a:pt x="381" y="115"/>
                  </a:lnTo>
                  <a:lnTo>
                    <a:pt x="387" y="136"/>
                  </a:lnTo>
                  <a:lnTo>
                    <a:pt x="391" y="156"/>
                  </a:lnTo>
                  <a:lnTo>
                    <a:pt x="391" y="156"/>
                  </a:lnTo>
                  <a:lnTo>
                    <a:pt x="393" y="173"/>
                  </a:lnTo>
                  <a:lnTo>
                    <a:pt x="395" y="196"/>
                  </a:lnTo>
                  <a:lnTo>
                    <a:pt x="397" y="252"/>
                  </a:lnTo>
                  <a:lnTo>
                    <a:pt x="80" y="252"/>
                  </a:lnTo>
                  <a:lnTo>
                    <a:pt x="80" y="252"/>
                  </a:lnTo>
                  <a:lnTo>
                    <a:pt x="84" y="285"/>
                  </a:lnTo>
                  <a:lnTo>
                    <a:pt x="90" y="312"/>
                  </a:lnTo>
                  <a:lnTo>
                    <a:pt x="98" y="337"/>
                  </a:lnTo>
                  <a:lnTo>
                    <a:pt x="111" y="360"/>
                  </a:lnTo>
                  <a:lnTo>
                    <a:pt x="111" y="360"/>
                  </a:lnTo>
                  <a:lnTo>
                    <a:pt x="119" y="368"/>
                  </a:lnTo>
                  <a:lnTo>
                    <a:pt x="127" y="377"/>
                  </a:lnTo>
                  <a:lnTo>
                    <a:pt x="138" y="385"/>
                  </a:lnTo>
                  <a:lnTo>
                    <a:pt x="148" y="389"/>
                  </a:lnTo>
                  <a:lnTo>
                    <a:pt x="161" y="393"/>
                  </a:lnTo>
                  <a:lnTo>
                    <a:pt x="173" y="397"/>
                  </a:lnTo>
                  <a:lnTo>
                    <a:pt x="187" y="399"/>
                  </a:lnTo>
                  <a:lnTo>
                    <a:pt x="202" y="399"/>
                  </a:lnTo>
                  <a:lnTo>
                    <a:pt x="202" y="399"/>
                  </a:lnTo>
                  <a:lnTo>
                    <a:pt x="215" y="399"/>
                  </a:lnTo>
                  <a:lnTo>
                    <a:pt x="229" y="397"/>
                  </a:lnTo>
                  <a:lnTo>
                    <a:pt x="242" y="395"/>
                  </a:lnTo>
                  <a:lnTo>
                    <a:pt x="252" y="391"/>
                  </a:lnTo>
                  <a:lnTo>
                    <a:pt x="264" y="385"/>
                  </a:lnTo>
                  <a:lnTo>
                    <a:pt x="275" y="379"/>
                  </a:lnTo>
                  <a:lnTo>
                    <a:pt x="283" y="371"/>
                  </a:lnTo>
                  <a:lnTo>
                    <a:pt x="293" y="362"/>
                  </a:lnTo>
                  <a:lnTo>
                    <a:pt x="293" y="362"/>
                  </a:lnTo>
                  <a:lnTo>
                    <a:pt x="302" y="350"/>
                  </a:lnTo>
                  <a:lnTo>
                    <a:pt x="308" y="337"/>
                  </a:lnTo>
                  <a:lnTo>
                    <a:pt x="314" y="325"/>
                  </a:lnTo>
                  <a:lnTo>
                    <a:pt x="321" y="310"/>
                  </a:lnTo>
                  <a:lnTo>
                    <a:pt x="391" y="310"/>
                  </a:lnTo>
                  <a:lnTo>
                    <a:pt x="391" y="310"/>
                  </a:lnTo>
                  <a:lnTo>
                    <a:pt x="389" y="323"/>
                  </a:lnTo>
                  <a:lnTo>
                    <a:pt x="385" y="335"/>
                  </a:lnTo>
                  <a:lnTo>
                    <a:pt x="372" y="364"/>
                  </a:lnTo>
                  <a:lnTo>
                    <a:pt x="372" y="364"/>
                  </a:lnTo>
                  <a:lnTo>
                    <a:pt x="356" y="391"/>
                  </a:lnTo>
                  <a:lnTo>
                    <a:pt x="337" y="412"/>
                  </a:lnTo>
                  <a:lnTo>
                    <a:pt x="337" y="412"/>
                  </a:lnTo>
                  <a:lnTo>
                    <a:pt x="318" y="427"/>
                  </a:lnTo>
                  <a:lnTo>
                    <a:pt x="300" y="439"/>
                  </a:lnTo>
                  <a:lnTo>
                    <a:pt x="279" y="449"/>
                  </a:lnTo>
                  <a:lnTo>
                    <a:pt x="254" y="456"/>
                  </a:lnTo>
                  <a:lnTo>
                    <a:pt x="254" y="456"/>
                  </a:lnTo>
                  <a:lnTo>
                    <a:pt x="227" y="462"/>
                  </a:lnTo>
                  <a:lnTo>
                    <a:pt x="196" y="464"/>
                  </a:lnTo>
                  <a:lnTo>
                    <a:pt x="196" y="464"/>
                  </a:lnTo>
                  <a:lnTo>
                    <a:pt x="175" y="462"/>
                  </a:lnTo>
                  <a:lnTo>
                    <a:pt x="156" y="460"/>
                  </a:lnTo>
                  <a:lnTo>
                    <a:pt x="138" y="456"/>
                  </a:lnTo>
                  <a:lnTo>
                    <a:pt x="121" y="447"/>
                  </a:lnTo>
                  <a:lnTo>
                    <a:pt x="104" y="439"/>
                  </a:lnTo>
                  <a:lnTo>
                    <a:pt x="88" y="431"/>
                  </a:lnTo>
                  <a:lnTo>
                    <a:pt x="73" y="418"/>
                  </a:lnTo>
                  <a:lnTo>
                    <a:pt x="59" y="404"/>
                  </a:lnTo>
                  <a:lnTo>
                    <a:pt x="59" y="404"/>
                  </a:lnTo>
                  <a:lnTo>
                    <a:pt x="44" y="389"/>
                  </a:lnTo>
                  <a:lnTo>
                    <a:pt x="34" y="371"/>
                  </a:lnTo>
                  <a:lnTo>
                    <a:pt x="24" y="352"/>
                  </a:lnTo>
                  <a:lnTo>
                    <a:pt x="15" y="333"/>
                  </a:lnTo>
                  <a:lnTo>
                    <a:pt x="9" y="310"/>
                  </a:lnTo>
                  <a:lnTo>
                    <a:pt x="5" y="287"/>
                  </a:lnTo>
                  <a:lnTo>
                    <a:pt x="3" y="264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3" y="213"/>
                  </a:lnTo>
                  <a:lnTo>
                    <a:pt x="5" y="188"/>
                  </a:lnTo>
                  <a:lnTo>
                    <a:pt x="9" y="165"/>
                  </a:lnTo>
                  <a:lnTo>
                    <a:pt x="15" y="142"/>
                  </a:lnTo>
                  <a:lnTo>
                    <a:pt x="24" y="121"/>
                  </a:lnTo>
                  <a:lnTo>
                    <a:pt x="34" y="102"/>
                  </a:lnTo>
                  <a:lnTo>
                    <a:pt x="44" y="84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73" y="50"/>
                  </a:lnTo>
                  <a:lnTo>
                    <a:pt x="88" y="38"/>
                  </a:lnTo>
                  <a:lnTo>
                    <a:pt x="106" y="27"/>
                  </a:lnTo>
                  <a:lnTo>
                    <a:pt x="123" y="17"/>
                  </a:lnTo>
                  <a:lnTo>
                    <a:pt x="142" y="11"/>
                  </a:lnTo>
                  <a:lnTo>
                    <a:pt x="162" y="5"/>
                  </a:lnTo>
                  <a:lnTo>
                    <a:pt x="183" y="3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229" y="3"/>
                  </a:lnTo>
                  <a:lnTo>
                    <a:pt x="252" y="7"/>
                  </a:lnTo>
                  <a:lnTo>
                    <a:pt x="275" y="13"/>
                  </a:lnTo>
                  <a:lnTo>
                    <a:pt x="296" y="23"/>
                  </a:lnTo>
                  <a:close/>
                  <a:moveTo>
                    <a:pt x="323" y="194"/>
                  </a:moveTo>
                  <a:lnTo>
                    <a:pt x="323" y="194"/>
                  </a:lnTo>
                  <a:lnTo>
                    <a:pt x="318" y="171"/>
                  </a:lnTo>
                  <a:lnTo>
                    <a:pt x="314" y="152"/>
                  </a:lnTo>
                  <a:lnTo>
                    <a:pt x="310" y="133"/>
                  </a:lnTo>
                  <a:lnTo>
                    <a:pt x="302" y="119"/>
                  </a:lnTo>
                  <a:lnTo>
                    <a:pt x="302" y="119"/>
                  </a:lnTo>
                  <a:lnTo>
                    <a:pt x="293" y="106"/>
                  </a:lnTo>
                  <a:lnTo>
                    <a:pt x="285" y="94"/>
                  </a:lnTo>
                  <a:lnTo>
                    <a:pt x="273" y="86"/>
                  </a:lnTo>
                  <a:lnTo>
                    <a:pt x="262" y="77"/>
                  </a:lnTo>
                  <a:lnTo>
                    <a:pt x="248" y="73"/>
                  </a:lnTo>
                  <a:lnTo>
                    <a:pt x="235" y="69"/>
                  </a:lnTo>
                  <a:lnTo>
                    <a:pt x="219" y="65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177" y="67"/>
                  </a:lnTo>
                  <a:lnTo>
                    <a:pt x="156" y="73"/>
                  </a:lnTo>
                  <a:lnTo>
                    <a:pt x="136" y="86"/>
                  </a:lnTo>
                  <a:lnTo>
                    <a:pt x="117" y="102"/>
                  </a:lnTo>
                  <a:lnTo>
                    <a:pt x="117" y="102"/>
                  </a:lnTo>
                  <a:lnTo>
                    <a:pt x="102" y="121"/>
                  </a:lnTo>
                  <a:lnTo>
                    <a:pt x="92" y="144"/>
                  </a:lnTo>
                  <a:lnTo>
                    <a:pt x="86" y="167"/>
                  </a:lnTo>
                  <a:lnTo>
                    <a:pt x="81" y="194"/>
                  </a:lnTo>
                  <a:lnTo>
                    <a:pt x="323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5" name="Freeform 32">
              <a:extLst>
                <a:ext uri="{FF2B5EF4-FFF2-40B4-BE49-F238E27FC236}">
                  <a16:creationId xmlns:a16="http://schemas.microsoft.com/office/drawing/2014/main" id="{6FCB4770-00C6-3341-8CD5-EB3C4ABEDE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6388" y="3884613"/>
              <a:ext cx="128587" cy="161925"/>
            </a:xfrm>
            <a:custGeom>
              <a:avLst/>
              <a:gdLst>
                <a:gd name="T0" fmla="*/ 0 w 356"/>
                <a:gd name="T1" fmla="*/ 11 h 448"/>
                <a:gd name="T2" fmla="*/ 71 w 356"/>
                <a:gd name="T3" fmla="*/ 11 h 448"/>
                <a:gd name="T4" fmla="*/ 71 w 356"/>
                <a:gd name="T5" fmla="*/ 73 h 448"/>
                <a:gd name="T6" fmla="*/ 71 w 356"/>
                <a:gd name="T7" fmla="*/ 73 h 448"/>
                <a:gd name="T8" fmla="*/ 85 w 356"/>
                <a:gd name="T9" fmla="*/ 54 h 448"/>
                <a:gd name="T10" fmla="*/ 102 w 356"/>
                <a:gd name="T11" fmla="*/ 40 h 448"/>
                <a:gd name="T12" fmla="*/ 118 w 356"/>
                <a:gd name="T13" fmla="*/ 27 h 448"/>
                <a:gd name="T14" fmla="*/ 135 w 356"/>
                <a:gd name="T15" fmla="*/ 17 h 448"/>
                <a:gd name="T16" fmla="*/ 135 w 356"/>
                <a:gd name="T17" fmla="*/ 17 h 448"/>
                <a:gd name="T18" fmla="*/ 154 w 356"/>
                <a:gd name="T19" fmla="*/ 11 h 448"/>
                <a:gd name="T20" fmla="*/ 172 w 356"/>
                <a:gd name="T21" fmla="*/ 5 h 448"/>
                <a:gd name="T22" fmla="*/ 191 w 356"/>
                <a:gd name="T23" fmla="*/ 3 h 448"/>
                <a:gd name="T24" fmla="*/ 212 w 356"/>
                <a:gd name="T25" fmla="*/ 0 h 448"/>
                <a:gd name="T26" fmla="*/ 212 w 356"/>
                <a:gd name="T27" fmla="*/ 0 h 448"/>
                <a:gd name="T28" fmla="*/ 235 w 356"/>
                <a:gd name="T29" fmla="*/ 3 h 448"/>
                <a:gd name="T30" fmla="*/ 255 w 356"/>
                <a:gd name="T31" fmla="*/ 5 h 448"/>
                <a:gd name="T32" fmla="*/ 274 w 356"/>
                <a:gd name="T33" fmla="*/ 11 h 448"/>
                <a:gd name="T34" fmla="*/ 291 w 356"/>
                <a:gd name="T35" fmla="*/ 17 h 448"/>
                <a:gd name="T36" fmla="*/ 305 w 356"/>
                <a:gd name="T37" fmla="*/ 25 h 448"/>
                <a:gd name="T38" fmla="*/ 318 w 356"/>
                <a:gd name="T39" fmla="*/ 38 h 448"/>
                <a:gd name="T40" fmla="*/ 328 w 356"/>
                <a:gd name="T41" fmla="*/ 50 h 448"/>
                <a:gd name="T42" fmla="*/ 339 w 356"/>
                <a:gd name="T43" fmla="*/ 65 h 448"/>
                <a:gd name="T44" fmla="*/ 339 w 356"/>
                <a:gd name="T45" fmla="*/ 65 h 448"/>
                <a:gd name="T46" fmla="*/ 345 w 356"/>
                <a:gd name="T47" fmla="*/ 86 h 448"/>
                <a:gd name="T48" fmla="*/ 351 w 356"/>
                <a:gd name="T49" fmla="*/ 108 h 448"/>
                <a:gd name="T50" fmla="*/ 355 w 356"/>
                <a:gd name="T51" fmla="*/ 136 h 448"/>
                <a:gd name="T52" fmla="*/ 355 w 356"/>
                <a:gd name="T53" fmla="*/ 167 h 448"/>
                <a:gd name="T54" fmla="*/ 355 w 356"/>
                <a:gd name="T55" fmla="*/ 447 h 448"/>
                <a:gd name="T56" fmla="*/ 280 w 356"/>
                <a:gd name="T57" fmla="*/ 447 h 448"/>
                <a:gd name="T58" fmla="*/ 280 w 356"/>
                <a:gd name="T59" fmla="*/ 173 h 448"/>
                <a:gd name="T60" fmla="*/ 280 w 356"/>
                <a:gd name="T61" fmla="*/ 173 h 448"/>
                <a:gd name="T62" fmla="*/ 280 w 356"/>
                <a:gd name="T63" fmla="*/ 152 h 448"/>
                <a:gd name="T64" fmla="*/ 278 w 356"/>
                <a:gd name="T65" fmla="*/ 136 h 448"/>
                <a:gd name="T66" fmla="*/ 274 w 356"/>
                <a:gd name="T67" fmla="*/ 121 h 448"/>
                <a:gd name="T68" fmla="*/ 270 w 356"/>
                <a:gd name="T69" fmla="*/ 108 h 448"/>
                <a:gd name="T70" fmla="*/ 270 w 356"/>
                <a:gd name="T71" fmla="*/ 108 h 448"/>
                <a:gd name="T72" fmla="*/ 264 w 356"/>
                <a:gd name="T73" fmla="*/ 98 h 448"/>
                <a:gd name="T74" fmla="*/ 258 w 356"/>
                <a:gd name="T75" fmla="*/ 90 h 448"/>
                <a:gd name="T76" fmla="*/ 251 w 356"/>
                <a:gd name="T77" fmla="*/ 84 h 448"/>
                <a:gd name="T78" fmla="*/ 241 w 356"/>
                <a:gd name="T79" fmla="*/ 77 h 448"/>
                <a:gd name="T80" fmla="*/ 233 w 356"/>
                <a:gd name="T81" fmla="*/ 73 h 448"/>
                <a:gd name="T82" fmla="*/ 222 w 356"/>
                <a:gd name="T83" fmla="*/ 69 h 448"/>
                <a:gd name="T84" fmla="*/ 212 w 356"/>
                <a:gd name="T85" fmla="*/ 67 h 448"/>
                <a:gd name="T86" fmla="*/ 199 w 356"/>
                <a:gd name="T87" fmla="*/ 67 h 448"/>
                <a:gd name="T88" fmla="*/ 199 w 356"/>
                <a:gd name="T89" fmla="*/ 67 h 448"/>
                <a:gd name="T90" fmla="*/ 174 w 356"/>
                <a:gd name="T91" fmla="*/ 69 h 448"/>
                <a:gd name="T92" fmla="*/ 156 w 356"/>
                <a:gd name="T93" fmla="*/ 73 h 448"/>
                <a:gd name="T94" fmla="*/ 156 w 356"/>
                <a:gd name="T95" fmla="*/ 73 h 448"/>
                <a:gd name="T96" fmla="*/ 141 w 356"/>
                <a:gd name="T97" fmla="*/ 77 h 448"/>
                <a:gd name="T98" fmla="*/ 127 w 356"/>
                <a:gd name="T99" fmla="*/ 86 h 448"/>
                <a:gd name="T100" fmla="*/ 114 w 356"/>
                <a:gd name="T101" fmla="*/ 96 h 448"/>
                <a:gd name="T102" fmla="*/ 102 w 356"/>
                <a:gd name="T103" fmla="*/ 108 h 448"/>
                <a:gd name="T104" fmla="*/ 102 w 356"/>
                <a:gd name="T105" fmla="*/ 108 h 448"/>
                <a:gd name="T106" fmla="*/ 93 w 356"/>
                <a:gd name="T107" fmla="*/ 119 h 448"/>
                <a:gd name="T108" fmla="*/ 87 w 356"/>
                <a:gd name="T109" fmla="*/ 129 h 448"/>
                <a:gd name="T110" fmla="*/ 83 w 356"/>
                <a:gd name="T111" fmla="*/ 142 h 448"/>
                <a:gd name="T112" fmla="*/ 79 w 356"/>
                <a:gd name="T113" fmla="*/ 152 h 448"/>
                <a:gd name="T114" fmla="*/ 79 w 356"/>
                <a:gd name="T115" fmla="*/ 152 h 448"/>
                <a:gd name="T116" fmla="*/ 75 w 356"/>
                <a:gd name="T117" fmla="*/ 181 h 448"/>
                <a:gd name="T118" fmla="*/ 73 w 356"/>
                <a:gd name="T119" fmla="*/ 219 h 448"/>
                <a:gd name="T120" fmla="*/ 73 w 356"/>
                <a:gd name="T121" fmla="*/ 447 h 448"/>
                <a:gd name="T122" fmla="*/ 0 w 356"/>
                <a:gd name="T123" fmla="*/ 447 h 448"/>
                <a:gd name="T124" fmla="*/ 0 w 356"/>
                <a:gd name="T125" fmla="*/ 1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6" h="448">
                  <a:moveTo>
                    <a:pt x="0" y="11"/>
                  </a:moveTo>
                  <a:lnTo>
                    <a:pt x="71" y="11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85" y="54"/>
                  </a:lnTo>
                  <a:lnTo>
                    <a:pt x="102" y="40"/>
                  </a:lnTo>
                  <a:lnTo>
                    <a:pt x="118" y="2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54" y="11"/>
                  </a:lnTo>
                  <a:lnTo>
                    <a:pt x="172" y="5"/>
                  </a:lnTo>
                  <a:lnTo>
                    <a:pt x="191" y="3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5" y="3"/>
                  </a:lnTo>
                  <a:lnTo>
                    <a:pt x="255" y="5"/>
                  </a:lnTo>
                  <a:lnTo>
                    <a:pt x="274" y="11"/>
                  </a:lnTo>
                  <a:lnTo>
                    <a:pt x="291" y="17"/>
                  </a:lnTo>
                  <a:lnTo>
                    <a:pt x="305" y="25"/>
                  </a:lnTo>
                  <a:lnTo>
                    <a:pt x="318" y="38"/>
                  </a:lnTo>
                  <a:lnTo>
                    <a:pt x="328" y="50"/>
                  </a:lnTo>
                  <a:lnTo>
                    <a:pt x="339" y="65"/>
                  </a:lnTo>
                  <a:lnTo>
                    <a:pt x="339" y="65"/>
                  </a:lnTo>
                  <a:lnTo>
                    <a:pt x="345" y="86"/>
                  </a:lnTo>
                  <a:lnTo>
                    <a:pt x="351" y="108"/>
                  </a:lnTo>
                  <a:lnTo>
                    <a:pt x="355" y="136"/>
                  </a:lnTo>
                  <a:lnTo>
                    <a:pt x="355" y="167"/>
                  </a:lnTo>
                  <a:lnTo>
                    <a:pt x="355" y="447"/>
                  </a:lnTo>
                  <a:lnTo>
                    <a:pt x="280" y="447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52"/>
                  </a:lnTo>
                  <a:lnTo>
                    <a:pt x="278" y="136"/>
                  </a:lnTo>
                  <a:lnTo>
                    <a:pt x="274" y="121"/>
                  </a:lnTo>
                  <a:lnTo>
                    <a:pt x="270" y="108"/>
                  </a:lnTo>
                  <a:lnTo>
                    <a:pt x="270" y="108"/>
                  </a:lnTo>
                  <a:lnTo>
                    <a:pt x="264" y="98"/>
                  </a:lnTo>
                  <a:lnTo>
                    <a:pt x="258" y="90"/>
                  </a:lnTo>
                  <a:lnTo>
                    <a:pt x="251" y="84"/>
                  </a:lnTo>
                  <a:lnTo>
                    <a:pt x="241" y="77"/>
                  </a:lnTo>
                  <a:lnTo>
                    <a:pt x="233" y="73"/>
                  </a:lnTo>
                  <a:lnTo>
                    <a:pt x="222" y="69"/>
                  </a:lnTo>
                  <a:lnTo>
                    <a:pt x="212" y="67"/>
                  </a:lnTo>
                  <a:lnTo>
                    <a:pt x="199" y="67"/>
                  </a:lnTo>
                  <a:lnTo>
                    <a:pt x="199" y="67"/>
                  </a:lnTo>
                  <a:lnTo>
                    <a:pt x="174" y="69"/>
                  </a:lnTo>
                  <a:lnTo>
                    <a:pt x="156" y="73"/>
                  </a:lnTo>
                  <a:lnTo>
                    <a:pt x="156" y="73"/>
                  </a:lnTo>
                  <a:lnTo>
                    <a:pt x="141" y="77"/>
                  </a:lnTo>
                  <a:lnTo>
                    <a:pt x="127" y="86"/>
                  </a:lnTo>
                  <a:lnTo>
                    <a:pt x="114" y="96"/>
                  </a:lnTo>
                  <a:lnTo>
                    <a:pt x="102" y="108"/>
                  </a:lnTo>
                  <a:lnTo>
                    <a:pt x="102" y="108"/>
                  </a:lnTo>
                  <a:lnTo>
                    <a:pt x="93" y="119"/>
                  </a:lnTo>
                  <a:lnTo>
                    <a:pt x="87" y="129"/>
                  </a:lnTo>
                  <a:lnTo>
                    <a:pt x="83" y="142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75" y="181"/>
                  </a:lnTo>
                  <a:lnTo>
                    <a:pt x="73" y="219"/>
                  </a:lnTo>
                  <a:lnTo>
                    <a:pt x="73" y="447"/>
                  </a:lnTo>
                  <a:lnTo>
                    <a:pt x="0" y="447"/>
                  </a:lnTo>
                  <a:lnTo>
                    <a:pt x="0" y="1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" name="Freeform 33">
              <a:extLst>
                <a:ext uri="{FF2B5EF4-FFF2-40B4-BE49-F238E27FC236}">
                  <a16:creationId xmlns:a16="http://schemas.microsoft.com/office/drawing/2014/main" id="{410FAD5C-2CA6-2049-9103-FFD53D8F6A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7200" y="3844925"/>
              <a:ext cx="73025" cy="204788"/>
            </a:xfrm>
            <a:custGeom>
              <a:avLst/>
              <a:gdLst>
                <a:gd name="T0" fmla="*/ 60 w 204"/>
                <a:gd name="T1" fmla="*/ 0 h 567"/>
                <a:gd name="T2" fmla="*/ 132 w 204"/>
                <a:gd name="T3" fmla="*/ 0 h 567"/>
                <a:gd name="T4" fmla="*/ 132 w 204"/>
                <a:gd name="T5" fmla="*/ 123 h 567"/>
                <a:gd name="T6" fmla="*/ 203 w 204"/>
                <a:gd name="T7" fmla="*/ 123 h 567"/>
                <a:gd name="T8" fmla="*/ 203 w 204"/>
                <a:gd name="T9" fmla="*/ 183 h 567"/>
                <a:gd name="T10" fmla="*/ 132 w 204"/>
                <a:gd name="T11" fmla="*/ 183 h 567"/>
                <a:gd name="T12" fmla="*/ 132 w 204"/>
                <a:gd name="T13" fmla="*/ 468 h 567"/>
                <a:gd name="T14" fmla="*/ 132 w 204"/>
                <a:gd name="T15" fmla="*/ 468 h 567"/>
                <a:gd name="T16" fmla="*/ 135 w 204"/>
                <a:gd name="T17" fmla="*/ 478 h 567"/>
                <a:gd name="T18" fmla="*/ 137 w 204"/>
                <a:gd name="T19" fmla="*/ 487 h 567"/>
                <a:gd name="T20" fmla="*/ 143 w 204"/>
                <a:gd name="T21" fmla="*/ 493 h 567"/>
                <a:gd name="T22" fmla="*/ 149 w 204"/>
                <a:gd name="T23" fmla="*/ 499 h 567"/>
                <a:gd name="T24" fmla="*/ 149 w 204"/>
                <a:gd name="T25" fmla="*/ 499 h 567"/>
                <a:gd name="T26" fmla="*/ 160 w 204"/>
                <a:gd name="T27" fmla="*/ 501 h 567"/>
                <a:gd name="T28" fmla="*/ 178 w 204"/>
                <a:gd name="T29" fmla="*/ 503 h 567"/>
                <a:gd name="T30" fmla="*/ 178 w 204"/>
                <a:gd name="T31" fmla="*/ 503 h 567"/>
                <a:gd name="T32" fmla="*/ 189 w 204"/>
                <a:gd name="T33" fmla="*/ 503 h 567"/>
                <a:gd name="T34" fmla="*/ 189 w 204"/>
                <a:gd name="T35" fmla="*/ 503 h 567"/>
                <a:gd name="T36" fmla="*/ 203 w 204"/>
                <a:gd name="T37" fmla="*/ 501 h 567"/>
                <a:gd name="T38" fmla="*/ 203 w 204"/>
                <a:gd name="T39" fmla="*/ 559 h 567"/>
                <a:gd name="T40" fmla="*/ 203 w 204"/>
                <a:gd name="T41" fmla="*/ 559 h 567"/>
                <a:gd name="T42" fmla="*/ 176 w 204"/>
                <a:gd name="T43" fmla="*/ 566 h 567"/>
                <a:gd name="T44" fmla="*/ 176 w 204"/>
                <a:gd name="T45" fmla="*/ 566 h 567"/>
                <a:gd name="T46" fmla="*/ 147 w 204"/>
                <a:gd name="T47" fmla="*/ 566 h 567"/>
                <a:gd name="T48" fmla="*/ 147 w 204"/>
                <a:gd name="T49" fmla="*/ 566 h 567"/>
                <a:gd name="T50" fmla="*/ 124 w 204"/>
                <a:gd name="T51" fmla="*/ 566 h 567"/>
                <a:gd name="T52" fmla="*/ 103 w 204"/>
                <a:gd name="T53" fmla="*/ 559 h 567"/>
                <a:gd name="T54" fmla="*/ 89 w 204"/>
                <a:gd name="T55" fmla="*/ 551 h 567"/>
                <a:gd name="T56" fmla="*/ 83 w 204"/>
                <a:gd name="T57" fmla="*/ 547 h 567"/>
                <a:gd name="T58" fmla="*/ 76 w 204"/>
                <a:gd name="T59" fmla="*/ 541 h 567"/>
                <a:gd name="T60" fmla="*/ 76 w 204"/>
                <a:gd name="T61" fmla="*/ 541 h 567"/>
                <a:gd name="T62" fmla="*/ 70 w 204"/>
                <a:gd name="T63" fmla="*/ 526 h 567"/>
                <a:gd name="T64" fmla="*/ 64 w 204"/>
                <a:gd name="T65" fmla="*/ 509 h 567"/>
                <a:gd name="T66" fmla="*/ 60 w 204"/>
                <a:gd name="T67" fmla="*/ 493 h 567"/>
                <a:gd name="T68" fmla="*/ 60 w 204"/>
                <a:gd name="T69" fmla="*/ 472 h 567"/>
                <a:gd name="T70" fmla="*/ 60 w 204"/>
                <a:gd name="T71" fmla="*/ 183 h 567"/>
                <a:gd name="T72" fmla="*/ 0 w 204"/>
                <a:gd name="T73" fmla="*/ 183 h 567"/>
                <a:gd name="T74" fmla="*/ 0 w 204"/>
                <a:gd name="T75" fmla="*/ 123 h 567"/>
                <a:gd name="T76" fmla="*/ 60 w 204"/>
                <a:gd name="T77" fmla="*/ 123 h 567"/>
                <a:gd name="T78" fmla="*/ 60 w 204"/>
                <a:gd name="T79" fmla="*/ 0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" h="567">
                  <a:moveTo>
                    <a:pt x="60" y="0"/>
                  </a:moveTo>
                  <a:lnTo>
                    <a:pt x="132" y="0"/>
                  </a:lnTo>
                  <a:lnTo>
                    <a:pt x="132" y="123"/>
                  </a:lnTo>
                  <a:lnTo>
                    <a:pt x="203" y="123"/>
                  </a:lnTo>
                  <a:lnTo>
                    <a:pt x="203" y="183"/>
                  </a:lnTo>
                  <a:lnTo>
                    <a:pt x="132" y="183"/>
                  </a:lnTo>
                  <a:lnTo>
                    <a:pt x="132" y="468"/>
                  </a:lnTo>
                  <a:lnTo>
                    <a:pt x="132" y="468"/>
                  </a:lnTo>
                  <a:lnTo>
                    <a:pt x="135" y="478"/>
                  </a:lnTo>
                  <a:lnTo>
                    <a:pt x="137" y="487"/>
                  </a:lnTo>
                  <a:lnTo>
                    <a:pt x="143" y="493"/>
                  </a:lnTo>
                  <a:lnTo>
                    <a:pt x="149" y="499"/>
                  </a:lnTo>
                  <a:lnTo>
                    <a:pt x="149" y="499"/>
                  </a:lnTo>
                  <a:lnTo>
                    <a:pt x="160" y="501"/>
                  </a:lnTo>
                  <a:lnTo>
                    <a:pt x="178" y="503"/>
                  </a:lnTo>
                  <a:lnTo>
                    <a:pt x="178" y="503"/>
                  </a:lnTo>
                  <a:lnTo>
                    <a:pt x="189" y="503"/>
                  </a:lnTo>
                  <a:lnTo>
                    <a:pt x="189" y="503"/>
                  </a:lnTo>
                  <a:lnTo>
                    <a:pt x="203" y="501"/>
                  </a:lnTo>
                  <a:lnTo>
                    <a:pt x="203" y="559"/>
                  </a:lnTo>
                  <a:lnTo>
                    <a:pt x="203" y="559"/>
                  </a:lnTo>
                  <a:lnTo>
                    <a:pt x="176" y="566"/>
                  </a:lnTo>
                  <a:lnTo>
                    <a:pt x="176" y="566"/>
                  </a:lnTo>
                  <a:lnTo>
                    <a:pt x="147" y="566"/>
                  </a:lnTo>
                  <a:lnTo>
                    <a:pt x="147" y="566"/>
                  </a:lnTo>
                  <a:lnTo>
                    <a:pt x="124" y="566"/>
                  </a:lnTo>
                  <a:lnTo>
                    <a:pt x="103" y="559"/>
                  </a:lnTo>
                  <a:lnTo>
                    <a:pt x="89" y="551"/>
                  </a:lnTo>
                  <a:lnTo>
                    <a:pt x="83" y="547"/>
                  </a:lnTo>
                  <a:lnTo>
                    <a:pt x="76" y="541"/>
                  </a:lnTo>
                  <a:lnTo>
                    <a:pt x="76" y="541"/>
                  </a:lnTo>
                  <a:lnTo>
                    <a:pt x="70" y="526"/>
                  </a:lnTo>
                  <a:lnTo>
                    <a:pt x="64" y="509"/>
                  </a:lnTo>
                  <a:lnTo>
                    <a:pt x="60" y="493"/>
                  </a:lnTo>
                  <a:lnTo>
                    <a:pt x="60" y="472"/>
                  </a:lnTo>
                  <a:lnTo>
                    <a:pt x="60" y="183"/>
                  </a:lnTo>
                  <a:lnTo>
                    <a:pt x="0" y="183"/>
                  </a:lnTo>
                  <a:lnTo>
                    <a:pt x="0" y="123"/>
                  </a:lnTo>
                  <a:lnTo>
                    <a:pt x="60" y="123"/>
                  </a:lnTo>
                  <a:lnTo>
                    <a:pt x="6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" name="Freeform 34">
              <a:extLst>
                <a:ext uri="{FF2B5EF4-FFF2-40B4-BE49-F238E27FC236}">
                  <a16:creationId xmlns:a16="http://schemas.microsoft.com/office/drawing/2014/main" id="{2701D1CB-BFA5-2C44-86E6-C2BB89E1A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5000" y="3824288"/>
              <a:ext cx="190500" cy="228600"/>
            </a:xfrm>
            <a:custGeom>
              <a:avLst/>
              <a:gdLst>
                <a:gd name="T0" fmla="*/ 465 w 527"/>
                <a:gd name="T1" fmla="*/ 75 h 633"/>
                <a:gd name="T2" fmla="*/ 499 w 527"/>
                <a:gd name="T3" fmla="*/ 125 h 633"/>
                <a:gd name="T4" fmla="*/ 517 w 527"/>
                <a:gd name="T5" fmla="*/ 177 h 633"/>
                <a:gd name="T6" fmla="*/ 440 w 527"/>
                <a:gd name="T7" fmla="*/ 195 h 633"/>
                <a:gd name="T8" fmla="*/ 405 w 527"/>
                <a:gd name="T9" fmla="*/ 123 h 633"/>
                <a:gd name="T10" fmla="*/ 376 w 527"/>
                <a:gd name="T11" fmla="*/ 96 h 633"/>
                <a:gd name="T12" fmla="*/ 341 w 527"/>
                <a:gd name="T13" fmla="*/ 79 h 633"/>
                <a:gd name="T14" fmla="*/ 276 w 527"/>
                <a:gd name="T15" fmla="*/ 71 h 633"/>
                <a:gd name="T16" fmla="*/ 216 w 527"/>
                <a:gd name="T17" fmla="*/ 79 h 633"/>
                <a:gd name="T18" fmla="*/ 164 w 527"/>
                <a:gd name="T19" fmla="*/ 106 h 633"/>
                <a:gd name="T20" fmla="*/ 135 w 527"/>
                <a:gd name="T21" fmla="*/ 133 h 633"/>
                <a:gd name="T22" fmla="*/ 104 w 527"/>
                <a:gd name="T23" fmla="*/ 189 h 633"/>
                <a:gd name="T24" fmla="*/ 85 w 527"/>
                <a:gd name="T25" fmla="*/ 264 h 633"/>
                <a:gd name="T26" fmla="*/ 83 w 527"/>
                <a:gd name="T27" fmla="*/ 324 h 633"/>
                <a:gd name="T28" fmla="*/ 89 w 527"/>
                <a:gd name="T29" fmla="*/ 397 h 633"/>
                <a:gd name="T30" fmla="*/ 110 w 527"/>
                <a:gd name="T31" fmla="*/ 459 h 633"/>
                <a:gd name="T32" fmla="*/ 131 w 527"/>
                <a:gd name="T33" fmla="*/ 495 h 633"/>
                <a:gd name="T34" fmla="*/ 174 w 527"/>
                <a:gd name="T35" fmla="*/ 534 h 633"/>
                <a:gd name="T36" fmla="*/ 231 w 527"/>
                <a:gd name="T37" fmla="*/ 555 h 633"/>
                <a:gd name="T38" fmla="*/ 274 w 527"/>
                <a:gd name="T39" fmla="*/ 559 h 633"/>
                <a:gd name="T40" fmla="*/ 334 w 527"/>
                <a:gd name="T41" fmla="*/ 551 h 633"/>
                <a:gd name="T42" fmla="*/ 384 w 527"/>
                <a:gd name="T43" fmla="*/ 522 h 633"/>
                <a:gd name="T44" fmla="*/ 409 w 527"/>
                <a:gd name="T45" fmla="*/ 491 h 633"/>
                <a:gd name="T46" fmla="*/ 438 w 527"/>
                <a:gd name="T47" fmla="*/ 424 h 633"/>
                <a:gd name="T48" fmla="*/ 526 w 527"/>
                <a:gd name="T49" fmla="*/ 395 h 633"/>
                <a:gd name="T50" fmla="*/ 509 w 527"/>
                <a:gd name="T51" fmla="*/ 462 h 633"/>
                <a:gd name="T52" fmla="*/ 482 w 527"/>
                <a:gd name="T53" fmla="*/ 520 h 633"/>
                <a:gd name="T54" fmla="*/ 455 w 527"/>
                <a:gd name="T55" fmla="*/ 555 h 633"/>
                <a:gd name="T56" fmla="*/ 395 w 527"/>
                <a:gd name="T57" fmla="*/ 601 h 633"/>
                <a:gd name="T58" fmla="*/ 322 w 527"/>
                <a:gd name="T59" fmla="*/ 626 h 633"/>
                <a:gd name="T60" fmla="*/ 266 w 527"/>
                <a:gd name="T61" fmla="*/ 632 h 633"/>
                <a:gd name="T62" fmla="*/ 193 w 527"/>
                <a:gd name="T63" fmla="*/ 622 h 633"/>
                <a:gd name="T64" fmla="*/ 129 w 527"/>
                <a:gd name="T65" fmla="*/ 597 h 633"/>
                <a:gd name="T66" fmla="*/ 91 w 527"/>
                <a:gd name="T67" fmla="*/ 567 h 633"/>
                <a:gd name="T68" fmla="*/ 35 w 527"/>
                <a:gd name="T69" fmla="*/ 493 h 633"/>
                <a:gd name="T70" fmla="*/ 4 w 527"/>
                <a:gd name="T71" fmla="*/ 391 h 633"/>
                <a:gd name="T72" fmla="*/ 0 w 527"/>
                <a:gd name="T73" fmla="*/ 310 h 633"/>
                <a:gd name="T74" fmla="*/ 8 w 527"/>
                <a:gd name="T75" fmla="*/ 216 h 633"/>
                <a:gd name="T76" fmla="*/ 37 w 527"/>
                <a:gd name="T77" fmla="*/ 137 h 633"/>
                <a:gd name="T78" fmla="*/ 68 w 527"/>
                <a:gd name="T79" fmla="*/ 91 h 633"/>
                <a:gd name="T80" fmla="*/ 133 w 527"/>
                <a:gd name="T81" fmla="*/ 35 h 633"/>
                <a:gd name="T82" fmla="*/ 214 w 527"/>
                <a:gd name="T83" fmla="*/ 6 h 633"/>
                <a:gd name="T84" fmla="*/ 276 w 527"/>
                <a:gd name="T85" fmla="*/ 0 h 633"/>
                <a:gd name="T86" fmla="*/ 353 w 527"/>
                <a:gd name="T87" fmla="*/ 8 h 633"/>
                <a:gd name="T88" fmla="*/ 415 w 527"/>
                <a:gd name="T89" fmla="*/ 33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7" h="633">
                  <a:moveTo>
                    <a:pt x="451" y="60"/>
                  </a:moveTo>
                  <a:lnTo>
                    <a:pt x="451" y="60"/>
                  </a:lnTo>
                  <a:lnTo>
                    <a:pt x="465" y="75"/>
                  </a:lnTo>
                  <a:lnTo>
                    <a:pt x="478" y="91"/>
                  </a:lnTo>
                  <a:lnTo>
                    <a:pt x="488" y="108"/>
                  </a:lnTo>
                  <a:lnTo>
                    <a:pt x="499" y="125"/>
                  </a:lnTo>
                  <a:lnTo>
                    <a:pt x="507" y="141"/>
                  </a:lnTo>
                  <a:lnTo>
                    <a:pt x="511" y="158"/>
                  </a:lnTo>
                  <a:lnTo>
                    <a:pt x="517" y="177"/>
                  </a:lnTo>
                  <a:lnTo>
                    <a:pt x="519" y="195"/>
                  </a:lnTo>
                  <a:lnTo>
                    <a:pt x="440" y="195"/>
                  </a:lnTo>
                  <a:lnTo>
                    <a:pt x="440" y="195"/>
                  </a:lnTo>
                  <a:lnTo>
                    <a:pt x="432" y="168"/>
                  </a:lnTo>
                  <a:lnTo>
                    <a:pt x="420" y="143"/>
                  </a:lnTo>
                  <a:lnTo>
                    <a:pt x="405" y="123"/>
                  </a:lnTo>
                  <a:lnTo>
                    <a:pt x="386" y="104"/>
                  </a:lnTo>
                  <a:lnTo>
                    <a:pt x="386" y="104"/>
                  </a:lnTo>
                  <a:lnTo>
                    <a:pt x="376" y="96"/>
                  </a:lnTo>
                  <a:lnTo>
                    <a:pt x="366" y="89"/>
                  </a:lnTo>
                  <a:lnTo>
                    <a:pt x="353" y="83"/>
                  </a:lnTo>
                  <a:lnTo>
                    <a:pt x="341" y="79"/>
                  </a:lnTo>
                  <a:lnTo>
                    <a:pt x="309" y="73"/>
                  </a:lnTo>
                  <a:lnTo>
                    <a:pt x="276" y="71"/>
                  </a:lnTo>
                  <a:lnTo>
                    <a:pt x="276" y="71"/>
                  </a:lnTo>
                  <a:lnTo>
                    <a:pt x="255" y="71"/>
                  </a:lnTo>
                  <a:lnTo>
                    <a:pt x="235" y="75"/>
                  </a:lnTo>
                  <a:lnTo>
                    <a:pt x="216" y="79"/>
                  </a:lnTo>
                  <a:lnTo>
                    <a:pt x="197" y="85"/>
                  </a:lnTo>
                  <a:lnTo>
                    <a:pt x="181" y="96"/>
                  </a:lnTo>
                  <a:lnTo>
                    <a:pt x="164" y="106"/>
                  </a:lnTo>
                  <a:lnTo>
                    <a:pt x="149" y="118"/>
                  </a:lnTo>
                  <a:lnTo>
                    <a:pt x="135" y="133"/>
                  </a:lnTo>
                  <a:lnTo>
                    <a:pt x="135" y="133"/>
                  </a:lnTo>
                  <a:lnTo>
                    <a:pt x="122" y="150"/>
                  </a:lnTo>
                  <a:lnTo>
                    <a:pt x="112" y="168"/>
                  </a:lnTo>
                  <a:lnTo>
                    <a:pt x="104" y="189"/>
                  </a:lnTo>
                  <a:lnTo>
                    <a:pt x="96" y="212"/>
                  </a:lnTo>
                  <a:lnTo>
                    <a:pt x="89" y="237"/>
                  </a:lnTo>
                  <a:lnTo>
                    <a:pt x="85" y="264"/>
                  </a:lnTo>
                  <a:lnTo>
                    <a:pt x="83" y="293"/>
                  </a:lnTo>
                  <a:lnTo>
                    <a:pt x="83" y="324"/>
                  </a:lnTo>
                  <a:lnTo>
                    <a:pt x="83" y="324"/>
                  </a:lnTo>
                  <a:lnTo>
                    <a:pt x="83" y="349"/>
                  </a:lnTo>
                  <a:lnTo>
                    <a:pt x="85" y="374"/>
                  </a:lnTo>
                  <a:lnTo>
                    <a:pt x="89" y="397"/>
                  </a:lnTo>
                  <a:lnTo>
                    <a:pt x="96" y="420"/>
                  </a:lnTo>
                  <a:lnTo>
                    <a:pt x="102" y="441"/>
                  </a:lnTo>
                  <a:lnTo>
                    <a:pt x="110" y="459"/>
                  </a:lnTo>
                  <a:lnTo>
                    <a:pt x="121" y="478"/>
                  </a:lnTo>
                  <a:lnTo>
                    <a:pt x="131" y="495"/>
                  </a:lnTo>
                  <a:lnTo>
                    <a:pt x="131" y="495"/>
                  </a:lnTo>
                  <a:lnTo>
                    <a:pt x="143" y="509"/>
                  </a:lnTo>
                  <a:lnTo>
                    <a:pt x="158" y="524"/>
                  </a:lnTo>
                  <a:lnTo>
                    <a:pt x="174" y="534"/>
                  </a:lnTo>
                  <a:lnTo>
                    <a:pt x="191" y="545"/>
                  </a:lnTo>
                  <a:lnTo>
                    <a:pt x="210" y="551"/>
                  </a:lnTo>
                  <a:lnTo>
                    <a:pt x="231" y="555"/>
                  </a:lnTo>
                  <a:lnTo>
                    <a:pt x="251" y="559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97" y="559"/>
                  </a:lnTo>
                  <a:lnTo>
                    <a:pt x="316" y="555"/>
                  </a:lnTo>
                  <a:lnTo>
                    <a:pt x="334" y="551"/>
                  </a:lnTo>
                  <a:lnTo>
                    <a:pt x="353" y="543"/>
                  </a:lnTo>
                  <a:lnTo>
                    <a:pt x="368" y="532"/>
                  </a:lnTo>
                  <a:lnTo>
                    <a:pt x="384" y="522"/>
                  </a:lnTo>
                  <a:lnTo>
                    <a:pt x="397" y="507"/>
                  </a:lnTo>
                  <a:lnTo>
                    <a:pt x="409" y="491"/>
                  </a:lnTo>
                  <a:lnTo>
                    <a:pt x="409" y="491"/>
                  </a:lnTo>
                  <a:lnTo>
                    <a:pt x="420" y="472"/>
                  </a:lnTo>
                  <a:lnTo>
                    <a:pt x="430" y="449"/>
                  </a:lnTo>
                  <a:lnTo>
                    <a:pt x="438" y="424"/>
                  </a:lnTo>
                  <a:lnTo>
                    <a:pt x="445" y="395"/>
                  </a:lnTo>
                  <a:lnTo>
                    <a:pt x="526" y="395"/>
                  </a:lnTo>
                  <a:lnTo>
                    <a:pt x="526" y="395"/>
                  </a:lnTo>
                  <a:lnTo>
                    <a:pt x="521" y="418"/>
                  </a:lnTo>
                  <a:lnTo>
                    <a:pt x="517" y="441"/>
                  </a:lnTo>
                  <a:lnTo>
                    <a:pt x="509" y="462"/>
                  </a:lnTo>
                  <a:lnTo>
                    <a:pt x="503" y="482"/>
                  </a:lnTo>
                  <a:lnTo>
                    <a:pt x="492" y="501"/>
                  </a:lnTo>
                  <a:lnTo>
                    <a:pt x="482" y="520"/>
                  </a:lnTo>
                  <a:lnTo>
                    <a:pt x="469" y="539"/>
                  </a:lnTo>
                  <a:lnTo>
                    <a:pt x="455" y="555"/>
                  </a:lnTo>
                  <a:lnTo>
                    <a:pt x="455" y="555"/>
                  </a:lnTo>
                  <a:lnTo>
                    <a:pt x="436" y="572"/>
                  </a:lnTo>
                  <a:lnTo>
                    <a:pt x="418" y="588"/>
                  </a:lnTo>
                  <a:lnTo>
                    <a:pt x="395" y="601"/>
                  </a:lnTo>
                  <a:lnTo>
                    <a:pt x="372" y="611"/>
                  </a:lnTo>
                  <a:lnTo>
                    <a:pt x="347" y="622"/>
                  </a:lnTo>
                  <a:lnTo>
                    <a:pt x="322" y="626"/>
                  </a:lnTo>
                  <a:lnTo>
                    <a:pt x="295" y="630"/>
                  </a:lnTo>
                  <a:lnTo>
                    <a:pt x="266" y="632"/>
                  </a:lnTo>
                  <a:lnTo>
                    <a:pt x="266" y="632"/>
                  </a:lnTo>
                  <a:lnTo>
                    <a:pt x="239" y="630"/>
                  </a:lnTo>
                  <a:lnTo>
                    <a:pt x="216" y="628"/>
                  </a:lnTo>
                  <a:lnTo>
                    <a:pt x="193" y="622"/>
                  </a:lnTo>
                  <a:lnTo>
                    <a:pt x="170" y="615"/>
                  </a:lnTo>
                  <a:lnTo>
                    <a:pt x="149" y="607"/>
                  </a:lnTo>
                  <a:lnTo>
                    <a:pt x="129" y="597"/>
                  </a:lnTo>
                  <a:lnTo>
                    <a:pt x="110" y="582"/>
                  </a:lnTo>
                  <a:lnTo>
                    <a:pt x="91" y="567"/>
                  </a:lnTo>
                  <a:lnTo>
                    <a:pt x="91" y="567"/>
                  </a:lnTo>
                  <a:lnTo>
                    <a:pt x="71" y="547"/>
                  </a:lnTo>
                  <a:lnTo>
                    <a:pt x="52" y="520"/>
                  </a:lnTo>
                  <a:lnTo>
                    <a:pt x="35" y="493"/>
                  </a:lnTo>
                  <a:lnTo>
                    <a:pt x="23" y="462"/>
                  </a:lnTo>
                  <a:lnTo>
                    <a:pt x="12" y="428"/>
                  </a:lnTo>
                  <a:lnTo>
                    <a:pt x="4" y="391"/>
                  </a:lnTo>
                  <a:lnTo>
                    <a:pt x="0" y="351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276"/>
                  </a:lnTo>
                  <a:lnTo>
                    <a:pt x="4" y="247"/>
                  </a:lnTo>
                  <a:lnTo>
                    <a:pt x="8" y="216"/>
                  </a:lnTo>
                  <a:lnTo>
                    <a:pt x="17" y="189"/>
                  </a:lnTo>
                  <a:lnTo>
                    <a:pt x="27" y="162"/>
                  </a:lnTo>
                  <a:lnTo>
                    <a:pt x="37" y="137"/>
                  </a:lnTo>
                  <a:lnTo>
                    <a:pt x="52" y="114"/>
                  </a:lnTo>
                  <a:lnTo>
                    <a:pt x="68" y="91"/>
                  </a:lnTo>
                  <a:lnTo>
                    <a:pt x="68" y="91"/>
                  </a:lnTo>
                  <a:lnTo>
                    <a:pt x="89" y="71"/>
                  </a:lnTo>
                  <a:lnTo>
                    <a:pt x="110" y="52"/>
                  </a:lnTo>
                  <a:lnTo>
                    <a:pt x="133" y="35"/>
                  </a:lnTo>
                  <a:lnTo>
                    <a:pt x="158" y="23"/>
                  </a:lnTo>
                  <a:lnTo>
                    <a:pt x="185" y="13"/>
                  </a:lnTo>
                  <a:lnTo>
                    <a:pt x="214" y="6"/>
                  </a:lnTo>
                  <a:lnTo>
                    <a:pt x="243" y="2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303" y="0"/>
                  </a:lnTo>
                  <a:lnTo>
                    <a:pt x="328" y="4"/>
                  </a:lnTo>
                  <a:lnTo>
                    <a:pt x="353" y="8"/>
                  </a:lnTo>
                  <a:lnTo>
                    <a:pt x="376" y="14"/>
                  </a:lnTo>
                  <a:lnTo>
                    <a:pt x="397" y="23"/>
                  </a:lnTo>
                  <a:lnTo>
                    <a:pt x="415" y="33"/>
                  </a:lnTo>
                  <a:lnTo>
                    <a:pt x="434" y="46"/>
                  </a:lnTo>
                  <a:lnTo>
                    <a:pt x="451" y="6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8" name="Freeform 35">
              <a:extLst>
                <a:ext uri="{FF2B5EF4-FFF2-40B4-BE49-F238E27FC236}">
                  <a16:creationId xmlns:a16="http://schemas.microsoft.com/office/drawing/2014/main" id="{8D1F6601-D1A0-484E-A7C0-C7B6A5FC74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9313" y="3884613"/>
              <a:ext cx="149225" cy="166687"/>
            </a:xfrm>
            <a:custGeom>
              <a:avLst/>
              <a:gdLst>
                <a:gd name="T0" fmla="*/ 268 w 415"/>
                <a:gd name="T1" fmla="*/ 181 h 463"/>
                <a:gd name="T2" fmla="*/ 289 w 415"/>
                <a:gd name="T3" fmla="*/ 163 h 463"/>
                <a:gd name="T4" fmla="*/ 295 w 415"/>
                <a:gd name="T5" fmla="*/ 133 h 463"/>
                <a:gd name="T6" fmla="*/ 287 w 415"/>
                <a:gd name="T7" fmla="*/ 100 h 463"/>
                <a:gd name="T8" fmla="*/ 268 w 415"/>
                <a:gd name="T9" fmla="*/ 79 h 463"/>
                <a:gd name="T10" fmla="*/ 214 w 415"/>
                <a:gd name="T11" fmla="*/ 63 h 463"/>
                <a:gd name="T12" fmla="*/ 164 w 415"/>
                <a:gd name="T13" fmla="*/ 65 h 463"/>
                <a:gd name="T14" fmla="*/ 125 w 415"/>
                <a:gd name="T15" fmla="*/ 79 h 463"/>
                <a:gd name="T16" fmla="*/ 110 w 415"/>
                <a:gd name="T17" fmla="*/ 94 h 463"/>
                <a:gd name="T18" fmla="*/ 96 w 415"/>
                <a:gd name="T19" fmla="*/ 129 h 463"/>
                <a:gd name="T20" fmla="*/ 23 w 415"/>
                <a:gd name="T21" fmla="*/ 144 h 463"/>
                <a:gd name="T22" fmla="*/ 32 w 415"/>
                <a:gd name="T23" fmla="*/ 90 h 463"/>
                <a:gd name="T24" fmla="*/ 54 w 415"/>
                <a:gd name="T25" fmla="*/ 50 h 463"/>
                <a:gd name="T26" fmla="*/ 77 w 415"/>
                <a:gd name="T27" fmla="*/ 31 h 463"/>
                <a:gd name="T28" fmla="*/ 160 w 415"/>
                <a:gd name="T29" fmla="*/ 3 h 463"/>
                <a:gd name="T30" fmla="*/ 229 w 415"/>
                <a:gd name="T31" fmla="*/ 3 h 463"/>
                <a:gd name="T32" fmla="*/ 318 w 415"/>
                <a:gd name="T33" fmla="*/ 29 h 463"/>
                <a:gd name="T34" fmla="*/ 339 w 415"/>
                <a:gd name="T35" fmla="*/ 46 h 463"/>
                <a:gd name="T36" fmla="*/ 360 w 415"/>
                <a:gd name="T37" fmla="*/ 79 h 463"/>
                <a:gd name="T38" fmla="*/ 366 w 415"/>
                <a:gd name="T39" fmla="*/ 121 h 463"/>
                <a:gd name="T40" fmla="*/ 368 w 415"/>
                <a:gd name="T41" fmla="*/ 383 h 463"/>
                <a:gd name="T42" fmla="*/ 374 w 415"/>
                <a:gd name="T43" fmla="*/ 393 h 463"/>
                <a:gd name="T44" fmla="*/ 391 w 415"/>
                <a:gd name="T45" fmla="*/ 397 h 463"/>
                <a:gd name="T46" fmla="*/ 414 w 415"/>
                <a:gd name="T47" fmla="*/ 395 h 463"/>
                <a:gd name="T48" fmla="*/ 389 w 415"/>
                <a:gd name="T49" fmla="*/ 456 h 463"/>
                <a:gd name="T50" fmla="*/ 364 w 415"/>
                <a:gd name="T51" fmla="*/ 458 h 463"/>
                <a:gd name="T52" fmla="*/ 318 w 415"/>
                <a:gd name="T53" fmla="*/ 441 h 463"/>
                <a:gd name="T54" fmla="*/ 302 w 415"/>
                <a:gd name="T55" fmla="*/ 412 h 463"/>
                <a:gd name="T56" fmla="*/ 283 w 415"/>
                <a:gd name="T57" fmla="*/ 404 h 463"/>
                <a:gd name="T58" fmla="*/ 231 w 415"/>
                <a:gd name="T59" fmla="*/ 441 h 463"/>
                <a:gd name="T60" fmla="*/ 187 w 415"/>
                <a:gd name="T61" fmla="*/ 458 h 463"/>
                <a:gd name="T62" fmla="*/ 139 w 415"/>
                <a:gd name="T63" fmla="*/ 462 h 463"/>
                <a:gd name="T64" fmla="*/ 83 w 415"/>
                <a:gd name="T65" fmla="*/ 454 h 463"/>
                <a:gd name="T66" fmla="*/ 50 w 415"/>
                <a:gd name="T67" fmla="*/ 435 h 463"/>
                <a:gd name="T68" fmla="*/ 32 w 415"/>
                <a:gd name="T69" fmla="*/ 416 h 463"/>
                <a:gd name="T70" fmla="*/ 11 w 415"/>
                <a:gd name="T71" fmla="*/ 383 h 463"/>
                <a:gd name="T72" fmla="*/ 2 w 415"/>
                <a:gd name="T73" fmla="*/ 347 h 463"/>
                <a:gd name="T74" fmla="*/ 2 w 415"/>
                <a:gd name="T75" fmla="*/ 319 h 463"/>
                <a:gd name="T76" fmla="*/ 11 w 415"/>
                <a:gd name="T77" fmla="*/ 279 h 463"/>
                <a:gd name="T78" fmla="*/ 29 w 415"/>
                <a:gd name="T79" fmla="*/ 248 h 463"/>
                <a:gd name="T80" fmla="*/ 61 w 415"/>
                <a:gd name="T81" fmla="*/ 223 h 463"/>
                <a:gd name="T82" fmla="*/ 139 w 415"/>
                <a:gd name="T83" fmla="*/ 198 h 463"/>
                <a:gd name="T84" fmla="*/ 102 w 415"/>
                <a:gd name="T85" fmla="*/ 381 h 463"/>
                <a:gd name="T86" fmla="*/ 142 w 415"/>
                <a:gd name="T87" fmla="*/ 399 h 463"/>
                <a:gd name="T88" fmla="*/ 175 w 415"/>
                <a:gd name="T89" fmla="*/ 399 h 463"/>
                <a:gd name="T90" fmla="*/ 231 w 415"/>
                <a:gd name="T91" fmla="*/ 383 h 463"/>
                <a:gd name="T92" fmla="*/ 258 w 415"/>
                <a:gd name="T93" fmla="*/ 364 h 463"/>
                <a:gd name="T94" fmla="*/ 283 w 415"/>
                <a:gd name="T95" fmla="*/ 331 h 463"/>
                <a:gd name="T96" fmla="*/ 293 w 415"/>
                <a:gd name="T97" fmla="*/ 285 h 463"/>
                <a:gd name="T98" fmla="*/ 277 w 415"/>
                <a:gd name="T99" fmla="*/ 233 h 463"/>
                <a:gd name="T100" fmla="*/ 237 w 415"/>
                <a:gd name="T101" fmla="*/ 246 h 463"/>
                <a:gd name="T102" fmla="*/ 173 w 415"/>
                <a:gd name="T103" fmla="*/ 254 h 463"/>
                <a:gd name="T104" fmla="*/ 112 w 415"/>
                <a:gd name="T105" fmla="*/ 271 h 463"/>
                <a:gd name="T106" fmla="*/ 92 w 415"/>
                <a:gd name="T107" fmla="*/ 287 h 463"/>
                <a:gd name="T108" fmla="*/ 79 w 415"/>
                <a:gd name="T109" fmla="*/ 312 h 463"/>
                <a:gd name="T110" fmla="*/ 79 w 415"/>
                <a:gd name="T111" fmla="*/ 346 h 463"/>
                <a:gd name="T112" fmla="*/ 102 w 415"/>
                <a:gd name="T113" fmla="*/ 381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5" h="463">
                  <a:moveTo>
                    <a:pt x="256" y="183"/>
                  </a:moveTo>
                  <a:lnTo>
                    <a:pt x="256" y="183"/>
                  </a:lnTo>
                  <a:lnTo>
                    <a:pt x="268" y="181"/>
                  </a:lnTo>
                  <a:lnTo>
                    <a:pt x="277" y="177"/>
                  </a:lnTo>
                  <a:lnTo>
                    <a:pt x="285" y="171"/>
                  </a:lnTo>
                  <a:lnTo>
                    <a:pt x="289" y="163"/>
                  </a:lnTo>
                  <a:lnTo>
                    <a:pt x="289" y="163"/>
                  </a:lnTo>
                  <a:lnTo>
                    <a:pt x="293" y="150"/>
                  </a:lnTo>
                  <a:lnTo>
                    <a:pt x="295" y="133"/>
                  </a:lnTo>
                  <a:lnTo>
                    <a:pt x="295" y="133"/>
                  </a:lnTo>
                  <a:lnTo>
                    <a:pt x="293" y="117"/>
                  </a:lnTo>
                  <a:lnTo>
                    <a:pt x="287" y="100"/>
                  </a:lnTo>
                  <a:lnTo>
                    <a:pt x="279" y="90"/>
                  </a:lnTo>
                  <a:lnTo>
                    <a:pt x="268" y="79"/>
                  </a:lnTo>
                  <a:lnTo>
                    <a:pt x="268" y="79"/>
                  </a:lnTo>
                  <a:lnTo>
                    <a:pt x="254" y="71"/>
                  </a:lnTo>
                  <a:lnTo>
                    <a:pt x="235" y="67"/>
                  </a:lnTo>
                  <a:lnTo>
                    <a:pt x="214" y="63"/>
                  </a:lnTo>
                  <a:lnTo>
                    <a:pt x="192" y="63"/>
                  </a:lnTo>
                  <a:lnTo>
                    <a:pt x="192" y="63"/>
                  </a:lnTo>
                  <a:lnTo>
                    <a:pt x="164" y="65"/>
                  </a:lnTo>
                  <a:lnTo>
                    <a:pt x="142" y="69"/>
                  </a:lnTo>
                  <a:lnTo>
                    <a:pt x="133" y="73"/>
                  </a:lnTo>
                  <a:lnTo>
                    <a:pt x="125" y="79"/>
                  </a:lnTo>
                  <a:lnTo>
                    <a:pt x="117" y="86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04" y="102"/>
                  </a:lnTo>
                  <a:lnTo>
                    <a:pt x="100" y="115"/>
                  </a:lnTo>
                  <a:lnTo>
                    <a:pt x="96" y="129"/>
                  </a:lnTo>
                  <a:lnTo>
                    <a:pt x="92" y="144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5" y="125"/>
                  </a:lnTo>
                  <a:lnTo>
                    <a:pt x="27" y="106"/>
                  </a:lnTo>
                  <a:lnTo>
                    <a:pt x="32" y="90"/>
                  </a:lnTo>
                  <a:lnTo>
                    <a:pt x="38" y="75"/>
                  </a:lnTo>
                  <a:lnTo>
                    <a:pt x="46" y="63"/>
                  </a:lnTo>
                  <a:lnTo>
                    <a:pt x="54" y="50"/>
                  </a:lnTo>
                  <a:lnTo>
                    <a:pt x="65" y="40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102" y="17"/>
                  </a:lnTo>
                  <a:lnTo>
                    <a:pt x="131" y="9"/>
                  </a:lnTo>
                  <a:lnTo>
                    <a:pt x="160" y="3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229" y="3"/>
                  </a:lnTo>
                  <a:lnTo>
                    <a:pt x="262" y="7"/>
                  </a:lnTo>
                  <a:lnTo>
                    <a:pt x="293" y="17"/>
                  </a:lnTo>
                  <a:lnTo>
                    <a:pt x="318" y="29"/>
                  </a:lnTo>
                  <a:lnTo>
                    <a:pt x="318" y="29"/>
                  </a:lnTo>
                  <a:lnTo>
                    <a:pt x="329" y="38"/>
                  </a:lnTo>
                  <a:lnTo>
                    <a:pt x="339" y="46"/>
                  </a:lnTo>
                  <a:lnTo>
                    <a:pt x="347" y="56"/>
                  </a:lnTo>
                  <a:lnTo>
                    <a:pt x="354" y="67"/>
                  </a:lnTo>
                  <a:lnTo>
                    <a:pt x="360" y="79"/>
                  </a:lnTo>
                  <a:lnTo>
                    <a:pt x="364" y="92"/>
                  </a:lnTo>
                  <a:lnTo>
                    <a:pt x="366" y="106"/>
                  </a:lnTo>
                  <a:lnTo>
                    <a:pt x="366" y="121"/>
                  </a:lnTo>
                  <a:lnTo>
                    <a:pt x="366" y="372"/>
                  </a:lnTo>
                  <a:lnTo>
                    <a:pt x="366" y="372"/>
                  </a:lnTo>
                  <a:lnTo>
                    <a:pt x="368" y="383"/>
                  </a:lnTo>
                  <a:lnTo>
                    <a:pt x="370" y="391"/>
                  </a:lnTo>
                  <a:lnTo>
                    <a:pt x="370" y="391"/>
                  </a:lnTo>
                  <a:lnTo>
                    <a:pt x="374" y="393"/>
                  </a:lnTo>
                  <a:lnTo>
                    <a:pt x="378" y="395"/>
                  </a:lnTo>
                  <a:lnTo>
                    <a:pt x="391" y="397"/>
                  </a:lnTo>
                  <a:lnTo>
                    <a:pt x="391" y="397"/>
                  </a:lnTo>
                  <a:lnTo>
                    <a:pt x="401" y="397"/>
                  </a:lnTo>
                  <a:lnTo>
                    <a:pt x="401" y="397"/>
                  </a:lnTo>
                  <a:lnTo>
                    <a:pt x="414" y="395"/>
                  </a:lnTo>
                  <a:lnTo>
                    <a:pt x="414" y="449"/>
                  </a:lnTo>
                  <a:lnTo>
                    <a:pt x="414" y="449"/>
                  </a:lnTo>
                  <a:lnTo>
                    <a:pt x="389" y="456"/>
                  </a:lnTo>
                  <a:lnTo>
                    <a:pt x="389" y="456"/>
                  </a:lnTo>
                  <a:lnTo>
                    <a:pt x="364" y="458"/>
                  </a:lnTo>
                  <a:lnTo>
                    <a:pt x="364" y="458"/>
                  </a:lnTo>
                  <a:lnTo>
                    <a:pt x="345" y="456"/>
                  </a:lnTo>
                  <a:lnTo>
                    <a:pt x="331" y="449"/>
                  </a:lnTo>
                  <a:lnTo>
                    <a:pt x="318" y="441"/>
                  </a:lnTo>
                  <a:lnTo>
                    <a:pt x="308" y="431"/>
                  </a:lnTo>
                  <a:lnTo>
                    <a:pt x="308" y="431"/>
                  </a:lnTo>
                  <a:lnTo>
                    <a:pt x="302" y="412"/>
                  </a:lnTo>
                  <a:lnTo>
                    <a:pt x="295" y="389"/>
                  </a:lnTo>
                  <a:lnTo>
                    <a:pt x="295" y="389"/>
                  </a:lnTo>
                  <a:lnTo>
                    <a:pt x="283" y="404"/>
                  </a:lnTo>
                  <a:lnTo>
                    <a:pt x="268" y="416"/>
                  </a:lnTo>
                  <a:lnTo>
                    <a:pt x="252" y="429"/>
                  </a:lnTo>
                  <a:lnTo>
                    <a:pt x="231" y="441"/>
                  </a:lnTo>
                  <a:lnTo>
                    <a:pt x="231" y="441"/>
                  </a:lnTo>
                  <a:lnTo>
                    <a:pt x="210" y="449"/>
                  </a:lnTo>
                  <a:lnTo>
                    <a:pt x="187" y="458"/>
                  </a:lnTo>
                  <a:lnTo>
                    <a:pt x="164" y="462"/>
                  </a:lnTo>
                  <a:lnTo>
                    <a:pt x="139" y="462"/>
                  </a:lnTo>
                  <a:lnTo>
                    <a:pt x="139" y="462"/>
                  </a:lnTo>
                  <a:lnTo>
                    <a:pt x="110" y="460"/>
                  </a:lnTo>
                  <a:lnTo>
                    <a:pt x="96" y="458"/>
                  </a:lnTo>
                  <a:lnTo>
                    <a:pt x="83" y="454"/>
                  </a:lnTo>
                  <a:lnTo>
                    <a:pt x="71" y="447"/>
                  </a:lnTo>
                  <a:lnTo>
                    <a:pt x="61" y="441"/>
                  </a:lnTo>
                  <a:lnTo>
                    <a:pt x="50" y="435"/>
                  </a:lnTo>
                  <a:lnTo>
                    <a:pt x="40" y="424"/>
                  </a:lnTo>
                  <a:lnTo>
                    <a:pt x="40" y="424"/>
                  </a:lnTo>
                  <a:lnTo>
                    <a:pt x="32" y="416"/>
                  </a:lnTo>
                  <a:lnTo>
                    <a:pt x="23" y="406"/>
                  </a:lnTo>
                  <a:lnTo>
                    <a:pt x="17" y="395"/>
                  </a:lnTo>
                  <a:lnTo>
                    <a:pt x="11" y="383"/>
                  </a:lnTo>
                  <a:lnTo>
                    <a:pt x="7" y="372"/>
                  </a:lnTo>
                  <a:lnTo>
                    <a:pt x="4" y="360"/>
                  </a:lnTo>
                  <a:lnTo>
                    <a:pt x="2" y="347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2" y="319"/>
                  </a:lnTo>
                  <a:lnTo>
                    <a:pt x="4" y="304"/>
                  </a:lnTo>
                  <a:lnTo>
                    <a:pt x="7" y="291"/>
                  </a:lnTo>
                  <a:lnTo>
                    <a:pt x="11" y="279"/>
                  </a:lnTo>
                  <a:lnTo>
                    <a:pt x="17" y="269"/>
                  </a:lnTo>
                  <a:lnTo>
                    <a:pt x="23" y="258"/>
                  </a:lnTo>
                  <a:lnTo>
                    <a:pt x="29" y="248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61" y="223"/>
                  </a:lnTo>
                  <a:lnTo>
                    <a:pt x="83" y="213"/>
                  </a:lnTo>
                  <a:lnTo>
                    <a:pt x="108" y="204"/>
                  </a:lnTo>
                  <a:lnTo>
                    <a:pt x="139" y="198"/>
                  </a:lnTo>
                  <a:lnTo>
                    <a:pt x="256" y="183"/>
                  </a:lnTo>
                  <a:close/>
                  <a:moveTo>
                    <a:pt x="102" y="381"/>
                  </a:moveTo>
                  <a:lnTo>
                    <a:pt x="102" y="381"/>
                  </a:lnTo>
                  <a:lnTo>
                    <a:pt x="112" y="389"/>
                  </a:lnTo>
                  <a:lnTo>
                    <a:pt x="127" y="395"/>
                  </a:lnTo>
                  <a:lnTo>
                    <a:pt x="142" y="399"/>
                  </a:lnTo>
                  <a:lnTo>
                    <a:pt x="156" y="399"/>
                  </a:lnTo>
                  <a:lnTo>
                    <a:pt x="156" y="399"/>
                  </a:lnTo>
                  <a:lnTo>
                    <a:pt x="175" y="399"/>
                  </a:lnTo>
                  <a:lnTo>
                    <a:pt x="193" y="395"/>
                  </a:lnTo>
                  <a:lnTo>
                    <a:pt x="212" y="389"/>
                  </a:lnTo>
                  <a:lnTo>
                    <a:pt x="231" y="383"/>
                  </a:lnTo>
                  <a:lnTo>
                    <a:pt x="231" y="383"/>
                  </a:lnTo>
                  <a:lnTo>
                    <a:pt x="245" y="375"/>
                  </a:lnTo>
                  <a:lnTo>
                    <a:pt x="258" y="364"/>
                  </a:lnTo>
                  <a:lnTo>
                    <a:pt x="268" y="354"/>
                  </a:lnTo>
                  <a:lnTo>
                    <a:pt x="277" y="343"/>
                  </a:lnTo>
                  <a:lnTo>
                    <a:pt x="283" y="331"/>
                  </a:lnTo>
                  <a:lnTo>
                    <a:pt x="289" y="316"/>
                  </a:lnTo>
                  <a:lnTo>
                    <a:pt x="291" y="302"/>
                  </a:lnTo>
                  <a:lnTo>
                    <a:pt x="293" y="285"/>
                  </a:lnTo>
                  <a:lnTo>
                    <a:pt x="293" y="225"/>
                  </a:lnTo>
                  <a:lnTo>
                    <a:pt x="293" y="225"/>
                  </a:lnTo>
                  <a:lnTo>
                    <a:pt x="277" y="233"/>
                  </a:lnTo>
                  <a:lnTo>
                    <a:pt x="258" y="239"/>
                  </a:lnTo>
                  <a:lnTo>
                    <a:pt x="258" y="239"/>
                  </a:lnTo>
                  <a:lnTo>
                    <a:pt x="237" y="246"/>
                  </a:lnTo>
                  <a:lnTo>
                    <a:pt x="216" y="248"/>
                  </a:lnTo>
                  <a:lnTo>
                    <a:pt x="173" y="254"/>
                  </a:lnTo>
                  <a:lnTo>
                    <a:pt x="173" y="254"/>
                  </a:lnTo>
                  <a:lnTo>
                    <a:pt x="137" y="260"/>
                  </a:lnTo>
                  <a:lnTo>
                    <a:pt x="123" y="264"/>
                  </a:lnTo>
                  <a:lnTo>
                    <a:pt x="112" y="271"/>
                  </a:lnTo>
                  <a:lnTo>
                    <a:pt x="112" y="271"/>
                  </a:lnTo>
                  <a:lnTo>
                    <a:pt x="98" y="281"/>
                  </a:lnTo>
                  <a:lnTo>
                    <a:pt x="92" y="287"/>
                  </a:lnTo>
                  <a:lnTo>
                    <a:pt x="86" y="296"/>
                  </a:lnTo>
                  <a:lnTo>
                    <a:pt x="83" y="304"/>
                  </a:lnTo>
                  <a:lnTo>
                    <a:pt x="79" y="312"/>
                  </a:lnTo>
                  <a:lnTo>
                    <a:pt x="77" y="331"/>
                  </a:lnTo>
                  <a:lnTo>
                    <a:pt x="77" y="331"/>
                  </a:lnTo>
                  <a:lnTo>
                    <a:pt x="79" y="346"/>
                  </a:lnTo>
                  <a:lnTo>
                    <a:pt x="83" y="360"/>
                  </a:lnTo>
                  <a:lnTo>
                    <a:pt x="92" y="372"/>
                  </a:lnTo>
                  <a:lnTo>
                    <a:pt x="102" y="3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" name="Freeform 36">
              <a:extLst>
                <a:ext uri="{FF2B5EF4-FFF2-40B4-BE49-F238E27FC236}">
                  <a16:creationId xmlns:a16="http://schemas.microsoft.com/office/drawing/2014/main" id="{360B3514-2647-1543-9DA4-9065C971F2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5525" y="3884613"/>
              <a:ext cx="128588" cy="161925"/>
            </a:xfrm>
            <a:custGeom>
              <a:avLst/>
              <a:gdLst>
                <a:gd name="T0" fmla="*/ 0 w 357"/>
                <a:gd name="T1" fmla="*/ 11 h 448"/>
                <a:gd name="T2" fmla="*/ 69 w 357"/>
                <a:gd name="T3" fmla="*/ 11 h 448"/>
                <a:gd name="T4" fmla="*/ 69 w 357"/>
                <a:gd name="T5" fmla="*/ 73 h 448"/>
                <a:gd name="T6" fmla="*/ 69 w 357"/>
                <a:gd name="T7" fmla="*/ 73 h 448"/>
                <a:gd name="T8" fmla="*/ 86 w 357"/>
                <a:gd name="T9" fmla="*/ 54 h 448"/>
                <a:gd name="T10" fmla="*/ 102 w 357"/>
                <a:gd name="T11" fmla="*/ 40 h 448"/>
                <a:gd name="T12" fmla="*/ 119 w 357"/>
                <a:gd name="T13" fmla="*/ 27 h 448"/>
                <a:gd name="T14" fmla="*/ 135 w 357"/>
                <a:gd name="T15" fmla="*/ 17 h 448"/>
                <a:gd name="T16" fmla="*/ 135 w 357"/>
                <a:gd name="T17" fmla="*/ 17 h 448"/>
                <a:gd name="T18" fmla="*/ 154 w 357"/>
                <a:gd name="T19" fmla="*/ 11 h 448"/>
                <a:gd name="T20" fmla="*/ 173 w 357"/>
                <a:gd name="T21" fmla="*/ 5 h 448"/>
                <a:gd name="T22" fmla="*/ 192 w 357"/>
                <a:gd name="T23" fmla="*/ 3 h 448"/>
                <a:gd name="T24" fmla="*/ 212 w 357"/>
                <a:gd name="T25" fmla="*/ 0 h 448"/>
                <a:gd name="T26" fmla="*/ 212 w 357"/>
                <a:gd name="T27" fmla="*/ 0 h 448"/>
                <a:gd name="T28" fmla="*/ 235 w 357"/>
                <a:gd name="T29" fmla="*/ 3 h 448"/>
                <a:gd name="T30" fmla="*/ 256 w 357"/>
                <a:gd name="T31" fmla="*/ 5 h 448"/>
                <a:gd name="T32" fmla="*/ 275 w 357"/>
                <a:gd name="T33" fmla="*/ 11 h 448"/>
                <a:gd name="T34" fmla="*/ 291 w 357"/>
                <a:gd name="T35" fmla="*/ 17 h 448"/>
                <a:gd name="T36" fmla="*/ 306 w 357"/>
                <a:gd name="T37" fmla="*/ 25 h 448"/>
                <a:gd name="T38" fmla="*/ 318 w 357"/>
                <a:gd name="T39" fmla="*/ 38 h 448"/>
                <a:gd name="T40" fmla="*/ 329 w 357"/>
                <a:gd name="T41" fmla="*/ 50 h 448"/>
                <a:gd name="T42" fmla="*/ 339 w 357"/>
                <a:gd name="T43" fmla="*/ 65 h 448"/>
                <a:gd name="T44" fmla="*/ 339 w 357"/>
                <a:gd name="T45" fmla="*/ 65 h 448"/>
                <a:gd name="T46" fmla="*/ 345 w 357"/>
                <a:gd name="T47" fmla="*/ 86 h 448"/>
                <a:gd name="T48" fmla="*/ 352 w 357"/>
                <a:gd name="T49" fmla="*/ 108 h 448"/>
                <a:gd name="T50" fmla="*/ 356 w 357"/>
                <a:gd name="T51" fmla="*/ 136 h 448"/>
                <a:gd name="T52" fmla="*/ 356 w 357"/>
                <a:gd name="T53" fmla="*/ 167 h 448"/>
                <a:gd name="T54" fmla="*/ 356 w 357"/>
                <a:gd name="T55" fmla="*/ 447 h 448"/>
                <a:gd name="T56" fmla="*/ 281 w 357"/>
                <a:gd name="T57" fmla="*/ 447 h 448"/>
                <a:gd name="T58" fmla="*/ 281 w 357"/>
                <a:gd name="T59" fmla="*/ 173 h 448"/>
                <a:gd name="T60" fmla="*/ 281 w 357"/>
                <a:gd name="T61" fmla="*/ 173 h 448"/>
                <a:gd name="T62" fmla="*/ 281 w 357"/>
                <a:gd name="T63" fmla="*/ 152 h 448"/>
                <a:gd name="T64" fmla="*/ 279 w 357"/>
                <a:gd name="T65" fmla="*/ 136 h 448"/>
                <a:gd name="T66" fmla="*/ 275 w 357"/>
                <a:gd name="T67" fmla="*/ 121 h 448"/>
                <a:gd name="T68" fmla="*/ 271 w 357"/>
                <a:gd name="T69" fmla="*/ 108 h 448"/>
                <a:gd name="T70" fmla="*/ 271 w 357"/>
                <a:gd name="T71" fmla="*/ 108 h 448"/>
                <a:gd name="T72" fmla="*/ 264 w 357"/>
                <a:gd name="T73" fmla="*/ 98 h 448"/>
                <a:gd name="T74" fmla="*/ 258 w 357"/>
                <a:gd name="T75" fmla="*/ 90 h 448"/>
                <a:gd name="T76" fmla="*/ 250 w 357"/>
                <a:gd name="T77" fmla="*/ 84 h 448"/>
                <a:gd name="T78" fmla="*/ 241 w 357"/>
                <a:gd name="T79" fmla="*/ 77 h 448"/>
                <a:gd name="T80" fmla="*/ 233 w 357"/>
                <a:gd name="T81" fmla="*/ 73 h 448"/>
                <a:gd name="T82" fmla="*/ 223 w 357"/>
                <a:gd name="T83" fmla="*/ 69 h 448"/>
                <a:gd name="T84" fmla="*/ 210 w 357"/>
                <a:gd name="T85" fmla="*/ 67 h 448"/>
                <a:gd name="T86" fmla="*/ 198 w 357"/>
                <a:gd name="T87" fmla="*/ 67 h 448"/>
                <a:gd name="T88" fmla="*/ 198 w 357"/>
                <a:gd name="T89" fmla="*/ 67 h 448"/>
                <a:gd name="T90" fmla="*/ 175 w 357"/>
                <a:gd name="T91" fmla="*/ 69 h 448"/>
                <a:gd name="T92" fmla="*/ 156 w 357"/>
                <a:gd name="T93" fmla="*/ 73 h 448"/>
                <a:gd name="T94" fmla="*/ 156 w 357"/>
                <a:gd name="T95" fmla="*/ 73 h 448"/>
                <a:gd name="T96" fmla="*/ 142 w 357"/>
                <a:gd name="T97" fmla="*/ 77 h 448"/>
                <a:gd name="T98" fmla="*/ 127 w 357"/>
                <a:gd name="T99" fmla="*/ 86 h 448"/>
                <a:gd name="T100" fmla="*/ 115 w 357"/>
                <a:gd name="T101" fmla="*/ 96 h 448"/>
                <a:gd name="T102" fmla="*/ 102 w 357"/>
                <a:gd name="T103" fmla="*/ 108 h 448"/>
                <a:gd name="T104" fmla="*/ 102 w 357"/>
                <a:gd name="T105" fmla="*/ 108 h 448"/>
                <a:gd name="T106" fmla="*/ 94 w 357"/>
                <a:gd name="T107" fmla="*/ 119 h 448"/>
                <a:gd name="T108" fmla="*/ 88 w 357"/>
                <a:gd name="T109" fmla="*/ 129 h 448"/>
                <a:gd name="T110" fmla="*/ 84 w 357"/>
                <a:gd name="T111" fmla="*/ 142 h 448"/>
                <a:gd name="T112" fmla="*/ 79 w 357"/>
                <a:gd name="T113" fmla="*/ 152 h 448"/>
                <a:gd name="T114" fmla="*/ 79 w 357"/>
                <a:gd name="T115" fmla="*/ 152 h 448"/>
                <a:gd name="T116" fmla="*/ 75 w 357"/>
                <a:gd name="T117" fmla="*/ 181 h 448"/>
                <a:gd name="T118" fmla="*/ 73 w 357"/>
                <a:gd name="T119" fmla="*/ 219 h 448"/>
                <a:gd name="T120" fmla="*/ 73 w 357"/>
                <a:gd name="T121" fmla="*/ 447 h 448"/>
                <a:gd name="T122" fmla="*/ 0 w 357"/>
                <a:gd name="T123" fmla="*/ 447 h 448"/>
                <a:gd name="T124" fmla="*/ 0 w 357"/>
                <a:gd name="T125" fmla="*/ 1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" h="448">
                  <a:moveTo>
                    <a:pt x="0" y="11"/>
                  </a:moveTo>
                  <a:lnTo>
                    <a:pt x="69" y="11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86" y="54"/>
                  </a:lnTo>
                  <a:lnTo>
                    <a:pt x="102" y="40"/>
                  </a:lnTo>
                  <a:lnTo>
                    <a:pt x="119" y="2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54" y="11"/>
                  </a:lnTo>
                  <a:lnTo>
                    <a:pt x="173" y="5"/>
                  </a:lnTo>
                  <a:lnTo>
                    <a:pt x="192" y="3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5" y="3"/>
                  </a:lnTo>
                  <a:lnTo>
                    <a:pt x="256" y="5"/>
                  </a:lnTo>
                  <a:lnTo>
                    <a:pt x="275" y="11"/>
                  </a:lnTo>
                  <a:lnTo>
                    <a:pt x="291" y="17"/>
                  </a:lnTo>
                  <a:lnTo>
                    <a:pt x="306" y="25"/>
                  </a:lnTo>
                  <a:lnTo>
                    <a:pt x="318" y="38"/>
                  </a:lnTo>
                  <a:lnTo>
                    <a:pt x="329" y="50"/>
                  </a:lnTo>
                  <a:lnTo>
                    <a:pt x="339" y="65"/>
                  </a:lnTo>
                  <a:lnTo>
                    <a:pt x="339" y="65"/>
                  </a:lnTo>
                  <a:lnTo>
                    <a:pt x="345" y="86"/>
                  </a:lnTo>
                  <a:lnTo>
                    <a:pt x="352" y="108"/>
                  </a:lnTo>
                  <a:lnTo>
                    <a:pt x="356" y="136"/>
                  </a:lnTo>
                  <a:lnTo>
                    <a:pt x="356" y="167"/>
                  </a:lnTo>
                  <a:lnTo>
                    <a:pt x="356" y="447"/>
                  </a:lnTo>
                  <a:lnTo>
                    <a:pt x="281" y="447"/>
                  </a:lnTo>
                  <a:lnTo>
                    <a:pt x="281" y="173"/>
                  </a:lnTo>
                  <a:lnTo>
                    <a:pt x="281" y="173"/>
                  </a:lnTo>
                  <a:lnTo>
                    <a:pt x="281" y="152"/>
                  </a:lnTo>
                  <a:lnTo>
                    <a:pt x="279" y="136"/>
                  </a:lnTo>
                  <a:lnTo>
                    <a:pt x="275" y="121"/>
                  </a:lnTo>
                  <a:lnTo>
                    <a:pt x="271" y="108"/>
                  </a:lnTo>
                  <a:lnTo>
                    <a:pt x="271" y="108"/>
                  </a:lnTo>
                  <a:lnTo>
                    <a:pt x="264" y="98"/>
                  </a:lnTo>
                  <a:lnTo>
                    <a:pt x="258" y="90"/>
                  </a:lnTo>
                  <a:lnTo>
                    <a:pt x="250" y="84"/>
                  </a:lnTo>
                  <a:lnTo>
                    <a:pt x="241" y="77"/>
                  </a:lnTo>
                  <a:lnTo>
                    <a:pt x="233" y="73"/>
                  </a:lnTo>
                  <a:lnTo>
                    <a:pt x="223" y="69"/>
                  </a:lnTo>
                  <a:lnTo>
                    <a:pt x="210" y="67"/>
                  </a:lnTo>
                  <a:lnTo>
                    <a:pt x="198" y="67"/>
                  </a:lnTo>
                  <a:lnTo>
                    <a:pt x="198" y="67"/>
                  </a:lnTo>
                  <a:lnTo>
                    <a:pt x="175" y="69"/>
                  </a:lnTo>
                  <a:lnTo>
                    <a:pt x="156" y="73"/>
                  </a:lnTo>
                  <a:lnTo>
                    <a:pt x="156" y="73"/>
                  </a:lnTo>
                  <a:lnTo>
                    <a:pt x="142" y="77"/>
                  </a:lnTo>
                  <a:lnTo>
                    <a:pt x="127" y="86"/>
                  </a:lnTo>
                  <a:lnTo>
                    <a:pt x="115" y="96"/>
                  </a:lnTo>
                  <a:lnTo>
                    <a:pt x="102" y="108"/>
                  </a:lnTo>
                  <a:lnTo>
                    <a:pt x="102" y="108"/>
                  </a:lnTo>
                  <a:lnTo>
                    <a:pt x="94" y="119"/>
                  </a:lnTo>
                  <a:lnTo>
                    <a:pt x="88" y="129"/>
                  </a:lnTo>
                  <a:lnTo>
                    <a:pt x="84" y="142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75" y="181"/>
                  </a:lnTo>
                  <a:lnTo>
                    <a:pt x="73" y="219"/>
                  </a:lnTo>
                  <a:lnTo>
                    <a:pt x="73" y="447"/>
                  </a:lnTo>
                  <a:lnTo>
                    <a:pt x="0" y="447"/>
                  </a:lnTo>
                  <a:lnTo>
                    <a:pt x="0" y="1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0" name="Freeform 37">
              <a:extLst>
                <a:ext uri="{FF2B5EF4-FFF2-40B4-BE49-F238E27FC236}">
                  <a16:creationId xmlns:a16="http://schemas.microsoft.com/office/drawing/2014/main" id="{35B915DB-B487-8E48-9F31-C64134B635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4275" y="3884613"/>
              <a:ext cx="147638" cy="166687"/>
            </a:xfrm>
            <a:custGeom>
              <a:avLst/>
              <a:gdLst>
                <a:gd name="T0" fmla="*/ 265 w 411"/>
                <a:gd name="T1" fmla="*/ 181 h 463"/>
                <a:gd name="T2" fmla="*/ 286 w 411"/>
                <a:gd name="T3" fmla="*/ 163 h 463"/>
                <a:gd name="T4" fmla="*/ 292 w 411"/>
                <a:gd name="T5" fmla="*/ 133 h 463"/>
                <a:gd name="T6" fmla="*/ 286 w 411"/>
                <a:gd name="T7" fmla="*/ 100 h 463"/>
                <a:gd name="T8" fmla="*/ 265 w 411"/>
                <a:gd name="T9" fmla="*/ 79 h 463"/>
                <a:gd name="T10" fmla="*/ 211 w 411"/>
                <a:gd name="T11" fmla="*/ 63 h 463"/>
                <a:gd name="T12" fmla="*/ 162 w 411"/>
                <a:gd name="T13" fmla="*/ 65 h 463"/>
                <a:gd name="T14" fmla="*/ 123 w 411"/>
                <a:gd name="T15" fmla="*/ 79 h 463"/>
                <a:gd name="T16" fmla="*/ 108 w 411"/>
                <a:gd name="T17" fmla="*/ 94 h 463"/>
                <a:gd name="T18" fmla="*/ 94 w 411"/>
                <a:gd name="T19" fmla="*/ 129 h 463"/>
                <a:gd name="T20" fmla="*/ 23 w 411"/>
                <a:gd name="T21" fmla="*/ 144 h 463"/>
                <a:gd name="T22" fmla="*/ 31 w 411"/>
                <a:gd name="T23" fmla="*/ 90 h 463"/>
                <a:gd name="T24" fmla="*/ 52 w 411"/>
                <a:gd name="T25" fmla="*/ 50 h 463"/>
                <a:gd name="T26" fmla="*/ 75 w 411"/>
                <a:gd name="T27" fmla="*/ 31 h 463"/>
                <a:gd name="T28" fmla="*/ 158 w 411"/>
                <a:gd name="T29" fmla="*/ 3 h 463"/>
                <a:gd name="T30" fmla="*/ 228 w 411"/>
                <a:gd name="T31" fmla="*/ 3 h 463"/>
                <a:gd name="T32" fmla="*/ 315 w 411"/>
                <a:gd name="T33" fmla="*/ 29 h 463"/>
                <a:gd name="T34" fmla="*/ 336 w 411"/>
                <a:gd name="T35" fmla="*/ 46 h 463"/>
                <a:gd name="T36" fmla="*/ 356 w 411"/>
                <a:gd name="T37" fmla="*/ 79 h 463"/>
                <a:gd name="T38" fmla="*/ 363 w 411"/>
                <a:gd name="T39" fmla="*/ 121 h 463"/>
                <a:gd name="T40" fmla="*/ 365 w 411"/>
                <a:gd name="T41" fmla="*/ 383 h 463"/>
                <a:gd name="T42" fmla="*/ 371 w 411"/>
                <a:gd name="T43" fmla="*/ 393 h 463"/>
                <a:gd name="T44" fmla="*/ 388 w 411"/>
                <a:gd name="T45" fmla="*/ 397 h 463"/>
                <a:gd name="T46" fmla="*/ 410 w 411"/>
                <a:gd name="T47" fmla="*/ 395 h 463"/>
                <a:gd name="T48" fmla="*/ 385 w 411"/>
                <a:gd name="T49" fmla="*/ 456 h 463"/>
                <a:gd name="T50" fmla="*/ 360 w 411"/>
                <a:gd name="T51" fmla="*/ 458 h 463"/>
                <a:gd name="T52" fmla="*/ 315 w 411"/>
                <a:gd name="T53" fmla="*/ 441 h 463"/>
                <a:gd name="T54" fmla="*/ 298 w 411"/>
                <a:gd name="T55" fmla="*/ 412 h 463"/>
                <a:gd name="T56" fmla="*/ 282 w 411"/>
                <a:gd name="T57" fmla="*/ 404 h 463"/>
                <a:gd name="T58" fmla="*/ 230 w 411"/>
                <a:gd name="T59" fmla="*/ 441 h 463"/>
                <a:gd name="T60" fmla="*/ 185 w 411"/>
                <a:gd name="T61" fmla="*/ 458 h 463"/>
                <a:gd name="T62" fmla="*/ 137 w 411"/>
                <a:gd name="T63" fmla="*/ 462 h 463"/>
                <a:gd name="T64" fmla="*/ 81 w 411"/>
                <a:gd name="T65" fmla="*/ 454 h 463"/>
                <a:gd name="T66" fmla="*/ 48 w 411"/>
                <a:gd name="T67" fmla="*/ 435 h 463"/>
                <a:gd name="T68" fmla="*/ 29 w 411"/>
                <a:gd name="T69" fmla="*/ 416 h 463"/>
                <a:gd name="T70" fmla="*/ 8 w 411"/>
                <a:gd name="T71" fmla="*/ 383 h 463"/>
                <a:gd name="T72" fmla="*/ 0 w 411"/>
                <a:gd name="T73" fmla="*/ 347 h 463"/>
                <a:gd name="T74" fmla="*/ 0 w 411"/>
                <a:gd name="T75" fmla="*/ 319 h 463"/>
                <a:gd name="T76" fmla="*/ 8 w 411"/>
                <a:gd name="T77" fmla="*/ 279 h 463"/>
                <a:gd name="T78" fmla="*/ 29 w 411"/>
                <a:gd name="T79" fmla="*/ 248 h 463"/>
                <a:gd name="T80" fmla="*/ 58 w 411"/>
                <a:gd name="T81" fmla="*/ 223 h 463"/>
                <a:gd name="T82" fmla="*/ 137 w 411"/>
                <a:gd name="T83" fmla="*/ 198 h 463"/>
                <a:gd name="T84" fmla="*/ 100 w 411"/>
                <a:gd name="T85" fmla="*/ 381 h 463"/>
                <a:gd name="T86" fmla="*/ 139 w 411"/>
                <a:gd name="T87" fmla="*/ 399 h 463"/>
                <a:gd name="T88" fmla="*/ 173 w 411"/>
                <a:gd name="T89" fmla="*/ 399 h 463"/>
                <a:gd name="T90" fmla="*/ 228 w 411"/>
                <a:gd name="T91" fmla="*/ 383 h 463"/>
                <a:gd name="T92" fmla="*/ 254 w 411"/>
                <a:gd name="T93" fmla="*/ 364 h 463"/>
                <a:gd name="T94" fmla="*/ 282 w 411"/>
                <a:gd name="T95" fmla="*/ 331 h 463"/>
                <a:gd name="T96" fmla="*/ 290 w 411"/>
                <a:gd name="T97" fmla="*/ 285 h 463"/>
                <a:gd name="T98" fmla="*/ 273 w 411"/>
                <a:gd name="T99" fmla="*/ 233 h 463"/>
                <a:gd name="T100" fmla="*/ 234 w 411"/>
                <a:gd name="T101" fmla="*/ 246 h 463"/>
                <a:gd name="T102" fmla="*/ 170 w 411"/>
                <a:gd name="T103" fmla="*/ 254 h 463"/>
                <a:gd name="T104" fmla="*/ 110 w 411"/>
                <a:gd name="T105" fmla="*/ 271 h 463"/>
                <a:gd name="T106" fmla="*/ 89 w 411"/>
                <a:gd name="T107" fmla="*/ 287 h 463"/>
                <a:gd name="T108" fmla="*/ 79 w 411"/>
                <a:gd name="T109" fmla="*/ 312 h 463"/>
                <a:gd name="T110" fmla="*/ 77 w 411"/>
                <a:gd name="T111" fmla="*/ 346 h 463"/>
                <a:gd name="T112" fmla="*/ 100 w 411"/>
                <a:gd name="T113" fmla="*/ 381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1" h="463">
                  <a:moveTo>
                    <a:pt x="253" y="183"/>
                  </a:moveTo>
                  <a:lnTo>
                    <a:pt x="253" y="183"/>
                  </a:lnTo>
                  <a:lnTo>
                    <a:pt x="265" y="181"/>
                  </a:lnTo>
                  <a:lnTo>
                    <a:pt x="273" y="177"/>
                  </a:lnTo>
                  <a:lnTo>
                    <a:pt x="282" y="171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90" y="150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0" y="117"/>
                  </a:lnTo>
                  <a:lnTo>
                    <a:pt x="286" y="100"/>
                  </a:lnTo>
                  <a:lnTo>
                    <a:pt x="277" y="90"/>
                  </a:lnTo>
                  <a:lnTo>
                    <a:pt x="265" y="79"/>
                  </a:lnTo>
                  <a:lnTo>
                    <a:pt x="265" y="79"/>
                  </a:lnTo>
                  <a:lnTo>
                    <a:pt x="250" y="71"/>
                  </a:lnTo>
                  <a:lnTo>
                    <a:pt x="232" y="67"/>
                  </a:lnTo>
                  <a:lnTo>
                    <a:pt x="211" y="63"/>
                  </a:lnTo>
                  <a:lnTo>
                    <a:pt x="188" y="63"/>
                  </a:lnTo>
                  <a:lnTo>
                    <a:pt x="188" y="63"/>
                  </a:lnTo>
                  <a:lnTo>
                    <a:pt x="162" y="65"/>
                  </a:lnTo>
                  <a:lnTo>
                    <a:pt x="141" y="69"/>
                  </a:lnTo>
                  <a:lnTo>
                    <a:pt x="131" y="73"/>
                  </a:lnTo>
                  <a:lnTo>
                    <a:pt x="123" y="79"/>
                  </a:lnTo>
                  <a:lnTo>
                    <a:pt x="114" y="86"/>
                  </a:lnTo>
                  <a:lnTo>
                    <a:pt x="108" y="94"/>
                  </a:lnTo>
                  <a:lnTo>
                    <a:pt x="108" y="94"/>
                  </a:lnTo>
                  <a:lnTo>
                    <a:pt x="102" y="102"/>
                  </a:lnTo>
                  <a:lnTo>
                    <a:pt x="98" y="115"/>
                  </a:lnTo>
                  <a:lnTo>
                    <a:pt x="94" y="129"/>
                  </a:lnTo>
                  <a:lnTo>
                    <a:pt x="92" y="144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3" y="125"/>
                  </a:lnTo>
                  <a:lnTo>
                    <a:pt x="27" y="106"/>
                  </a:lnTo>
                  <a:lnTo>
                    <a:pt x="31" y="90"/>
                  </a:lnTo>
                  <a:lnTo>
                    <a:pt x="35" y="75"/>
                  </a:lnTo>
                  <a:lnTo>
                    <a:pt x="44" y="63"/>
                  </a:lnTo>
                  <a:lnTo>
                    <a:pt x="52" y="50"/>
                  </a:lnTo>
                  <a:lnTo>
                    <a:pt x="62" y="4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100" y="17"/>
                  </a:lnTo>
                  <a:lnTo>
                    <a:pt x="129" y="9"/>
                  </a:lnTo>
                  <a:lnTo>
                    <a:pt x="158" y="3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228" y="3"/>
                  </a:lnTo>
                  <a:lnTo>
                    <a:pt x="261" y="7"/>
                  </a:lnTo>
                  <a:lnTo>
                    <a:pt x="290" y="17"/>
                  </a:lnTo>
                  <a:lnTo>
                    <a:pt x="315" y="29"/>
                  </a:lnTo>
                  <a:lnTo>
                    <a:pt x="315" y="29"/>
                  </a:lnTo>
                  <a:lnTo>
                    <a:pt x="327" y="38"/>
                  </a:lnTo>
                  <a:lnTo>
                    <a:pt x="336" y="46"/>
                  </a:lnTo>
                  <a:lnTo>
                    <a:pt x="344" y="56"/>
                  </a:lnTo>
                  <a:lnTo>
                    <a:pt x="350" y="67"/>
                  </a:lnTo>
                  <a:lnTo>
                    <a:pt x="356" y="79"/>
                  </a:lnTo>
                  <a:lnTo>
                    <a:pt x="360" y="92"/>
                  </a:lnTo>
                  <a:lnTo>
                    <a:pt x="363" y="106"/>
                  </a:lnTo>
                  <a:lnTo>
                    <a:pt x="363" y="121"/>
                  </a:lnTo>
                  <a:lnTo>
                    <a:pt x="363" y="372"/>
                  </a:lnTo>
                  <a:lnTo>
                    <a:pt x="363" y="372"/>
                  </a:lnTo>
                  <a:lnTo>
                    <a:pt x="365" y="383"/>
                  </a:lnTo>
                  <a:lnTo>
                    <a:pt x="367" y="391"/>
                  </a:lnTo>
                  <a:lnTo>
                    <a:pt x="367" y="391"/>
                  </a:lnTo>
                  <a:lnTo>
                    <a:pt x="371" y="393"/>
                  </a:lnTo>
                  <a:lnTo>
                    <a:pt x="375" y="395"/>
                  </a:lnTo>
                  <a:lnTo>
                    <a:pt x="388" y="397"/>
                  </a:lnTo>
                  <a:lnTo>
                    <a:pt x="388" y="397"/>
                  </a:lnTo>
                  <a:lnTo>
                    <a:pt x="398" y="397"/>
                  </a:lnTo>
                  <a:lnTo>
                    <a:pt x="398" y="397"/>
                  </a:lnTo>
                  <a:lnTo>
                    <a:pt x="410" y="395"/>
                  </a:lnTo>
                  <a:lnTo>
                    <a:pt x="410" y="449"/>
                  </a:lnTo>
                  <a:lnTo>
                    <a:pt x="410" y="449"/>
                  </a:lnTo>
                  <a:lnTo>
                    <a:pt x="385" y="456"/>
                  </a:lnTo>
                  <a:lnTo>
                    <a:pt x="385" y="456"/>
                  </a:lnTo>
                  <a:lnTo>
                    <a:pt x="360" y="458"/>
                  </a:lnTo>
                  <a:lnTo>
                    <a:pt x="360" y="458"/>
                  </a:lnTo>
                  <a:lnTo>
                    <a:pt x="344" y="456"/>
                  </a:lnTo>
                  <a:lnTo>
                    <a:pt x="327" y="449"/>
                  </a:lnTo>
                  <a:lnTo>
                    <a:pt x="315" y="441"/>
                  </a:lnTo>
                  <a:lnTo>
                    <a:pt x="307" y="431"/>
                  </a:lnTo>
                  <a:lnTo>
                    <a:pt x="307" y="431"/>
                  </a:lnTo>
                  <a:lnTo>
                    <a:pt x="298" y="412"/>
                  </a:lnTo>
                  <a:lnTo>
                    <a:pt x="294" y="389"/>
                  </a:lnTo>
                  <a:lnTo>
                    <a:pt x="294" y="389"/>
                  </a:lnTo>
                  <a:lnTo>
                    <a:pt x="282" y="404"/>
                  </a:lnTo>
                  <a:lnTo>
                    <a:pt x="265" y="416"/>
                  </a:lnTo>
                  <a:lnTo>
                    <a:pt x="248" y="429"/>
                  </a:lnTo>
                  <a:lnTo>
                    <a:pt x="230" y="441"/>
                  </a:lnTo>
                  <a:lnTo>
                    <a:pt x="230" y="441"/>
                  </a:lnTo>
                  <a:lnTo>
                    <a:pt x="207" y="449"/>
                  </a:lnTo>
                  <a:lnTo>
                    <a:pt x="185" y="458"/>
                  </a:lnTo>
                  <a:lnTo>
                    <a:pt x="162" y="462"/>
                  </a:lnTo>
                  <a:lnTo>
                    <a:pt x="137" y="462"/>
                  </a:lnTo>
                  <a:lnTo>
                    <a:pt x="137" y="462"/>
                  </a:lnTo>
                  <a:lnTo>
                    <a:pt x="108" y="460"/>
                  </a:lnTo>
                  <a:lnTo>
                    <a:pt x="96" y="458"/>
                  </a:lnTo>
                  <a:lnTo>
                    <a:pt x="81" y="454"/>
                  </a:lnTo>
                  <a:lnTo>
                    <a:pt x="71" y="447"/>
                  </a:lnTo>
                  <a:lnTo>
                    <a:pt x="58" y="441"/>
                  </a:lnTo>
                  <a:lnTo>
                    <a:pt x="48" y="435"/>
                  </a:lnTo>
                  <a:lnTo>
                    <a:pt x="37" y="424"/>
                  </a:lnTo>
                  <a:lnTo>
                    <a:pt x="37" y="424"/>
                  </a:lnTo>
                  <a:lnTo>
                    <a:pt x="29" y="416"/>
                  </a:lnTo>
                  <a:lnTo>
                    <a:pt x="21" y="406"/>
                  </a:lnTo>
                  <a:lnTo>
                    <a:pt x="15" y="395"/>
                  </a:lnTo>
                  <a:lnTo>
                    <a:pt x="8" y="383"/>
                  </a:lnTo>
                  <a:lnTo>
                    <a:pt x="4" y="372"/>
                  </a:lnTo>
                  <a:lnTo>
                    <a:pt x="2" y="360"/>
                  </a:lnTo>
                  <a:lnTo>
                    <a:pt x="0" y="347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0" y="319"/>
                  </a:lnTo>
                  <a:lnTo>
                    <a:pt x="2" y="304"/>
                  </a:lnTo>
                  <a:lnTo>
                    <a:pt x="4" y="291"/>
                  </a:lnTo>
                  <a:lnTo>
                    <a:pt x="8" y="279"/>
                  </a:lnTo>
                  <a:lnTo>
                    <a:pt x="15" y="269"/>
                  </a:lnTo>
                  <a:lnTo>
                    <a:pt x="21" y="258"/>
                  </a:lnTo>
                  <a:lnTo>
                    <a:pt x="29" y="248"/>
                  </a:lnTo>
                  <a:lnTo>
                    <a:pt x="37" y="239"/>
                  </a:lnTo>
                  <a:lnTo>
                    <a:pt x="37" y="239"/>
                  </a:lnTo>
                  <a:lnTo>
                    <a:pt x="58" y="223"/>
                  </a:lnTo>
                  <a:lnTo>
                    <a:pt x="81" y="213"/>
                  </a:lnTo>
                  <a:lnTo>
                    <a:pt x="108" y="204"/>
                  </a:lnTo>
                  <a:lnTo>
                    <a:pt x="137" y="198"/>
                  </a:lnTo>
                  <a:lnTo>
                    <a:pt x="253" y="183"/>
                  </a:lnTo>
                  <a:close/>
                  <a:moveTo>
                    <a:pt x="100" y="381"/>
                  </a:moveTo>
                  <a:lnTo>
                    <a:pt x="100" y="381"/>
                  </a:lnTo>
                  <a:lnTo>
                    <a:pt x="112" y="389"/>
                  </a:lnTo>
                  <a:lnTo>
                    <a:pt x="125" y="395"/>
                  </a:lnTo>
                  <a:lnTo>
                    <a:pt x="139" y="399"/>
                  </a:lnTo>
                  <a:lnTo>
                    <a:pt x="154" y="399"/>
                  </a:lnTo>
                  <a:lnTo>
                    <a:pt x="154" y="399"/>
                  </a:lnTo>
                  <a:lnTo>
                    <a:pt x="173" y="399"/>
                  </a:lnTo>
                  <a:lnTo>
                    <a:pt x="192" y="395"/>
                  </a:lnTo>
                  <a:lnTo>
                    <a:pt x="211" y="389"/>
                  </a:lnTo>
                  <a:lnTo>
                    <a:pt x="228" y="383"/>
                  </a:lnTo>
                  <a:lnTo>
                    <a:pt x="228" y="383"/>
                  </a:lnTo>
                  <a:lnTo>
                    <a:pt x="242" y="375"/>
                  </a:lnTo>
                  <a:lnTo>
                    <a:pt x="254" y="364"/>
                  </a:lnTo>
                  <a:lnTo>
                    <a:pt x="265" y="354"/>
                  </a:lnTo>
                  <a:lnTo>
                    <a:pt x="273" y="343"/>
                  </a:lnTo>
                  <a:lnTo>
                    <a:pt x="282" y="331"/>
                  </a:lnTo>
                  <a:lnTo>
                    <a:pt x="286" y="316"/>
                  </a:lnTo>
                  <a:lnTo>
                    <a:pt x="288" y="302"/>
                  </a:lnTo>
                  <a:lnTo>
                    <a:pt x="290" y="285"/>
                  </a:lnTo>
                  <a:lnTo>
                    <a:pt x="290" y="225"/>
                  </a:lnTo>
                  <a:lnTo>
                    <a:pt x="290" y="225"/>
                  </a:lnTo>
                  <a:lnTo>
                    <a:pt x="273" y="233"/>
                  </a:lnTo>
                  <a:lnTo>
                    <a:pt x="254" y="239"/>
                  </a:lnTo>
                  <a:lnTo>
                    <a:pt x="254" y="239"/>
                  </a:lnTo>
                  <a:lnTo>
                    <a:pt x="234" y="246"/>
                  </a:lnTo>
                  <a:lnTo>
                    <a:pt x="213" y="248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35" y="260"/>
                  </a:lnTo>
                  <a:lnTo>
                    <a:pt x="121" y="264"/>
                  </a:lnTo>
                  <a:lnTo>
                    <a:pt x="110" y="271"/>
                  </a:lnTo>
                  <a:lnTo>
                    <a:pt x="110" y="271"/>
                  </a:lnTo>
                  <a:lnTo>
                    <a:pt x="96" y="281"/>
                  </a:lnTo>
                  <a:lnTo>
                    <a:pt x="89" y="287"/>
                  </a:lnTo>
                  <a:lnTo>
                    <a:pt x="85" y="296"/>
                  </a:lnTo>
                  <a:lnTo>
                    <a:pt x="81" y="304"/>
                  </a:lnTo>
                  <a:lnTo>
                    <a:pt x="79" y="312"/>
                  </a:lnTo>
                  <a:lnTo>
                    <a:pt x="77" y="331"/>
                  </a:lnTo>
                  <a:lnTo>
                    <a:pt x="77" y="331"/>
                  </a:lnTo>
                  <a:lnTo>
                    <a:pt x="77" y="346"/>
                  </a:lnTo>
                  <a:lnTo>
                    <a:pt x="81" y="360"/>
                  </a:lnTo>
                  <a:lnTo>
                    <a:pt x="89" y="372"/>
                  </a:lnTo>
                  <a:lnTo>
                    <a:pt x="100" y="3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1" name="Freeform 38">
              <a:extLst>
                <a:ext uri="{FF2B5EF4-FFF2-40B4-BE49-F238E27FC236}">
                  <a16:creationId xmlns:a16="http://schemas.microsoft.com/office/drawing/2014/main" id="{A0663E95-CFFF-FF4B-9547-8A0B581614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7788" y="3829050"/>
              <a:ext cx="139700" cy="222250"/>
            </a:xfrm>
            <a:custGeom>
              <a:avLst/>
              <a:gdLst>
                <a:gd name="T0" fmla="*/ 272 w 387"/>
                <a:gd name="T1" fmla="*/ 177 h 619"/>
                <a:gd name="T2" fmla="*/ 293 w 387"/>
                <a:gd name="T3" fmla="*/ 194 h 619"/>
                <a:gd name="T4" fmla="*/ 316 w 387"/>
                <a:gd name="T5" fmla="*/ 0 h 619"/>
                <a:gd name="T6" fmla="*/ 386 w 387"/>
                <a:gd name="T7" fmla="*/ 601 h 619"/>
                <a:gd name="T8" fmla="*/ 320 w 387"/>
                <a:gd name="T9" fmla="*/ 541 h 619"/>
                <a:gd name="T10" fmla="*/ 308 w 387"/>
                <a:gd name="T11" fmla="*/ 560 h 619"/>
                <a:gd name="T12" fmla="*/ 276 w 387"/>
                <a:gd name="T13" fmla="*/ 589 h 619"/>
                <a:gd name="T14" fmla="*/ 260 w 387"/>
                <a:gd name="T15" fmla="*/ 599 h 619"/>
                <a:gd name="T16" fmla="*/ 222 w 387"/>
                <a:gd name="T17" fmla="*/ 612 h 619"/>
                <a:gd name="T18" fmla="*/ 179 w 387"/>
                <a:gd name="T19" fmla="*/ 618 h 619"/>
                <a:gd name="T20" fmla="*/ 162 w 387"/>
                <a:gd name="T21" fmla="*/ 616 h 619"/>
                <a:gd name="T22" fmla="*/ 127 w 387"/>
                <a:gd name="T23" fmla="*/ 608 h 619"/>
                <a:gd name="T24" fmla="*/ 96 w 387"/>
                <a:gd name="T25" fmla="*/ 593 h 619"/>
                <a:gd name="T26" fmla="*/ 67 w 387"/>
                <a:gd name="T27" fmla="*/ 570 h 619"/>
                <a:gd name="T28" fmla="*/ 54 w 387"/>
                <a:gd name="T29" fmla="*/ 556 h 619"/>
                <a:gd name="T30" fmla="*/ 29 w 387"/>
                <a:gd name="T31" fmla="*/ 522 h 619"/>
                <a:gd name="T32" fmla="*/ 12 w 387"/>
                <a:gd name="T33" fmla="*/ 485 h 619"/>
                <a:gd name="T34" fmla="*/ 4 w 387"/>
                <a:gd name="T35" fmla="*/ 441 h 619"/>
                <a:gd name="T36" fmla="*/ 0 w 387"/>
                <a:gd name="T37" fmla="*/ 391 h 619"/>
                <a:gd name="T38" fmla="*/ 0 w 387"/>
                <a:gd name="T39" fmla="*/ 368 h 619"/>
                <a:gd name="T40" fmla="*/ 6 w 387"/>
                <a:gd name="T41" fmla="*/ 325 h 619"/>
                <a:gd name="T42" fmla="*/ 19 w 387"/>
                <a:gd name="T43" fmla="*/ 283 h 619"/>
                <a:gd name="T44" fmla="*/ 37 w 387"/>
                <a:gd name="T45" fmla="*/ 244 h 619"/>
                <a:gd name="T46" fmla="*/ 48 w 387"/>
                <a:gd name="T47" fmla="*/ 227 h 619"/>
                <a:gd name="T48" fmla="*/ 75 w 387"/>
                <a:gd name="T49" fmla="*/ 196 h 619"/>
                <a:gd name="T50" fmla="*/ 108 w 387"/>
                <a:gd name="T51" fmla="*/ 175 h 619"/>
                <a:gd name="T52" fmla="*/ 145 w 387"/>
                <a:gd name="T53" fmla="*/ 161 h 619"/>
                <a:gd name="T54" fmla="*/ 187 w 387"/>
                <a:gd name="T55" fmla="*/ 157 h 619"/>
                <a:gd name="T56" fmla="*/ 212 w 387"/>
                <a:gd name="T57" fmla="*/ 159 h 619"/>
                <a:gd name="T58" fmla="*/ 253 w 387"/>
                <a:gd name="T59" fmla="*/ 169 h 619"/>
                <a:gd name="T60" fmla="*/ 108 w 387"/>
                <a:gd name="T61" fmla="*/ 506 h 619"/>
                <a:gd name="T62" fmla="*/ 114 w 387"/>
                <a:gd name="T63" fmla="*/ 516 h 619"/>
                <a:gd name="T64" fmla="*/ 135 w 387"/>
                <a:gd name="T65" fmla="*/ 535 h 619"/>
                <a:gd name="T66" fmla="*/ 158 w 387"/>
                <a:gd name="T67" fmla="*/ 547 h 619"/>
                <a:gd name="T68" fmla="*/ 187 w 387"/>
                <a:gd name="T69" fmla="*/ 551 h 619"/>
                <a:gd name="T70" fmla="*/ 202 w 387"/>
                <a:gd name="T71" fmla="*/ 553 h 619"/>
                <a:gd name="T72" fmla="*/ 226 w 387"/>
                <a:gd name="T73" fmla="*/ 549 h 619"/>
                <a:gd name="T74" fmla="*/ 249 w 387"/>
                <a:gd name="T75" fmla="*/ 541 h 619"/>
                <a:gd name="T76" fmla="*/ 268 w 387"/>
                <a:gd name="T77" fmla="*/ 529 h 619"/>
                <a:gd name="T78" fmla="*/ 285 w 387"/>
                <a:gd name="T79" fmla="*/ 510 h 619"/>
                <a:gd name="T80" fmla="*/ 293 w 387"/>
                <a:gd name="T81" fmla="*/ 497 h 619"/>
                <a:gd name="T82" fmla="*/ 305 w 387"/>
                <a:gd name="T83" fmla="*/ 470 h 619"/>
                <a:gd name="T84" fmla="*/ 316 w 387"/>
                <a:gd name="T85" fmla="*/ 423 h 619"/>
                <a:gd name="T86" fmla="*/ 318 w 387"/>
                <a:gd name="T87" fmla="*/ 383 h 619"/>
                <a:gd name="T88" fmla="*/ 314 w 387"/>
                <a:gd name="T89" fmla="*/ 327 h 619"/>
                <a:gd name="T90" fmla="*/ 305 w 387"/>
                <a:gd name="T91" fmla="*/ 296 h 619"/>
                <a:gd name="T92" fmla="*/ 293 w 387"/>
                <a:gd name="T93" fmla="*/ 271 h 619"/>
                <a:gd name="T94" fmla="*/ 285 w 387"/>
                <a:gd name="T95" fmla="*/ 260 h 619"/>
                <a:gd name="T96" fmla="*/ 258 w 387"/>
                <a:gd name="T97" fmla="*/ 235 h 619"/>
                <a:gd name="T98" fmla="*/ 237 w 387"/>
                <a:gd name="T99" fmla="*/ 227 h 619"/>
                <a:gd name="T100" fmla="*/ 214 w 387"/>
                <a:gd name="T101" fmla="*/ 221 h 619"/>
                <a:gd name="T102" fmla="*/ 202 w 387"/>
                <a:gd name="T103" fmla="*/ 221 h 619"/>
                <a:gd name="T104" fmla="*/ 174 w 387"/>
                <a:gd name="T105" fmla="*/ 223 h 619"/>
                <a:gd name="T106" fmla="*/ 152 w 387"/>
                <a:gd name="T107" fmla="*/ 231 h 619"/>
                <a:gd name="T108" fmla="*/ 131 w 387"/>
                <a:gd name="T109" fmla="*/ 244 h 619"/>
                <a:gd name="T110" fmla="*/ 112 w 387"/>
                <a:gd name="T111" fmla="*/ 262 h 619"/>
                <a:gd name="T112" fmla="*/ 104 w 387"/>
                <a:gd name="T113" fmla="*/ 275 h 619"/>
                <a:gd name="T114" fmla="*/ 91 w 387"/>
                <a:gd name="T115" fmla="*/ 300 h 619"/>
                <a:gd name="T116" fmla="*/ 83 w 387"/>
                <a:gd name="T117" fmla="*/ 331 h 619"/>
                <a:gd name="T118" fmla="*/ 77 w 387"/>
                <a:gd name="T119" fmla="*/ 387 h 619"/>
                <a:gd name="T120" fmla="*/ 79 w 387"/>
                <a:gd name="T121" fmla="*/ 423 h 619"/>
                <a:gd name="T122" fmla="*/ 93 w 387"/>
                <a:gd name="T123" fmla="*/ 481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7" h="619">
                  <a:moveTo>
                    <a:pt x="272" y="177"/>
                  </a:moveTo>
                  <a:lnTo>
                    <a:pt x="272" y="177"/>
                  </a:lnTo>
                  <a:lnTo>
                    <a:pt x="280" y="185"/>
                  </a:lnTo>
                  <a:lnTo>
                    <a:pt x="293" y="194"/>
                  </a:lnTo>
                  <a:lnTo>
                    <a:pt x="316" y="221"/>
                  </a:lnTo>
                  <a:lnTo>
                    <a:pt x="316" y="0"/>
                  </a:lnTo>
                  <a:lnTo>
                    <a:pt x="386" y="0"/>
                  </a:lnTo>
                  <a:lnTo>
                    <a:pt x="386" y="601"/>
                  </a:lnTo>
                  <a:lnTo>
                    <a:pt x="320" y="601"/>
                  </a:lnTo>
                  <a:lnTo>
                    <a:pt x="320" y="541"/>
                  </a:lnTo>
                  <a:lnTo>
                    <a:pt x="320" y="541"/>
                  </a:lnTo>
                  <a:lnTo>
                    <a:pt x="308" y="560"/>
                  </a:lnTo>
                  <a:lnTo>
                    <a:pt x="293" y="576"/>
                  </a:lnTo>
                  <a:lnTo>
                    <a:pt x="276" y="589"/>
                  </a:lnTo>
                  <a:lnTo>
                    <a:pt x="260" y="599"/>
                  </a:lnTo>
                  <a:lnTo>
                    <a:pt x="260" y="599"/>
                  </a:lnTo>
                  <a:lnTo>
                    <a:pt x="241" y="608"/>
                  </a:lnTo>
                  <a:lnTo>
                    <a:pt x="222" y="612"/>
                  </a:lnTo>
                  <a:lnTo>
                    <a:pt x="202" y="616"/>
                  </a:lnTo>
                  <a:lnTo>
                    <a:pt x="179" y="618"/>
                  </a:lnTo>
                  <a:lnTo>
                    <a:pt x="179" y="618"/>
                  </a:lnTo>
                  <a:lnTo>
                    <a:pt x="162" y="616"/>
                  </a:lnTo>
                  <a:lnTo>
                    <a:pt x="143" y="614"/>
                  </a:lnTo>
                  <a:lnTo>
                    <a:pt x="127" y="608"/>
                  </a:lnTo>
                  <a:lnTo>
                    <a:pt x="112" y="601"/>
                  </a:lnTo>
                  <a:lnTo>
                    <a:pt x="96" y="593"/>
                  </a:lnTo>
                  <a:lnTo>
                    <a:pt x="81" y="583"/>
                  </a:lnTo>
                  <a:lnTo>
                    <a:pt x="67" y="570"/>
                  </a:lnTo>
                  <a:lnTo>
                    <a:pt x="54" y="556"/>
                  </a:lnTo>
                  <a:lnTo>
                    <a:pt x="54" y="556"/>
                  </a:lnTo>
                  <a:lnTo>
                    <a:pt x="42" y="539"/>
                  </a:lnTo>
                  <a:lnTo>
                    <a:pt x="29" y="522"/>
                  </a:lnTo>
                  <a:lnTo>
                    <a:pt x="21" y="504"/>
                  </a:lnTo>
                  <a:lnTo>
                    <a:pt x="12" y="485"/>
                  </a:lnTo>
                  <a:lnTo>
                    <a:pt x="8" y="462"/>
                  </a:lnTo>
                  <a:lnTo>
                    <a:pt x="4" y="441"/>
                  </a:lnTo>
                  <a:lnTo>
                    <a:pt x="0" y="416"/>
                  </a:lnTo>
                  <a:lnTo>
                    <a:pt x="0" y="391"/>
                  </a:lnTo>
                  <a:lnTo>
                    <a:pt x="0" y="391"/>
                  </a:lnTo>
                  <a:lnTo>
                    <a:pt x="0" y="368"/>
                  </a:lnTo>
                  <a:lnTo>
                    <a:pt x="4" y="346"/>
                  </a:lnTo>
                  <a:lnTo>
                    <a:pt x="6" y="325"/>
                  </a:lnTo>
                  <a:lnTo>
                    <a:pt x="12" y="304"/>
                  </a:lnTo>
                  <a:lnTo>
                    <a:pt x="19" y="283"/>
                  </a:lnTo>
                  <a:lnTo>
                    <a:pt x="27" y="262"/>
                  </a:lnTo>
                  <a:lnTo>
                    <a:pt x="37" y="244"/>
                  </a:lnTo>
                  <a:lnTo>
                    <a:pt x="48" y="227"/>
                  </a:lnTo>
                  <a:lnTo>
                    <a:pt x="48" y="227"/>
                  </a:lnTo>
                  <a:lnTo>
                    <a:pt x="62" y="210"/>
                  </a:lnTo>
                  <a:lnTo>
                    <a:pt x="75" y="196"/>
                  </a:lnTo>
                  <a:lnTo>
                    <a:pt x="91" y="183"/>
                  </a:lnTo>
                  <a:lnTo>
                    <a:pt x="108" y="175"/>
                  </a:lnTo>
                  <a:lnTo>
                    <a:pt x="125" y="167"/>
                  </a:lnTo>
                  <a:lnTo>
                    <a:pt x="145" y="161"/>
                  </a:lnTo>
                  <a:lnTo>
                    <a:pt x="166" y="159"/>
                  </a:lnTo>
                  <a:lnTo>
                    <a:pt x="187" y="157"/>
                  </a:lnTo>
                  <a:lnTo>
                    <a:pt x="187" y="157"/>
                  </a:lnTo>
                  <a:lnTo>
                    <a:pt x="212" y="159"/>
                  </a:lnTo>
                  <a:lnTo>
                    <a:pt x="233" y="163"/>
                  </a:lnTo>
                  <a:lnTo>
                    <a:pt x="253" y="169"/>
                  </a:lnTo>
                  <a:lnTo>
                    <a:pt x="272" y="177"/>
                  </a:lnTo>
                  <a:close/>
                  <a:moveTo>
                    <a:pt x="108" y="506"/>
                  </a:moveTo>
                  <a:lnTo>
                    <a:pt x="108" y="506"/>
                  </a:lnTo>
                  <a:lnTo>
                    <a:pt x="114" y="516"/>
                  </a:lnTo>
                  <a:lnTo>
                    <a:pt x="125" y="526"/>
                  </a:lnTo>
                  <a:lnTo>
                    <a:pt x="135" y="535"/>
                  </a:lnTo>
                  <a:lnTo>
                    <a:pt x="145" y="541"/>
                  </a:lnTo>
                  <a:lnTo>
                    <a:pt x="158" y="547"/>
                  </a:lnTo>
                  <a:lnTo>
                    <a:pt x="172" y="549"/>
                  </a:lnTo>
                  <a:lnTo>
                    <a:pt x="187" y="551"/>
                  </a:lnTo>
                  <a:lnTo>
                    <a:pt x="202" y="553"/>
                  </a:lnTo>
                  <a:lnTo>
                    <a:pt x="202" y="553"/>
                  </a:lnTo>
                  <a:lnTo>
                    <a:pt x="214" y="551"/>
                  </a:lnTo>
                  <a:lnTo>
                    <a:pt x="226" y="549"/>
                  </a:lnTo>
                  <a:lnTo>
                    <a:pt x="237" y="547"/>
                  </a:lnTo>
                  <a:lnTo>
                    <a:pt x="249" y="541"/>
                  </a:lnTo>
                  <a:lnTo>
                    <a:pt x="258" y="537"/>
                  </a:lnTo>
                  <a:lnTo>
                    <a:pt x="268" y="529"/>
                  </a:lnTo>
                  <a:lnTo>
                    <a:pt x="276" y="520"/>
                  </a:lnTo>
                  <a:lnTo>
                    <a:pt x="285" y="510"/>
                  </a:lnTo>
                  <a:lnTo>
                    <a:pt x="285" y="510"/>
                  </a:lnTo>
                  <a:lnTo>
                    <a:pt x="293" y="497"/>
                  </a:lnTo>
                  <a:lnTo>
                    <a:pt x="299" y="485"/>
                  </a:lnTo>
                  <a:lnTo>
                    <a:pt x="305" y="470"/>
                  </a:lnTo>
                  <a:lnTo>
                    <a:pt x="310" y="456"/>
                  </a:lnTo>
                  <a:lnTo>
                    <a:pt x="316" y="423"/>
                  </a:lnTo>
                  <a:lnTo>
                    <a:pt x="318" y="383"/>
                  </a:lnTo>
                  <a:lnTo>
                    <a:pt x="318" y="383"/>
                  </a:lnTo>
                  <a:lnTo>
                    <a:pt x="316" y="343"/>
                  </a:lnTo>
                  <a:lnTo>
                    <a:pt x="314" y="327"/>
                  </a:lnTo>
                  <a:lnTo>
                    <a:pt x="310" y="310"/>
                  </a:lnTo>
                  <a:lnTo>
                    <a:pt x="305" y="296"/>
                  </a:lnTo>
                  <a:lnTo>
                    <a:pt x="299" y="283"/>
                  </a:lnTo>
                  <a:lnTo>
                    <a:pt x="293" y="271"/>
                  </a:lnTo>
                  <a:lnTo>
                    <a:pt x="285" y="260"/>
                  </a:lnTo>
                  <a:lnTo>
                    <a:pt x="285" y="260"/>
                  </a:lnTo>
                  <a:lnTo>
                    <a:pt x="266" y="244"/>
                  </a:lnTo>
                  <a:lnTo>
                    <a:pt x="258" y="235"/>
                  </a:lnTo>
                  <a:lnTo>
                    <a:pt x="247" y="231"/>
                  </a:lnTo>
                  <a:lnTo>
                    <a:pt x="237" y="227"/>
                  </a:lnTo>
                  <a:lnTo>
                    <a:pt x="224" y="223"/>
                  </a:lnTo>
                  <a:lnTo>
                    <a:pt x="214" y="221"/>
                  </a:lnTo>
                  <a:lnTo>
                    <a:pt x="202" y="221"/>
                  </a:lnTo>
                  <a:lnTo>
                    <a:pt x="202" y="221"/>
                  </a:lnTo>
                  <a:lnTo>
                    <a:pt x="187" y="221"/>
                  </a:lnTo>
                  <a:lnTo>
                    <a:pt x="174" y="223"/>
                  </a:lnTo>
                  <a:lnTo>
                    <a:pt x="162" y="227"/>
                  </a:lnTo>
                  <a:lnTo>
                    <a:pt x="152" y="231"/>
                  </a:lnTo>
                  <a:lnTo>
                    <a:pt x="141" y="238"/>
                  </a:lnTo>
                  <a:lnTo>
                    <a:pt x="131" y="244"/>
                  </a:lnTo>
                  <a:lnTo>
                    <a:pt x="120" y="254"/>
                  </a:lnTo>
                  <a:lnTo>
                    <a:pt x="112" y="262"/>
                  </a:lnTo>
                  <a:lnTo>
                    <a:pt x="112" y="262"/>
                  </a:lnTo>
                  <a:lnTo>
                    <a:pt x="104" y="275"/>
                  </a:lnTo>
                  <a:lnTo>
                    <a:pt x="98" y="287"/>
                  </a:lnTo>
                  <a:lnTo>
                    <a:pt x="91" y="300"/>
                  </a:lnTo>
                  <a:lnTo>
                    <a:pt x="87" y="317"/>
                  </a:lnTo>
                  <a:lnTo>
                    <a:pt x="83" y="331"/>
                  </a:lnTo>
                  <a:lnTo>
                    <a:pt x="79" y="350"/>
                  </a:lnTo>
                  <a:lnTo>
                    <a:pt x="77" y="387"/>
                  </a:lnTo>
                  <a:lnTo>
                    <a:pt x="77" y="387"/>
                  </a:lnTo>
                  <a:lnTo>
                    <a:pt x="79" y="423"/>
                  </a:lnTo>
                  <a:lnTo>
                    <a:pt x="85" y="452"/>
                  </a:lnTo>
                  <a:lnTo>
                    <a:pt x="93" y="481"/>
                  </a:lnTo>
                  <a:lnTo>
                    <a:pt x="108" y="50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2" name="Freeform 39">
              <a:extLst>
                <a:ext uri="{FF2B5EF4-FFF2-40B4-BE49-F238E27FC236}">
                  <a16:creationId xmlns:a16="http://schemas.microsoft.com/office/drawing/2014/main" id="{C6DBECE0-24BD-0B48-8604-B2C2B528F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9238" y="3884613"/>
              <a:ext cx="149225" cy="166687"/>
            </a:xfrm>
            <a:custGeom>
              <a:avLst/>
              <a:gdLst>
                <a:gd name="T0" fmla="*/ 266 w 414"/>
                <a:gd name="T1" fmla="*/ 181 h 463"/>
                <a:gd name="T2" fmla="*/ 288 w 414"/>
                <a:gd name="T3" fmla="*/ 163 h 463"/>
                <a:gd name="T4" fmla="*/ 293 w 414"/>
                <a:gd name="T5" fmla="*/ 133 h 463"/>
                <a:gd name="T6" fmla="*/ 286 w 414"/>
                <a:gd name="T7" fmla="*/ 100 h 463"/>
                <a:gd name="T8" fmla="*/ 266 w 414"/>
                <a:gd name="T9" fmla="*/ 79 h 463"/>
                <a:gd name="T10" fmla="*/ 214 w 414"/>
                <a:gd name="T11" fmla="*/ 63 h 463"/>
                <a:gd name="T12" fmla="*/ 164 w 414"/>
                <a:gd name="T13" fmla="*/ 65 h 463"/>
                <a:gd name="T14" fmla="*/ 122 w 414"/>
                <a:gd name="T15" fmla="*/ 79 h 463"/>
                <a:gd name="T16" fmla="*/ 108 w 414"/>
                <a:gd name="T17" fmla="*/ 94 h 463"/>
                <a:gd name="T18" fmla="*/ 93 w 414"/>
                <a:gd name="T19" fmla="*/ 129 h 463"/>
                <a:gd name="T20" fmla="*/ 23 w 414"/>
                <a:gd name="T21" fmla="*/ 144 h 463"/>
                <a:gd name="T22" fmla="*/ 31 w 414"/>
                <a:gd name="T23" fmla="*/ 90 h 463"/>
                <a:gd name="T24" fmla="*/ 52 w 414"/>
                <a:gd name="T25" fmla="*/ 50 h 463"/>
                <a:gd name="T26" fmla="*/ 75 w 414"/>
                <a:gd name="T27" fmla="*/ 31 h 463"/>
                <a:gd name="T28" fmla="*/ 160 w 414"/>
                <a:gd name="T29" fmla="*/ 3 h 463"/>
                <a:gd name="T30" fmla="*/ 228 w 414"/>
                <a:gd name="T31" fmla="*/ 3 h 463"/>
                <a:gd name="T32" fmla="*/ 316 w 414"/>
                <a:gd name="T33" fmla="*/ 29 h 463"/>
                <a:gd name="T34" fmla="*/ 336 w 414"/>
                <a:gd name="T35" fmla="*/ 46 h 463"/>
                <a:gd name="T36" fmla="*/ 357 w 414"/>
                <a:gd name="T37" fmla="*/ 79 h 463"/>
                <a:gd name="T38" fmla="*/ 363 w 414"/>
                <a:gd name="T39" fmla="*/ 121 h 463"/>
                <a:gd name="T40" fmla="*/ 366 w 414"/>
                <a:gd name="T41" fmla="*/ 383 h 463"/>
                <a:gd name="T42" fmla="*/ 372 w 414"/>
                <a:gd name="T43" fmla="*/ 393 h 463"/>
                <a:gd name="T44" fmla="*/ 388 w 414"/>
                <a:gd name="T45" fmla="*/ 397 h 463"/>
                <a:gd name="T46" fmla="*/ 413 w 414"/>
                <a:gd name="T47" fmla="*/ 395 h 463"/>
                <a:gd name="T48" fmla="*/ 386 w 414"/>
                <a:gd name="T49" fmla="*/ 456 h 463"/>
                <a:gd name="T50" fmla="*/ 361 w 414"/>
                <a:gd name="T51" fmla="*/ 458 h 463"/>
                <a:gd name="T52" fmla="*/ 318 w 414"/>
                <a:gd name="T53" fmla="*/ 441 h 463"/>
                <a:gd name="T54" fmla="*/ 299 w 414"/>
                <a:gd name="T55" fmla="*/ 412 h 463"/>
                <a:gd name="T56" fmla="*/ 282 w 414"/>
                <a:gd name="T57" fmla="*/ 404 h 463"/>
                <a:gd name="T58" fmla="*/ 230 w 414"/>
                <a:gd name="T59" fmla="*/ 441 h 463"/>
                <a:gd name="T60" fmla="*/ 185 w 414"/>
                <a:gd name="T61" fmla="*/ 458 h 463"/>
                <a:gd name="T62" fmla="*/ 137 w 414"/>
                <a:gd name="T63" fmla="*/ 462 h 463"/>
                <a:gd name="T64" fmla="*/ 83 w 414"/>
                <a:gd name="T65" fmla="*/ 454 h 463"/>
                <a:gd name="T66" fmla="*/ 48 w 414"/>
                <a:gd name="T67" fmla="*/ 435 h 463"/>
                <a:gd name="T68" fmla="*/ 29 w 414"/>
                <a:gd name="T69" fmla="*/ 416 h 463"/>
                <a:gd name="T70" fmla="*/ 8 w 414"/>
                <a:gd name="T71" fmla="*/ 383 h 463"/>
                <a:gd name="T72" fmla="*/ 0 w 414"/>
                <a:gd name="T73" fmla="*/ 347 h 463"/>
                <a:gd name="T74" fmla="*/ 0 w 414"/>
                <a:gd name="T75" fmla="*/ 319 h 463"/>
                <a:gd name="T76" fmla="*/ 8 w 414"/>
                <a:gd name="T77" fmla="*/ 279 h 463"/>
                <a:gd name="T78" fmla="*/ 29 w 414"/>
                <a:gd name="T79" fmla="*/ 248 h 463"/>
                <a:gd name="T80" fmla="*/ 58 w 414"/>
                <a:gd name="T81" fmla="*/ 223 h 463"/>
                <a:gd name="T82" fmla="*/ 137 w 414"/>
                <a:gd name="T83" fmla="*/ 198 h 463"/>
                <a:gd name="T84" fmla="*/ 100 w 414"/>
                <a:gd name="T85" fmla="*/ 381 h 463"/>
                <a:gd name="T86" fmla="*/ 139 w 414"/>
                <a:gd name="T87" fmla="*/ 399 h 463"/>
                <a:gd name="T88" fmla="*/ 174 w 414"/>
                <a:gd name="T89" fmla="*/ 399 h 463"/>
                <a:gd name="T90" fmla="*/ 228 w 414"/>
                <a:gd name="T91" fmla="*/ 383 h 463"/>
                <a:gd name="T92" fmla="*/ 255 w 414"/>
                <a:gd name="T93" fmla="*/ 364 h 463"/>
                <a:gd name="T94" fmla="*/ 282 w 414"/>
                <a:gd name="T95" fmla="*/ 331 h 463"/>
                <a:gd name="T96" fmla="*/ 291 w 414"/>
                <a:gd name="T97" fmla="*/ 285 h 463"/>
                <a:gd name="T98" fmla="*/ 276 w 414"/>
                <a:gd name="T99" fmla="*/ 233 h 463"/>
                <a:gd name="T100" fmla="*/ 235 w 414"/>
                <a:gd name="T101" fmla="*/ 246 h 463"/>
                <a:gd name="T102" fmla="*/ 170 w 414"/>
                <a:gd name="T103" fmla="*/ 254 h 463"/>
                <a:gd name="T104" fmla="*/ 110 w 414"/>
                <a:gd name="T105" fmla="*/ 271 h 463"/>
                <a:gd name="T106" fmla="*/ 89 w 414"/>
                <a:gd name="T107" fmla="*/ 287 h 463"/>
                <a:gd name="T108" fmla="*/ 79 w 414"/>
                <a:gd name="T109" fmla="*/ 312 h 463"/>
                <a:gd name="T110" fmla="*/ 77 w 414"/>
                <a:gd name="T111" fmla="*/ 346 h 463"/>
                <a:gd name="T112" fmla="*/ 100 w 414"/>
                <a:gd name="T113" fmla="*/ 381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4" h="463">
                  <a:moveTo>
                    <a:pt x="253" y="183"/>
                  </a:moveTo>
                  <a:lnTo>
                    <a:pt x="253" y="183"/>
                  </a:lnTo>
                  <a:lnTo>
                    <a:pt x="266" y="181"/>
                  </a:lnTo>
                  <a:lnTo>
                    <a:pt x="274" y="177"/>
                  </a:lnTo>
                  <a:lnTo>
                    <a:pt x="282" y="171"/>
                  </a:lnTo>
                  <a:lnTo>
                    <a:pt x="288" y="163"/>
                  </a:lnTo>
                  <a:lnTo>
                    <a:pt x="288" y="163"/>
                  </a:lnTo>
                  <a:lnTo>
                    <a:pt x="291" y="150"/>
                  </a:lnTo>
                  <a:lnTo>
                    <a:pt x="293" y="133"/>
                  </a:lnTo>
                  <a:lnTo>
                    <a:pt x="293" y="133"/>
                  </a:lnTo>
                  <a:lnTo>
                    <a:pt x="291" y="117"/>
                  </a:lnTo>
                  <a:lnTo>
                    <a:pt x="286" y="100"/>
                  </a:lnTo>
                  <a:lnTo>
                    <a:pt x="278" y="90"/>
                  </a:lnTo>
                  <a:lnTo>
                    <a:pt x="266" y="79"/>
                  </a:lnTo>
                  <a:lnTo>
                    <a:pt x="266" y="79"/>
                  </a:lnTo>
                  <a:lnTo>
                    <a:pt x="251" y="71"/>
                  </a:lnTo>
                  <a:lnTo>
                    <a:pt x="232" y="67"/>
                  </a:lnTo>
                  <a:lnTo>
                    <a:pt x="214" y="63"/>
                  </a:lnTo>
                  <a:lnTo>
                    <a:pt x="189" y="63"/>
                  </a:lnTo>
                  <a:lnTo>
                    <a:pt x="189" y="63"/>
                  </a:lnTo>
                  <a:lnTo>
                    <a:pt x="164" y="65"/>
                  </a:lnTo>
                  <a:lnTo>
                    <a:pt x="141" y="69"/>
                  </a:lnTo>
                  <a:lnTo>
                    <a:pt x="131" y="73"/>
                  </a:lnTo>
                  <a:lnTo>
                    <a:pt x="122" y="79"/>
                  </a:lnTo>
                  <a:lnTo>
                    <a:pt x="114" y="86"/>
                  </a:lnTo>
                  <a:lnTo>
                    <a:pt x="108" y="94"/>
                  </a:lnTo>
                  <a:lnTo>
                    <a:pt x="108" y="94"/>
                  </a:lnTo>
                  <a:lnTo>
                    <a:pt x="101" y="102"/>
                  </a:lnTo>
                  <a:lnTo>
                    <a:pt x="97" y="115"/>
                  </a:lnTo>
                  <a:lnTo>
                    <a:pt x="93" y="129"/>
                  </a:lnTo>
                  <a:lnTo>
                    <a:pt x="91" y="144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3" y="125"/>
                  </a:lnTo>
                  <a:lnTo>
                    <a:pt x="27" y="106"/>
                  </a:lnTo>
                  <a:lnTo>
                    <a:pt x="31" y="90"/>
                  </a:lnTo>
                  <a:lnTo>
                    <a:pt x="37" y="75"/>
                  </a:lnTo>
                  <a:lnTo>
                    <a:pt x="43" y="63"/>
                  </a:lnTo>
                  <a:lnTo>
                    <a:pt x="52" y="50"/>
                  </a:lnTo>
                  <a:lnTo>
                    <a:pt x="62" y="4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101" y="17"/>
                  </a:lnTo>
                  <a:lnTo>
                    <a:pt x="129" y="9"/>
                  </a:lnTo>
                  <a:lnTo>
                    <a:pt x="160" y="3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228" y="3"/>
                  </a:lnTo>
                  <a:lnTo>
                    <a:pt x="262" y="7"/>
                  </a:lnTo>
                  <a:lnTo>
                    <a:pt x="291" y="17"/>
                  </a:lnTo>
                  <a:lnTo>
                    <a:pt x="316" y="29"/>
                  </a:lnTo>
                  <a:lnTo>
                    <a:pt x="316" y="29"/>
                  </a:lnTo>
                  <a:lnTo>
                    <a:pt x="328" y="38"/>
                  </a:lnTo>
                  <a:lnTo>
                    <a:pt x="336" y="46"/>
                  </a:lnTo>
                  <a:lnTo>
                    <a:pt x="345" y="56"/>
                  </a:lnTo>
                  <a:lnTo>
                    <a:pt x="353" y="67"/>
                  </a:lnTo>
                  <a:lnTo>
                    <a:pt x="357" y="79"/>
                  </a:lnTo>
                  <a:lnTo>
                    <a:pt x="361" y="92"/>
                  </a:lnTo>
                  <a:lnTo>
                    <a:pt x="363" y="106"/>
                  </a:lnTo>
                  <a:lnTo>
                    <a:pt x="363" y="121"/>
                  </a:lnTo>
                  <a:lnTo>
                    <a:pt x="363" y="372"/>
                  </a:lnTo>
                  <a:lnTo>
                    <a:pt x="363" y="372"/>
                  </a:lnTo>
                  <a:lnTo>
                    <a:pt x="366" y="383"/>
                  </a:lnTo>
                  <a:lnTo>
                    <a:pt x="370" y="391"/>
                  </a:lnTo>
                  <a:lnTo>
                    <a:pt x="370" y="391"/>
                  </a:lnTo>
                  <a:lnTo>
                    <a:pt x="372" y="393"/>
                  </a:lnTo>
                  <a:lnTo>
                    <a:pt x="376" y="395"/>
                  </a:lnTo>
                  <a:lnTo>
                    <a:pt x="388" y="397"/>
                  </a:lnTo>
                  <a:lnTo>
                    <a:pt x="388" y="397"/>
                  </a:lnTo>
                  <a:lnTo>
                    <a:pt x="399" y="397"/>
                  </a:lnTo>
                  <a:lnTo>
                    <a:pt x="399" y="397"/>
                  </a:lnTo>
                  <a:lnTo>
                    <a:pt x="413" y="395"/>
                  </a:lnTo>
                  <a:lnTo>
                    <a:pt x="413" y="449"/>
                  </a:lnTo>
                  <a:lnTo>
                    <a:pt x="413" y="449"/>
                  </a:lnTo>
                  <a:lnTo>
                    <a:pt x="386" y="456"/>
                  </a:lnTo>
                  <a:lnTo>
                    <a:pt x="386" y="456"/>
                  </a:lnTo>
                  <a:lnTo>
                    <a:pt x="361" y="458"/>
                  </a:lnTo>
                  <a:lnTo>
                    <a:pt x="361" y="458"/>
                  </a:lnTo>
                  <a:lnTo>
                    <a:pt x="345" y="456"/>
                  </a:lnTo>
                  <a:lnTo>
                    <a:pt x="330" y="449"/>
                  </a:lnTo>
                  <a:lnTo>
                    <a:pt x="318" y="441"/>
                  </a:lnTo>
                  <a:lnTo>
                    <a:pt x="307" y="431"/>
                  </a:lnTo>
                  <a:lnTo>
                    <a:pt x="307" y="431"/>
                  </a:lnTo>
                  <a:lnTo>
                    <a:pt x="299" y="412"/>
                  </a:lnTo>
                  <a:lnTo>
                    <a:pt x="295" y="389"/>
                  </a:lnTo>
                  <a:lnTo>
                    <a:pt x="295" y="389"/>
                  </a:lnTo>
                  <a:lnTo>
                    <a:pt x="282" y="404"/>
                  </a:lnTo>
                  <a:lnTo>
                    <a:pt x="268" y="416"/>
                  </a:lnTo>
                  <a:lnTo>
                    <a:pt x="249" y="429"/>
                  </a:lnTo>
                  <a:lnTo>
                    <a:pt x="230" y="441"/>
                  </a:lnTo>
                  <a:lnTo>
                    <a:pt x="230" y="441"/>
                  </a:lnTo>
                  <a:lnTo>
                    <a:pt x="207" y="449"/>
                  </a:lnTo>
                  <a:lnTo>
                    <a:pt x="185" y="458"/>
                  </a:lnTo>
                  <a:lnTo>
                    <a:pt x="162" y="462"/>
                  </a:lnTo>
                  <a:lnTo>
                    <a:pt x="137" y="462"/>
                  </a:lnTo>
                  <a:lnTo>
                    <a:pt x="137" y="462"/>
                  </a:lnTo>
                  <a:lnTo>
                    <a:pt x="108" y="460"/>
                  </a:lnTo>
                  <a:lnTo>
                    <a:pt x="95" y="458"/>
                  </a:lnTo>
                  <a:lnTo>
                    <a:pt x="83" y="454"/>
                  </a:lnTo>
                  <a:lnTo>
                    <a:pt x="70" y="447"/>
                  </a:lnTo>
                  <a:lnTo>
                    <a:pt x="58" y="441"/>
                  </a:lnTo>
                  <a:lnTo>
                    <a:pt x="48" y="435"/>
                  </a:lnTo>
                  <a:lnTo>
                    <a:pt x="37" y="424"/>
                  </a:lnTo>
                  <a:lnTo>
                    <a:pt x="37" y="424"/>
                  </a:lnTo>
                  <a:lnTo>
                    <a:pt x="29" y="416"/>
                  </a:lnTo>
                  <a:lnTo>
                    <a:pt x="20" y="406"/>
                  </a:lnTo>
                  <a:lnTo>
                    <a:pt x="14" y="395"/>
                  </a:lnTo>
                  <a:lnTo>
                    <a:pt x="8" y="383"/>
                  </a:lnTo>
                  <a:lnTo>
                    <a:pt x="4" y="372"/>
                  </a:lnTo>
                  <a:lnTo>
                    <a:pt x="2" y="360"/>
                  </a:lnTo>
                  <a:lnTo>
                    <a:pt x="0" y="347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0" y="319"/>
                  </a:lnTo>
                  <a:lnTo>
                    <a:pt x="2" y="304"/>
                  </a:lnTo>
                  <a:lnTo>
                    <a:pt x="4" y="291"/>
                  </a:lnTo>
                  <a:lnTo>
                    <a:pt x="8" y="279"/>
                  </a:lnTo>
                  <a:lnTo>
                    <a:pt x="14" y="269"/>
                  </a:lnTo>
                  <a:lnTo>
                    <a:pt x="20" y="258"/>
                  </a:lnTo>
                  <a:lnTo>
                    <a:pt x="29" y="248"/>
                  </a:lnTo>
                  <a:lnTo>
                    <a:pt x="37" y="239"/>
                  </a:lnTo>
                  <a:lnTo>
                    <a:pt x="37" y="239"/>
                  </a:lnTo>
                  <a:lnTo>
                    <a:pt x="58" y="223"/>
                  </a:lnTo>
                  <a:lnTo>
                    <a:pt x="81" y="213"/>
                  </a:lnTo>
                  <a:lnTo>
                    <a:pt x="108" y="204"/>
                  </a:lnTo>
                  <a:lnTo>
                    <a:pt x="137" y="198"/>
                  </a:lnTo>
                  <a:lnTo>
                    <a:pt x="253" y="183"/>
                  </a:lnTo>
                  <a:close/>
                  <a:moveTo>
                    <a:pt x="100" y="381"/>
                  </a:moveTo>
                  <a:lnTo>
                    <a:pt x="100" y="381"/>
                  </a:lnTo>
                  <a:lnTo>
                    <a:pt x="112" y="389"/>
                  </a:lnTo>
                  <a:lnTo>
                    <a:pt x="124" y="395"/>
                  </a:lnTo>
                  <a:lnTo>
                    <a:pt x="139" y="399"/>
                  </a:lnTo>
                  <a:lnTo>
                    <a:pt x="154" y="399"/>
                  </a:lnTo>
                  <a:lnTo>
                    <a:pt x="154" y="399"/>
                  </a:lnTo>
                  <a:lnTo>
                    <a:pt x="174" y="399"/>
                  </a:lnTo>
                  <a:lnTo>
                    <a:pt x="193" y="395"/>
                  </a:lnTo>
                  <a:lnTo>
                    <a:pt x="212" y="389"/>
                  </a:lnTo>
                  <a:lnTo>
                    <a:pt x="228" y="383"/>
                  </a:lnTo>
                  <a:lnTo>
                    <a:pt x="228" y="383"/>
                  </a:lnTo>
                  <a:lnTo>
                    <a:pt x="243" y="375"/>
                  </a:lnTo>
                  <a:lnTo>
                    <a:pt x="255" y="364"/>
                  </a:lnTo>
                  <a:lnTo>
                    <a:pt x="266" y="354"/>
                  </a:lnTo>
                  <a:lnTo>
                    <a:pt x="276" y="343"/>
                  </a:lnTo>
                  <a:lnTo>
                    <a:pt x="282" y="331"/>
                  </a:lnTo>
                  <a:lnTo>
                    <a:pt x="286" y="316"/>
                  </a:lnTo>
                  <a:lnTo>
                    <a:pt x="288" y="302"/>
                  </a:lnTo>
                  <a:lnTo>
                    <a:pt x="291" y="285"/>
                  </a:lnTo>
                  <a:lnTo>
                    <a:pt x="291" y="225"/>
                  </a:lnTo>
                  <a:lnTo>
                    <a:pt x="291" y="225"/>
                  </a:lnTo>
                  <a:lnTo>
                    <a:pt x="276" y="233"/>
                  </a:lnTo>
                  <a:lnTo>
                    <a:pt x="255" y="239"/>
                  </a:lnTo>
                  <a:lnTo>
                    <a:pt x="255" y="239"/>
                  </a:lnTo>
                  <a:lnTo>
                    <a:pt x="235" y="246"/>
                  </a:lnTo>
                  <a:lnTo>
                    <a:pt x="214" y="248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35" y="260"/>
                  </a:lnTo>
                  <a:lnTo>
                    <a:pt x="120" y="264"/>
                  </a:lnTo>
                  <a:lnTo>
                    <a:pt x="110" y="271"/>
                  </a:lnTo>
                  <a:lnTo>
                    <a:pt x="110" y="271"/>
                  </a:lnTo>
                  <a:lnTo>
                    <a:pt x="95" y="281"/>
                  </a:lnTo>
                  <a:lnTo>
                    <a:pt x="89" y="287"/>
                  </a:lnTo>
                  <a:lnTo>
                    <a:pt x="85" y="296"/>
                  </a:lnTo>
                  <a:lnTo>
                    <a:pt x="81" y="304"/>
                  </a:lnTo>
                  <a:lnTo>
                    <a:pt x="79" y="312"/>
                  </a:lnTo>
                  <a:lnTo>
                    <a:pt x="77" y="331"/>
                  </a:lnTo>
                  <a:lnTo>
                    <a:pt x="77" y="331"/>
                  </a:lnTo>
                  <a:lnTo>
                    <a:pt x="77" y="346"/>
                  </a:lnTo>
                  <a:lnTo>
                    <a:pt x="81" y="360"/>
                  </a:lnTo>
                  <a:lnTo>
                    <a:pt x="89" y="372"/>
                  </a:lnTo>
                  <a:lnTo>
                    <a:pt x="100" y="3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3" name="Freeform 40">
              <a:extLst>
                <a:ext uri="{FF2B5EF4-FFF2-40B4-BE49-F238E27FC236}">
                  <a16:creationId xmlns:a16="http://schemas.microsoft.com/office/drawing/2014/main" id="{CA6C9F86-4B45-4E43-9946-09A13192E2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7263" y="3487738"/>
              <a:ext cx="160337" cy="215900"/>
            </a:xfrm>
            <a:custGeom>
              <a:avLst/>
              <a:gdLst>
                <a:gd name="T0" fmla="*/ 0 w 444"/>
                <a:gd name="T1" fmla="*/ 0 h 600"/>
                <a:gd name="T2" fmla="*/ 437 w 444"/>
                <a:gd name="T3" fmla="*/ 0 h 600"/>
                <a:gd name="T4" fmla="*/ 437 w 444"/>
                <a:gd name="T5" fmla="*/ 73 h 600"/>
                <a:gd name="T6" fmla="*/ 81 w 444"/>
                <a:gd name="T7" fmla="*/ 73 h 600"/>
                <a:gd name="T8" fmla="*/ 81 w 444"/>
                <a:gd name="T9" fmla="*/ 256 h 600"/>
                <a:gd name="T10" fmla="*/ 410 w 444"/>
                <a:gd name="T11" fmla="*/ 256 h 600"/>
                <a:gd name="T12" fmla="*/ 410 w 444"/>
                <a:gd name="T13" fmla="*/ 325 h 600"/>
                <a:gd name="T14" fmla="*/ 81 w 444"/>
                <a:gd name="T15" fmla="*/ 325 h 600"/>
                <a:gd name="T16" fmla="*/ 81 w 444"/>
                <a:gd name="T17" fmla="*/ 528 h 600"/>
                <a:gd name="T18" fmla="*/ 443 w 444"/>
                <a:gd name="T19" fmla="*/ 528 h 600"/>
                <a:gd name="T20" fmla="*/ 443 w 444"/>
                <a:gd name="T21" fmla="*/ 599 h 600"/>
                <a:gd name="T22" fmla="*/ 0 w 444"/>
                <a:gd name="T23" fmla="*/ 599 h 600"/>
                <a:gd name="T24" fmla="*/ 0 w 444"/>
                <a:gd name="T25" fmla="*/ 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4" h="600">
                  <a:moveTo>
                    <a:pt x="0" y="0"/>
                  </a:moveTo>
                  <a:lnTo>
                    <a:pt x="437" y="0"/>
                  </a:lnTo>
                  <a:lnTo>
                    <a:pt x="437" y="73"/>
                  </a:lnTo>
                  <a:lnTo>
                    <a:pt x="81" y="73"/>
                  </a:lnTo>
                  <a:lnTo>
                    <a:pt x="81" y="256"/>
                  </a:lnTo>
                  <a:lnTo>
                    <a:pt x="410" y="256"/>
                  </a:lnTo>
                  <a:lnTo>
                    <a:pt x="410" y="325"/>
                  </a:lnTo>
                  <a:lnTo>
                    <a:pt x="81" y="325"/>
                  </a:lnTo>
                  <a:lnTo>
                    <a:pt x="81" y="528"/>
                  </a:lnTo>
                  <a:lnTo>
                    <a:pt x="443" y="528"/>
                  </a:lnTo>
                  <a:lnTo>
                    <a:pt x="443" y="599"/>
                  </a:lnTo>
                  <a:lnTo>
                    <a:pt x="0" y="599"/>
                  </a:ln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4" name="Freeform 41">
              <a:extLst>
                <a:ext uri="{FF2B5EF4-FFF2-40B4-BE49-F238E27FC236}">
                  <a16:creationId xmlns:a16="http://schemas.microsoft.com/office/drawing/2014/main" id="{220C711D-ECC5-B045-96DB-6B5E6B66E1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2525" y="3541713"/>
              <a:ext cx="211138" cy="161925"/>
            </a:xfrm>
            <a:custGeom>
              <a:avLst/>
              <a:gdLst>
                <a:gd name="T0" fmla="*/ 72 w 588"/>
                <a:gd name="T1" fmla="*/ 11 h 448"/>
                <a:gd name="T2" fmla="*/ 72 w 588"/>
                <a:gd name="T3" fmla="*/ 73 h 448"/>
                <a:gd name="T4" fmla="*/ 110 w 588"/>
                <a:gd name="T5" fmla="*/ 33 h 448"/>
                <a:gd name="T6" fmla="*/ 120 w 588"/>
                <a:gd name="T7" fmla="*/ 25 h 448"/>
                <a:gd name="T8" fmla="*/ 159 w 588"/>
                <a:gd name="T9" fmla="*/ 6 h 448"/>
                <a:gd name="T10" fmla="*/ 203 w 588"/>
                <a:gd name="T11" fmla="*/ 0 h 448"/>
                <a:gd name="T12" fmla="*/ 226 w 588"/>
                <a:gd name="T13" fmla="*/ 2 h 448"/>
                <a:gd name="T14" fmla="*/ 269 w 588"/>
                <a:gd name="T15" fmla="*/ 15 h 448"/>
                <a:gd name="T16" fmla="*/ 286 w 588"/>
                <a:gd name="T17" fmla="*/ 27 h 448"/>
                <a:gd name="T18" fmla="*/ 303 w 588"/>
                <a:gd name="T19" fmla="*/ 44 h 448"/>
                <a:gd name="T20" fmla="*/ 319 w 588"/>
                <a:gd name="T21" fmla="*/ 69 h 448"/>
                <a:gd name="T22" fmla="*/ 332 w 588"/>
                <a:gd name="T23" fmla="*/ 54 h 448"/>
                <a:gd name="T24" fmla="*/ 361 w 588"/>
                <a:gd name="T25" fmla="*/ 27 h 448"/>
                <a:gd name="T26" fmla="*/ 375 w 588"/>
                <a:gd name="T27" fmla="*/ 17 h 448"/>
                <a:gd name="T28" fmla="*/ 411 w 588"/>
                <a:gd name="T29" fmla="*/ 4 h 448"/>
                <a:gd name="T30" fmla="*/ 450 w 588"/>
                <a:gd name="T31" fmla="*/ 0 h 448"/>
                <a:gd name="T32" fmla="*/ 471 w 588"/>
                <a:gd name="T33" fmla="*/ 2 h 448"/>
                <a:gd name="T34" fmla="*/ 509 w 588"/>
                <a:gd name="T35" fmla="*/ 11 h 448"/>
                <a:gd name="T36" fmla="*/ 538 w 588"/>
                <a:gd name="T37" fmla="*/ 25 h 448"/>
                <a:gd name="T38" fmla="*/ 563 w 588"/>
                <a:gd name="T39" fmla="*/ 50 h 448"/>
                <a:gd name="T40" fmla="*/ 571 w 588"/>
                <a:gd name="T41" fmla="*/ 65 h 448"/>
                <a:gd name="T42" fmla="*/ 583 w 588"/>
                <a:gd name="T43" fmla="*/ 104 h 448"/>
                <a:gd name="T44" fmla="*/ 587 w 588"/>
                <a:gd name="T45" fmla="*/ 156 h 448"/>
                <a:gd name="T46" fmla="*/ 511 w 588"/>
                <a:gd name="T47" fmla="*/ 447 h 448"/>
                <a:gd name="T48" fmla="*/ 511 w 588"/>
                <a:gd name="T49" fmla="*/ 144 h 448"/>
                <a:gd name="T50" fmla="*/ 506 w 588"/>
                <a:gd name="T51" fmla="*/ 108 h 448"/>
                <a:gd name="T52" fmla="*/ 490 w 588"/>
                <a:gd name="T53" fmla="*/ 83 h 448"/>
                <a:gd name="T54" fmla="*/ 477 w 588"/>
                <a:gd name="T55" fmla="*/ 77 h 448"/>
                <a:gd name="T56" fmla="*/ 450 w 588"/>
                <a:gd name="T57" fmla="*/ 69 h 448"/>
                <a:gd name="T58" fmla="*/ 436 w 588"/>
                <a:gd name="T59" fmla="*/ 69 h 448"/>
                <a:gd name="T60" fmla="*/ 396 w 588"/>
                <a:gd name="T61" fmla="*/ 75 h 448"/>
                <a:gd name="T62" fmla="*/ 361 w 588"/>
                <a:gd name="T63" fmla="*/ 96 h 448"/>
                <a:gd name="T64" fmla="*/ 355 w 588"/>
                <a:gd name="T65" fmla="*/ 104 h 448"/>
                <a:gd name="T66" fmla="*/ 342 w 588"/>
                <a:gd name="T67" fmla="*/ 125 h 448"/>
                <a:gd name="T68" fmla="*/ 332 w 588"/>
                <a:gd name="T69" fmla="*/ 162 h 448"/>
                <a:gd name="T70" fmla="*/ 330 w 588"/>
                <a:gd name="T71" fmla="*/ 447 h 448"/>
                <a:gd name="T72" fmla="*/ 255 w 588"/>
                <a:gd name="T73" fmla="*/ 162 h 448"/>
                <a:gd name="T74" fmla="*/ 255 w 588"/>
                <a:gd name="T75" fmla="*/ 141 h 448"/>
                <a:gd name="T76" fmla="*/ 251 w 588"/>
                <a:gd name="T77" fmla="*/ 108 h 448"/>
                <a:gd name="T78" fmla="*/ 245 w 588"/>
                <a:gd name="T79" fmla="*/ 98 h 448"/>
                <a:gd name="T80" fmla="*/ 234 w 588"/>
                <a:gd name="T81" fmla="*/ 83 h 448"/>
                <a:gd name="T82" fmla="*/ 222 w 588"/>
                <a:gd name="T83" fmla="*/ 75 h 448"/>
                <a:gd name="T84" fmla="*/ 182 w 588"/>
                <a:gd name="T85" fmla="*/ 67 h 448"/>
                <a:gd name="T86" fmla="*/ 164 w 588"/>
                <a:gd name="T87" fmla="*/ 69 h 448"/>
                <a:gd name="T88" fmla="*/ 124 w 588"/>
                <a:gd name="T89" fmla="*/ 85 h 448"/>
                <a:gd name="T90" fmla="*/ 107 w 588"/>
                <a:gd name="T91" fmla="*/ 100 h 448"/>
                <a:gd name="T92" fmla="*/ 93 w 588"/>
                <a:gd name="T93" fmla="*/ 119 h 448"/>
                <a:gd name="T94" fmla="*/ 83 w 588"/>
                <a:gd name="T95" fmla="*/ 144 h 448"/>
                <a:gd name="T96" fmla="*/ 76 w 588"/>
                <a:gd name="T97" fmla="*/ 177 h 448"/>
                <a:gd name="T98" fmla="*/ 72 w 588"/>
                <a:gd name="T99" fmla="*/ 447 h 448"/>
                <a:gd name="T100" fmla="*/ 0 w 588"/>
                <a:gd name="T101" fmla="*/ 1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88" h="448">
                  <a:moveTo>
                    <a:pt x="0" y="11"/>
                  </a:moveTo>
                  <a:lnTo>
                    <a:pt x="72" y="11"/>
                  </a:lnTo>
                  <a:lnTo>
                    <a:pt x="72" y="73"/>
                  </a:lnTo>
                  <a:lnTo>
                    <a:pt x="72" y="73"/>
                  </a:lnTo>
                  <a:lnTo>
                    <a:pt x="97" y="44"/>
                  </a:lnTo>
                  <a:lnTo>
                    <a:pt x="110" y="33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39" y="15"/>
                  </a:lnTo>
                  <a:lnTo>
                    <a:pt x="159" y="6"/>
                  </a:lnTo>
                  <a:lnTo>
                    <a:pt x="180" y="2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226" y="2"/>
                  </a:lnTo>
                  <a:lnTo>
                    <a:pt x="249" y="6"/>
                  </a:lnTo>
                  <a:lnTo>
                    <a:pt x="269" y="15"/>
                  </a:lnTo>
                  <a:lnTo>
                    <a:pt x="286" y="27"/>
                  </a:lnTo>
                  <a:lnTo>
                    <a:pt x="286" y="27"/>
                  </a:lnTo>
                  <a:lnTo>
                    <a:pt x="294" y="36"/>
                  </a:lnTo>
                  <a:lnTo>
                    <a:pt x="303" y="44"/>
                  </a:lnTo>
                  <a:lnTo>
                    <a:pt x="311" y="56"/>
                  </a:lnTo>
                  <a:lnTo>
                    <a:pt x="319" y="69"/>
                  </a:lnTo>
                  <a:lnTo>
                    <a:pt x="319" y="69"/>
                  </a:lnTo>
                  <a:lnTo>
                    <a:pt x="332" y="54"/>
                  </a:lnTo>
                  <a:lnTo>
                    <a:pt x="344" y="40"/>
                  </a:lnTo>
                  <a:lnTo>
                    <a:pt x="361" y="27"/>
                  </a:lnTo>
                  <a:lnTo>
                    <a:pt x="375" y="17"/>
                  </a:lnTo>
                  <a:lnTo>
                    <a:pt x="375" y="17"/>
                  </a:lnTo>
                  <a:lnTo>
                    <a:pt x="394" y="11"/>
                  </a:lnTo>
                  <a:lnTo>
                    <a:pt x="411" y="4"/>
                  </a:lnTo>
                  <a:lnTo>
                    <a:pt x="430" y="2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71" y="2"/>
                  </a:lnTo>
                  <a:lnTo>
                    <a:pt x="492" y="4"/>
                  </a:lnTo>
                  <a:lnTo>
                    <a:pt x="509" y="11"/>
                  </a:lnTo>
                  <a:lnTo>
                    <a:pt x="525" y="17"/>
                  </a:lnTo>
                  <a:lnTo>
                    <a:pt x="538" y="25"/>
                  </a:lnTo>
                  <a:lnTo>
                    <a:pt x="550" y="38"/>
                  </a:lnTo>
                  <a:lnTo>
                    <a:pt x="563" y="50"/>
                  </a:lnTo>
                  <a:lnTo>
                    <a:pt x="571" y="65"/>
                  </a:lnTo>
                  <a:lnTo>
                    <a:pt x="571" y="65"/>
                  </a:lnTo>
                  <a:lnTo>
                    <a:pt x="577" y="83"/>
                  </a:lnTo>
                  <a:lnTo>
                    <a:pt x="583" y="104"/>
                  </a:lnTo>
                  <a:lnTo>
                    <a:pt x="587" y="129"/>
                  </a:lnTo>
                  <a:lnTo>
                    <a:pt x="587" y="156"/>
                  </a:lnTo>
                  <a:lnTo>
                    <a:pt x="587" y="447"/>
                  </a:lnTo>
                  <a:lnTo>
                    <a:pt x="511" y="447"/>
                  </a:lnTo>
                  <a:lnTo>
                    <a:pt x="511" y="144"/>
                  </a:lnTo>
                  <a:lnTo>
                    <a:pt x="511" y="144"/>
                  </a:lnTo>
                  <a:lnTo>
                    <a:pt x="511" y="125"/>
                  </a:lnTo>
                  <a:lnTo>
                    <a:pt x="506" y="108"/>
                  </a:lnTo>
                  <a:lnTo>
                    <a:pt x="498" y="94"/>
                  </a:lnTo>
                  <a:lnTo>
                    <a:pt x="490" y="83"/>
                  </a:lnTo>
                  <a:lnTo>
                    <a:pt x="490" y="83"/>
                  </a:lnTo>
                  <a:lnTo>
                    <a:pt x="477" y="77"/>
                  </a:lnTo>
                  <a:lnTo>
                    <a:pt x="465" y="71"/>
                  </a:lnTo>
                  <a:lnTo>
                    <a:pt x="450" y="69"/>
                  </a:lnTo>
                  <a:lnTo>
                    <a:pt x="436" y="69"/>
                  </a:lnTo>
                  <a:lnTo>
                    <a:pt x="436" y="69"/>
                  </a:lnTo>
                  <a:lnTo>
                    <a:pt x="415" y="69"/>
                  </a:lnTo>
                  <a:lnTo>
                    <a:pt x="396" y="75"/>
                  </a:lnTo>
                  <a:lnTo>
                    <a:pt x="378" y="83"/>
                  </a:lnTo>
                  <a:lnTo>
                    <a:pt x="361" y="96"/>
                  </a:lnTo>
                  <a:lnTo>
                    <a:pt x="361" y="96"/>
                  </a:lnTo>
                  <a:lnTo>
                    <a:pt x="355" y="104"/>
                  </a:lnTo>
                  <a:lnTo>
                    <a:pt x="349" y="114"/>
                  </a:lnTo>
                  <a:lnTo>
                    <a:pt x="342" y="125"/>
                  </a:lnTo>
                  <a:lnTo>
                    <a:pt x="338" y="135"/>
                  </a:lnTo>
                  <a:lnTo>
                    <a:pt x="332" y="162"/>
                  </a:lnTo>
                  <a:lnTo>
                    <a:pt x="330" y="194"/>
                  </a:lnTo>
                  <a:lnTo>
                    <a:pt x="330" y="447"/>
                  </a:lnTo>
                  <a:lnTo>
                    <a:pt x="255" y="447"/>
                  </a:lnTo>
                  <a:lnTo>
                    <a:pt x="255" y="162"/>
                  </a:lnTo>
                  <a:lnTo>
                    <a:pt x="255" y="162"/>
                  </a:lnTo>
                  <a:lnTo>
                    <a:pt x="255" y="141"/>
                  </a:lnTo>
                  <a:lnTo>
                    <a:pt x="253" y="125"/>
                  </a:lnTo>
                  <a:lnTo>
                    <a:pt x="251" y="108"/>
                  </a:lnTo>
                  <a:lnTo>
                    <a:pt x="245" y="98"/>
                  </a:lnTo>
                  <a:lnTo>
                    <a:pt x="245" y="98"/>
                  </a:lnTo>
                  <a:lnTo>
                    <a:pt x="241" y="89"/>
                  </a:lnTo>
                  <a:lnTo>
                    <a:pt x="234" y="83"/>
                  </a:lnTo>
                  <a:lnTo>
                    <a:pt x="228" y="79"/>
                  </a:lnTo>
                  <a:lnTo>
                    <a:pt x="222" y="75"/>
                  </a:lnTo>
                  <a:lnTo>
                    <a:pt x="203" y="69"/>
                  </a:lnTo>
                  <a:lnTo>
                    <a:pt x="182" y="67"/>
                  </a:lnTo>
                  <a:lnTo>
                    <a:pt x="182" y="67"/>
                  </a:lnTo>
                  <a:lnTo>
                    <a:pt x="164" y="69"/>
                  </a:lnTo>
                  <a:lnTo>
                    <a:pt x="143" y="75"/>
                  </a:lnTo>
                  <a:lnTo>
                    <a:pt x="124" y="85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99" y="108"/>
                  </a:lnTo>
                  <a:lnTo>
                    <a:pt x="93" y="119"/>
                  </a:lnTo>
                  <a:lnTo>
                    <a:pt x="87" y="131"/>
                  </a:lnTo>
                  <a:lnTo>
                    <a:pt x="83" y="144"/>
                  </a:lnTo>
                  <a:lnTo>
                    <a:pt x="78" y="160"/>
                  </a:lnTo>
                  <a:lnTo>
                    <a:pt x="76" y="177"/>
                  </a:lnTo>
                  <a:lnTo>
                    <a:pt x="72" y="216"/>
                  </a:lnTo>
                  <a:lnTo>
                    <a:pt x="72" y="447"/>
                  </a:lnTo>
                  <a:lnTo>
                    <a:pt x="0" y="447"/>
                  </a:lnTo>
                  <a:lnTo>
                    <a:pt x="0" y="1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" name="Freeform 42">
              <a:extLst>
                <a:ext uri="{FF2B5EF4-FFF2-40B4-BE49-F238E27FC236}">
                  <a16:creationId xmlns:a16="http://schemas.microsoft.com/office/drawing/2014/main" id="{BAC8DAF7-4011-124E-8415-91C962BF93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0175" y="3541713"/>
              <a:ext cx="139700" cy="223837"/>
            </a:xfrm>
            <a:custGeom>
              <a:avLst/>
              <a:gdLst>
                <a:gd name="T0" fmla="*/ 73 w 388"/>
                <a:gd name="T1" fmla="*/ 13 h 623"/>
                <a:gd name="T2" fmla="*/ 73 w 388"/>
                <a:gd name="T3" fmla="*/ 71 h 623"/>
                <a:gd name="T4" fmla="*/ 96 w 388"/>
                <a:gd name="T5" fmla="*/ 44 h 623"/>
                <a:gd name="T6" fmla="*/ 121 w 388"/>
                <a:gd name="T7" fmla="*/ 25 h 623"/>
                <a:gd name="T8" fmla="*/ 139 w 388"/>
                <a:gd name="T9" fmla="*/ 15 h 623"/>
                <a:gd name="T10" fmla="*/ 183 w 388"/>
                <a:gd name="T11" fmla="*/ 2 h 623"/>
                <a:gd name="T12" fmla="*/ 208 w 388"/>
                <a:gd name="T13" fmla="*/ 0 h 623"/>
                <a:gd name="T14" fmla="*/ 243 w 388"/>
                <a:gd name="T15" fmla="*/ 4 h 623"/>
                <a:gd name="T16" fmla="*/ 277 w 388"/>
                <a:gd name="T17" fmla="*/ 15 h 623"/>
                <a:gd name="T18" fmla="*/ 308 w 388"/>
                <a:gd name="T19" fmla="*/ 31 h 623"/>
                <a:gd name="T20" fmla="*/ 335 w 388"/>
                <a:gd name="T21" fmla="*/ 56 h 623"/>
                <a:gd name="T22" fmla="*/ 347 w 388"/>
                <a:gd name="T23" fmla="*/ 73 h 623"/>
                <a:gd name="T24" fmla="*/ 366 w 388"/>
                <a:gd name="T25" fmla="*/ 106 h 623"/>
                <a:gd name="T26" fmla="*/ 378 w 388"/>
                <a:gd name="T27" fmla="*/ 148 h 623"/>
                <a:gd name="T28" fmla="*/ 385 w 388"/>
                <a:gd name="T29" fmla="*/ 194 h 623"/>
                <a:gd name="T30" fmla="*/ 387 w 388"/>
                <a:gd name="T31" fmla="*/ 221 h 623"/>
                <a:gd name="T32" fmla="*/ 383 w 388"/>
                <a:gd name="T33" fmla="*/ 285 h 623"/>
                <a:gd name="T34" fmla="*/ 368 w 388"/>
                <a:gd name="T35" fmla="*/ 341 h 623"/>
                <a:gd name="T36" fmla="*/ 345 w 388"/>
                <a:gd name="T37" fmla="*/ 389 h 623"/>
                <a:gd name="T38" fmla="*/ 312 w 388"/>
                <a:gd name="T39" fmla="*/ 424 h 623"/>
                <a:gd name="T40" fmla="*/ 299 w 388"/>
                <a:gd name="T41" fmla="*/ 433 h 623"/>
                <a:gd name="T42" fmla="*/ 274 w 388"/>
                <a:gd name="T43" fmla="*/ 447 h 623"/>
                <a:gd name="T44" fmla="*/ 245 w 388"/>
                <a:gd name="T45" fmla="*/ 457 h 623"/>
                <a:gd name="T46" fmla="*/ 202 w 388"/>
                <a:gd name="T47" fmla="*/ 462 h 623"/>
                <a:gd name="T48" fmla="*/ 177 w 388"/>
                <a:gd name="T49" fmla="*/ 462 h 623"/>
                <a:gd name="T50" fmla="*/ 135 w 388"/>
                <a:gd name="T51" fmla="*/ 449 h 623"/>
                <a:gd name="T52" fmla="*/ 119 w 388"/>
                <a:gd name="T53" fmla="*/ 441 h 623"/>
                <a:gd name="T54" fmla="*/ 98 w 388"/>
                <a:gd name="T55" fmla="*/ 424 h 623"/>
                <a:gd name="T56" fmla="*/ 73 w 388"/>
                <a:gd name="T57" fmla="*/ 622 h 623"/>
                <a:gd name="T58" fmla="*/ 0 w 388"/>
                <a:gd name="T59" fmla="*/ 13 h 623"/>
                <a:gd name="T60" fmla="*/ 277 w 388"/>
                <a:gd name="T61" fmla="*/ 356 h 623"/>
                <a:gd name="T62" fmla="*/ 291 w 388"/>
                <a:gd name="T63" fmla="*/ 331 h 623"/>
                <a:gd name="T64" fmla="*/ 302 w 388"/>
                <a:gd name="T65" fmla="*/ 302 h 623"/>
                <a:gd name="T66" fmla="*/ 308 w 388"/>
                <a:gd name="T67" fmla="*/ 266 h 623"/>
                <a:gd name="T68" fmla="*/ 310 w 388"/>
                <a:gd name="T69" fmla="*/ 227 h 623"/>
                <a:gd name="T70" fmla="*/ 308 w 388"/>
                <a:gd name="T71" fmla="*/ 179 h 623"/>
                <a:gd name="T72" fmla="*/ 295 w 388"/>
                <a:gd name="T73" fmla="*/ 137 h 623"/>
                <a:gd name="T74" fmla="*/ 287 w 388"/>
                <a:gd name="T75" fmla="*/ 121 h 623"/>
                <a:gd name="T76" fmla="*/ 268 w 388"/>
                <a:gd name="T77" fmla="*/ 94 h 623"/>
                <a:gd name="T78" fmla="*/ 241 w 388"/>
                <a:gd name="T79" fmla="*/ 75 h 623"/>
                <a:gd name="T80" fmla="*/ 210 w 388"/>
                <a:gd name="T81" fmla="*/ 65 h 623"/>
                <a:gd name="T82" fmla="*/ 192 w 388"/>
                <a:gd name="T83" fmla="*/ 65 h 623"/>
                <a:gd name="T84" fmla="*/ 156 w 388"/>
                <a:gd name="T85" fmla="*/ 69 h 623"/>
                <a:gd name="T86" fmla="*/ 127 w 388"/>
                <a:gd name="T87" fmla="*/ 83 h 623"/>
                <a:gd name="T88" fmla="*/ 104 w 388"/>
                <a:gd name="T89" fmla="*/ 108 h 623"/>
                <a:gd name="T90" fmla="*/ 86 w 388"/>
                <a:gd name="T91" fmla="*/ 141 h 623"/>
                <a:gd name="T92" fmla="*/ 79 w 388"/>
                <a:gd name="T93" fmla="*/ 162 h 623"/>
                <a:gd name="T94" fmla="*/ 73 w 388"/>
                <a:gd name="T95" fmla="*/ 214 h 623"/>
                <a:gd name="T96" fmla="*/ 71 w 388"/>
                <a:gd name="T97" fmla="*/ 246 h 623"/>
                <a:gd name="T98" fmla="*/ 75 w 388"/>
                <a:gd name="T99" fmla="*/ 291 h 623"/>
                <a:gd name="T100" fmla="*/ 86 w 388"/>
                <a:gd name="T101" fmla="*/ 331 h 623"/>
                <a:gd name="T102" fmla="*/ 94 w 388"/>
                <a:gd name="T103" fmla="*/ 347 h 623"/>
                <a:gd name="T104" fmla="*/ 114 w 388"/>
                <a:gd name="T105" fmla="*/ 372 h 623"/>
                <a:gd name="T106" fmla="*/ 139 w 388"/>
                <a:gd name="T107" fmla="*/ 389 h 623"/>
                <a:gd name="T108" fmla="*/ 173 w 388"/>
                <a:gd name="T109" fmla="*/ 397 h 623"/>
                <a:gd name="T110" fmla="*/ 192 w 388"/>
                <a:gd name="T111" fmla="*/ 399 h 623"/>
                <a:gd name="T112" fmla="*/ 216 w 388"/>
                <a:gd name="T113" fmla="*/ 395 h 623"/>
                <a:gd name="T114" fmla="*/ 237 w 388"/>
                <a:gd name="T115" fmla="*/ 387 h 623"/>
                <a:gd name="T116" fmla="*/ 258 w 388"/>
                <a:gd name="T117" fmla="*/ 374 h 623"/>
                <a:gd name="T118" fmla="*/ 277 w 388"/>
                <a:gd name="T119" fmla="*/ 356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8" h="623">
                  <a:moveTo>
                    <a:pt x="0" y="13"/>
                  </a:moveTo>
                  <a:lnTo>
                    <a:pt x="73" y="13"/>
                  </a:lnTo>
                  <a:lnTo>
                    <a:pt x="73" y="71"/>
                  </a:lnTo>
                  <a:lnTo>
                    <a:pt x="73" y="71"/>
                  </a:lnTo>
                  <a:lnTo>
                    <a:pt x="83" y="56"/>
                  </a:lnTo>
                  <a:lnTo>
                    <a:pt x="96" y="44"/>
                  </a:lnTo>
                  <a:lnTo>
                    <a:pt x="108" y="33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39" y="15"/>
                  </a:lnTo>
                  <a:lnTo>
                    <a:pt x="160" y="6"/>
                  </a:lnTo>
                  <a:lnTo>
                    <a:pt x="183" y="2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27" y="0"/>
                  </a:lnTo>
                  <a:lnTo>
                    <a:pt x="243" y="4"/>
                  </a:lnTo>
                  <a:lnTo>
                    <a:pt x="260" y="8"/>
                  </a:lnTo>
                  <a:lnTo>
                    <a:pt x="277" y="15"/>
                  </a:lnTo>
                  <a:lnTo>
                    <a:pt x="293" y="23"/>
                  </a:lnTo>
                  <a:lnTo>
                    <a:pt x="308" y="31"/>
                  </a:lnTo>
                  <a:lnTo>
                    <a:pt x="320" y="44"/>
                  </a:lnTo>
                  <a:lnTo>
                    <a:pt x="335" y="56"/>
                  </a:lnTo>
                  <a:lnTo>
                    <a:pt x="335" y="56"/>
                  </a:lnTo>
                  <a:lnTo>
                    <a:pt x="347" y="73"/>
                  </a:lnTo>
                  <a:lnTo>
                    <a:pt x="358" y="88"/>
                  </a:lnTo>
                  <a:lnTo>
                    <a:pt x="366" y="106"/>
                  </a:lnTo>
                  <a:lnTo>
                    <a:pt x="374" y="127"/>
                  </a:lnTo>
                  <a:lnTo>
                    <a:pt x="378" y="148"/>
                  </a:lnTo>
                  <a:lnTo>
                    <a:pt x="383" y="171"/>
                  </a:lnTo>
                  <a:lnTo>
                    <a:pt x="385" y="194"/>
                  </a:lnTo>
                  <a:lnTo>
                    <a:pt x="387" y="221"/>
                  </a:lnTo>
                  <a:lnTo>
                    <a:pt x="387" y="221"/>
                  </a:lnTo>
                  <a:lnTo>
                    <a:pt x="385" y="254"/>
                  </a:lnTo>
                  <a:lnTo>
                    <a:pt x="383" y="285"/>
                  </a:lnTo>
                  <a:lnTo>
                    <a:pt x="376" y="316"/>
                  </a:lnTo>
                  <a:lnTo>
                    <a:pt x="368" y="341"/>
                  </a:lnTo>
                  <a:lnTo>
                    <a:pt x="358" y="366"/>
                  </a:lnTo>
                  <a:lnTo>
                    <a:pt x="345" y="389"/>
                  </a:lnTo>
                  <a:lnTo>
                    <a:pt x="329" y="408"/>
                  </a:lnTo>
                  <a:lnTo>
                    <a:pt x="312" y="424"/>
                  </a:lnTo>
                  <a:lnTo>
                    <a:pt x="312" y="424"/>
                  </a:lnTo>
                  <a:lnTo>
                    <a:pt x="299" y="433"/>
                  </a:lnTo>
                  <a:lnTo>
                    <a:pt x="287" y="441"/>
                  </a:lnTo>
                  <a:lnTo>
                    <a:pt x="274" y="447"/>
                  </a:lnTo>
                  <a:lnTo>
                    <a:pt x="260" y="453"/>
                  </a:lnTo>
                  <a:lnTo>
                    <a:pt x="245" y="457"/>
                  </a:lnTo>
                  <a:lnTo>
                    <a:pt x="231" y="460"/>
                  </a:lnTo>
                  <a:lnTo>
                    <a:pt x="202" y="462"/>
                  </a:lnTo>
                  <a:lnTo>
                    <a:pt x="202" y="462"/>
                  </a:lnTo>
                  <a:lnTo>
                    <a:pt x="177" y="462"/>
                  </a:lnTo>
                  <a:lnTo>
                    <a:pt x="156" y="457"/>
                  </a:lnTo>
                  <a:lnTo>
                    <a:pt x="135" y="449"/>
                  </a:lnTo>
                  <a:lnTo>
                    <a:pt x="119" y="441"/>
                  </a:lnTo>
                  <a:lnTo>
                    <a:pt x="119" y="441"/>
                  </a:lnTo>
                  <a:lnTo>
                    <a:pt x="108" y="433"/>
                  </a:lnTo>
                  <a:lnTo>
                    <a:pt x="98" y="424"/>
                  </a:lnTo>
                  <a:lnTo>
                    <a:pt x="73" y="399"/>
                  </a:lnTo>
                  <a:lnTo>
                    <a:pt x="73" y="622"/>
                  </a:lnTo>
                  <a:lnTo>
                    <a:pt x="0" y="622"/>
                  </a:lnTo>
                  <a:lnTo>
                    <a:pt x="0" y="13"/>
                  </a:lnTo>
                  <a:close/>
                  <a:moveTo>
                    <a:pt x="277" y="356"/>
                  </a:moveTo>
                  <a:lnTo>
                    <a:pt x="277" y="356"/>
                  </a:lnTo>
                  <a:lnTo>
                    <a:pt x="285" y="343"/>
                  </a:lnTo>
                  <a:lnTo>
                    <a:pt x="291" y="331"/>
                  </a:lnTo>
                  <a:lnTo>
                    <a:pt x="297" y="316"/>
                  </a:lnTo>
                  <a:lnTo>
                    <a:pt x="302" y="302"/>
                  </a:lnTo>
                  <a:lnTo>
                    <a:pt x="306" y="285"/>
                  </a:lnTo>
                  <a:lnTo>
                    <a:pt x="308" y="266"/>
                  </a:lnTo>
                  <a:lnTo>
                    <a:pt x="310" y="227"/>
                  </a:lnTo>
                  <a:lnTo>
                    <a:pt x="310" y="227"/>
                  </a:lnTo>
                  <a:lnTo>
                    <a:pt x="310" y="202"/>
                  </a:lnTo>
                  <a:lnTo>
                    <a:pt x="308" y="179"/>
                  </a:lnTo>
                  <a:lnTo>
                    <a:pt x="302" y="156"/>
                  </a:lnTo>
                  <a:lnTo>
                    <a:pt x="295" y="137"/>
                  </a:lnTo>
                  <a:lnTo>
                    <a:pt x="295" y="137"/>
                  </a:lnTo>
                  <a:lnTo>
                    <a:pt x="287" y="121"/>
                  </a:lnTo>
                  <a:lnTo>
                    <a:pt x="279" y="104"/>
                  </a:lnTo>
                  <a:lnTo>
                    <a:pt x="268" y="94"/>
                  </a:lnTo>
                  <a:lnTo>
                    <a:pt x="256" y="83"/>
                  </a:lnTo>
                  <a:lnTo>
                    <a:pt x="241" y="75"/>
                  </a:lnTo>
                  <a:lnTo>
                    <a:pt x="227" y="69"/>
                  </a:lnTo>
                  <a:lnTo>
                    <a:pt x="210" y="65"/>
                  </a:lnTo>
                  <a:lnTo>
                    <a:pt x="192" y="65"/>
                  </a:lnTo>
                  <a:lnTo>
                    <a:pt x="192" y="65"/>
                  </a:lnTo>
                  <a:lnTo>
                    <a:pt x="173" y="67"/>
                  </a:lnTo>
                  <a:lnTo>
                    <a:pt x="156" y="69"/>
                  </a:lnTo>
                  <a:lnTo>
                    <a:pt x="139" y="75"/>
                  </a:lnTo>
                  <a:lnTo>
                    <a:pt x="127" y="83"/>
                  </a:lnTo>
                  <a:lnTo>
                    <a:pt x="114" y="94"/>
                  </a:lnTo>
                  <a:lnTo>
                    <a:pt x="104" y="108"/>
                  </a:lnTo>
                  <a:lnTo>
                    <a:pt x="94" y="123"/>
                  </a:lnTo>
                  <a:lnTo>
                    <a:pt x="86" y="141"/>
                  </a:lnTo>
                  <a:lnTo>
                    <a:pt x="86" y="141"/>
                  </a:lnTo>
                  <a:lnTo>
                    <a:pt x="79" y="162"/>
                  </a:lnTo>
                  <a:lnTo>
                    <a:pt x="75" y="187"/>
                  </a:lnTo>
                  <a:lnTo>
                    <a:pt x="73" y="214"/>
                  </a:lnTo>
                  <a:lnTo>
                    <a:pt x="71" y="246"/>
                  </a:lnTo>
                  <a:lnTo>
                    <a:pt x="71" y="246"/>
                  </a:lnTo>
                  <a:lnTo>
                    <a:pt x="73" y="268"/>
                  </a:lnTo>
                  <a:lnTo>
                    <a:pt x="75" y="291"/>
                  </a:lnTo>
                  <a:lnTo>
                    <a:pt x="79" y="312"/>
                  </a:lnTo>
                  <a:lnTo>
                    <a:pt x="86" y="331"/>
                  </a:lnTo>
                  <a:lnTo>
                    <a:pt x="86" y="331"/>
                  </a:lnTo>
                  <a:lnTo>
                    <a:pt x="94" y="347"/>
                  </a:lnTo>
                  <a:lnTo>
                    <a:pt x="104" y="360"/>
                  </a:lnTo>
                  <a:lnTo>
                    <a:pt x="114" y="372"/>
                  </a:lnTo>
                  <a:lnTo>
                    <a:pt x="127" y="381"/>
                  </a:lnTo>
                  <a:lnTo>
                    <a:pt x="139" y="389"/>
                  </a:lnTo>
                  <a:lnTo>
                    <a:pt x="156" y="393"/>
                  </a:lnTo>
                  <a:lnTo>
                    <a:pt x="173" y="397"/>
                  </a:lnTo>
                  <a:lnTo>
                    <a:pt x="192" y="399"/>
                  </a:lnTo>
                  <a:lnTo>
                    <a:pt x="192" y="399"/>
                  </a:lnTo>
                  <a:lnTo>
                    <a:pt x="204" y="397"/>
                  </a:lnTo>
                  <a:lnTo>
                    <a:pt x="216" y="395"/>
                  </a:lnTo>
                  <a:lnTo>
                    <a:pt x="227" y="393"/>
                  </a:lnTo>
                  <a:lnTo>
                    <a:pt x="237" y="387"/>
                  </a:lnTo>
                  <a:lnTo>
                    <a:pt x="249" y="381"/>
                  </a:lnTo>
                  <a:lnTo>
                    <a:pt x="258" y="374"/>
                  </a:lnTo>
                  <a:lnTo>
                    <a:pt x="268" y="366"/>
                  </a:lnTo>
                  <a:lnTo>
                    <a:pt x="277" y="3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6" name="Freeform 43">
              <a:extLst>
                <a:ext uri="{FF2B5EF4-FFF2-40B4-BE49-F238E27FC236}">
                  <a16:creationId xmlns:a16="http://schemas.microsoft.com/office/drawing/2014/main" id="{591AE508-F87B-6645-9080-80BEB24035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1625" y="3487738"/>
              <a:ext cx="26988" cy="215900"/>
            </a:xfrm>
            <a:custGeom>
              <a:avLst/>
              <a:gdLst>
                <a:gd name="T0" fmla="*/ 0 w 74"/>
                <a:gd name="T1" fmla="*/ 0 h 600"/>
                <a:gd name="T2" fmla="*/ 73 w 74"/>
                <a:gd name="T3" fmla="*/ 0 h 600"/>
                <a:gd name="T4" fmla="*/ 73 w 74"/>
                <a:gd name="T5" fmla="*/ 599 h 600"/>
                <a:gd name="T6" fmla="*/ 0 w 74"/>
                <a:gd name="T7" fmla="*/ 599 h 600"/>
                <a:gd name="T8" fmla="*/ 0 w 74"/>
                <a:gd name="T9" fmla="*/ 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600">
                  <a:moveTo>
                    <a:pt x="0" y="0"/>
                  </a:moveTo>
                  <a:lnTo>
                    <a:pt x="73" y="0"/>
                  </a:lnTo>
                  <a:lnTo>
                    <a:pt x="73" y="599"/>
                  </a:lnTo>
                  <a:lnTo>
                    <a:pt x="0" y="599"/>
                  </a:ln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7" name="Freeform 44">
              <a:extLst>
                <a:ext uri="{FF2B5EF4-FFF2-40B4-BE49-F238E27FC236}">
                  <a16:creationId xmlns:a16="http://schemas.microsoft.com/office/drawing/2014/main" id="{50C5346B-B3AA-B940-A471-7AE1AAC301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07188" y="3541713"/>
              <a:ext cx="146050" cy="168275"/>
            </a:xfrm>
            <a:custGeom>
              <a:avLst/>
              <a:gdLst>
                <a:gd name="T0" fmla="*/ 359 w 404"/>
                <a:gd name="T1" fmla="*/ 71 h 467"/>
                <a:gd name="T2" fmla="*/ 388 w 404"/>
                <a:gd name="T3" fmla="*/ 125 h 467"/>
                <a:gd name="T4" fmla="*/ 403 w 404"/>
                <a:gd name="T5" fmla="*/ 196 h 467"/>
                <a:gd name="T6" fmla="*/ 403 w 404"/>
                <a:gd name="T7" fmla="*/ 248 h 467"/>
                <a:gd name="T8" fmla="*/ 390 w 404"/>
                <a:gd name="T9" fmla="*/ 318 h 467"/>
                <a:gd name="T10" fmla="*/ 363 w 404"/>
                <a:gd name="T11" fmla="*/ 378 h 467"/>
                <a:gd name="T12" fmla="*/ 338 w 404"/>
                <a:gd name="T13" fmla="*/ 412 h 467"/>
                <a:gd name="T14" fmla="*/ 286 w 404"/>
                <a:gd name="T15" fmla="*/ 447 h 467"/>
                <a:gd name="T16" fmla="*/ 220 w 404"/>
                <a:gd name="T17" fmla="*/ 464 h 467"/>
                <a:gd name="T18" fmla="*/ 172 w 404"/>
                <a:gd name="T19" fmla="*/ 464 h 467"/>
                <a:gd name="T20" fmla="*/ 114 w 404"/>
                <a:gd name="T21" fmla="*/ 449 h 467"/>
                <a:gd name="T22" fmla="*/ 66 w 404"/>
                <a:gd name="T23" fmla="*/ 418 h 467"/>
                <a:gd name="T24" fmla="*/ 39 w 404"/>
                <a:gd name="T25" fmla="*/ 389 h 467"/>
                <a:gd name="T26" fmla="*/ 12 w 404"/>
                <a:gd name="T27" fmla="*/ 333 h 467"/>
                <a:gd name="T28" fmla="*/ 0 w 404"/>
                <a:gd name="T29" fmla="*/ 266 h 467"/>
                <a:gd name="T30" fmla="*/ 0 w 404"/>
                <a:gd name="T31" fmla="*/ 214 h 467"/>
                <a:gd name="T32" fmla="*/ 12 w 404"/>
                <a:gd name="T33" fmla="*/ 141 h 467"/>
                <a:gd name="T34" fmla="*/ 41 w 404"/>
                <a:gd name="T35" fmla="*/ 83 h 467"/>
                <a:gd name="T36" fmla="*/ 68 w 404"/>
                <a:gd name="T37" fmla="*/ 50 h 467"/>
                <a:gd name="T38" fmla="*/ 120 w 404"/>
                <a:gd name="T39" fmla="*/ 17 h 467"/>
                <a:gd name="T40" fmla="*/ 180 w 404"/>
                <a:gd name="T41" fmla="*/ 0 h 467"/>
                <a:gd name="T42" fmla="*/ 224 w 404"/>
                <a:gd name="T43" fmla="*/ 0 h 467"/>
                <a:gd name="T44" fmla="*/ 280 w 404"/>
                <a:gd name="T45" fmla="*/ 15 h 467"/>
                <a:gd name="T46" fmla="*/ 330 w 404"/>
                <a:gd name="T47" fmla="*/ 44 h 467"/>
                <a:gd name="T48" fmla="*/ 299 w 404"/>
                <a:gd name="T49" fmla="*/ 347 h 467"/>
                <a:gd name="T50" fmla="*/ 324 w 404"/>
                <a:gd name="T51" fmla="*/ 258 h 467"/>
                <a:gd name="T52" fmla="*/ 326 w 404"/>
                <a:gd name="T53" fmla="*/ 196 h 467"/>
                <a:gd name="T54" fmla="*/ 307 w 404"/>
                <a:gd name="T55" fmla="*/ 125 h 467"/>
                <a:gd name="T56" fmla="*/ 289 w 404"/>
                <a:gd name="T57" fmla="*/ 98 h 467"/>
                <a:gd name="T58" fmla="*/ 251 w 404"/>
                <a:gd name="T59" fmla="*/ 73 h 467"/>
                <a:gd name="T60" fmla="*/ 201 w 404"/>
                <a:gd name="T61" fmla="*/ 65 h 467"/>
                <a:gd name="T62" fmla="*/ 170 w 404"/>
                <a:gd name="T63" fmla="*/ 67 h 467"/>
                <a:gd name="T64" fmla="*/ 133 w 404"/>
                <a:gd name="T65" fmla="*/ 83 h 467"/>
                <a:gd name="T66" fmla="*/ 104 w 404"/>
                <a:gd name="T67" fmla="*/ 115 h 467"/>
                <a:gd name="T68" fmla="*/ 83 w 404"/>
                <a:gd name="T69" fmla="*/ 173 h 467"/>
                <a:gd name="T70" fmla="*/ 74 w 404"/>
                <a:gd name="T71" fmla="*/ 239 h 467"/>
                <a:gd name="T72" fmla="*/ 91 w 404"/>
                <a:gd name="T73" fmla="*/ 331 h 467"/>
                <a:gd name="T74" fmla="*/ 112 w 404"/>
                <a:gd name="T75" fmla="*/ 366 h 467"/>
                <a:gd name="T76" fmla="*/ 143 w 404"/>
                <a:gd name="T77" fmla="*/ 391 h 467"/>
                <a:gd name="T78" fmla="*/ 185 w 404"/>
                <a:gd name="T79" fmla="*/ 401 h 467"/>
                <a:gd name="T80" fmla="*/ 218 w 404"/>
                <a:gd name="T81" fmla="*/ 401 h 467"/>
                <a:gd name="T82" fmla="*/ 261 w 404"/>
                <a:gd name="T83" fmla="*/ 389 h 467"/>
                <a:gd name="T84" fmla="*/ 293 w 404"/>
                <a:gd name="T85" fmla="*/ 36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4" h="467">
                  <a:moveTo>
                    <a:pt x="345" y="56"/>
                  </a:moveTo>
                  <a:lnTo>
                    <a:pt x="345" y="56"/>
                  </a:lnTo>
                  <a:lnTo>
                    <a:pt x="359" y="71"/>
                  </a:lnTo>
                  <a:lnTo>
                    <a:pt x="370" y="87"/>
                  </a:lnTo>
                  <a:lnTo>
                    <a:pt x="380" y="106"/>
                  </a:lnTo>
                  <a:lnTo>
                    <a:pt x="388" y="125"/>
                  </a:lnTo>
                  <a:lnTo>
                    <a:pt x="395" y="148"/>
                  </a:lnTo>
                  <a:lnTo>
                    <a:pt x="399" y="171"/>
                  </a:lnTo>
                  <a:lnTo>
                    <a:pt x="403" y="196"/>
                  </a:lnTo>
                  <a:lnTo>
                    <a:pt x="403" y="223"/>
                  </a:lnTo>
                  <a:lnTo>
                    <a:pt x="403" y="223"/>
                  </a:lnTo>
                  <a:lnTo>
                    <a:pt x="403" y="248"/>
                  </a:lnTo>
                  <a:lnTo>
                    <a:pt x="401" y="273"/>
                  </a:lnTo>
                  <a:lnTo>
                    <a:pt x="396" y="295"/>
                  </a:lnTo>
                  <a:lnTo>
                    <a:pt x="390" y="318"/>
                  </a:lnTo>
                  <a:lnTo>
                    <a:pt x="384" y="339"/>
                  </a:lnTo>
                  <a:lnTo>
                    <a:pt x="374" y="360"/>
                  </a:lnTo>
                  <a:lnTo>
                    <a:pt x="363" y="378"/>
                  </a:lnTo>
                  <a:lnTo>
                    <a:pt x="353" y="397"/>
                  </a:lnTo>
                  <a:lnTo>
                    <a:pt x="353" y="397"/>
                  </a:lnTo>
                  <a:lnTo>
                    <a:pt x="338" y="412"/>
                  </a:lnTo>
                  <a:lnTo>
                    <a:pt x="324" y="426"/>
                  </a:lnTo>
                  <a:lnTo>
                    <a:pt x="305" y="439"/>
                  </a:lnTo>
                  <a:lnTo>
                    <a:pt x="286" y="447"/>
                  </a:lnTo>
                  <a:lnTo>
                    <a:pt x="266" y="455"/>
                  </a:lnTo>
                  <a:lnTo>
                    <a:pt x="243" y="462"/>
                  </a:lnTo>
                  <a:lnTo>
                    <a:pt x="220" y="464"/>
                  </a:lnTo>
                  <a:lnTo>
                    <a:pt x="193" y="466"/>
                  </a:lnTo>
                  <a:lnTo>
                    <a:pt x="193" y="466"/>
                  </a:lnTo>
                  <a:lnTo>
                    <a:pt x="172" y="464"/>
                  </a:lnTo>
                  <a:lnTo>
                    <a:pt x="151" y="462"/>
                  </a:lnTo>
                  <a:lnTo>
                    <a:pt x="133" y="457"/>
                  </a:lnTo>
                  <a:lnTo>
                    <a:pt x="114" y="449"/>
                  </a:lnTo>
                  <a:lnTo>
                    <a:pt x="95" y="441"/>
                  </a:lnTo>
                  <a:lnTo>
                    <a:pt x="81" y="431"/>
                  </a:lnTo>
                  <a:lnTo>
                    <a:pt x="66" y="418"/>
                  </a:lnTo>
                  <a:lnTo>
                    <a:pt x="52" y="403"/>
                  </a:lnTo>
                  <a:lnTo>
                    <a:pt x="52" y="403"/>
                  </a:lnTo>
                  <a:lnTo>
                    <a:pt x="39" y="389"/>
                  </a:lnTo>
                  <a:lnTo>
                    <a:pt x="29" y="370"/>
                  </a:lnTo>
                  <a:lnTo>
                    <a:pt x="18" y="354"/>
                  </a:lnTo>
                  <a:lnTo>
                    <a:pt x="12" y="333"/>
                  </a:lnTo>
                  <a:lnTo>
                    <a:pt x="6" y="312"/>
                  </a:lnTo>
                  <a:lnTo>
                    <a:pt x="2" y="289"/>
                  </a:lnTo>
                  <a:lnTo>
                    <a:pt x="0" y="266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14"/>
                  </a:lnTo>
                  <a:lnTo>
                    <a:pt x="2" y="189"/>
                  </a:lnTo>
                  <a:lnTo>
                    <a:pt x="6" y="164"/>
                  </a:lnTo>
                  <a:lnTo>
                    <a:pt x="12" y="141"/>
                  </a:lnTo>
                  <a:lnTo>
                    <a:pt x="21" y="121"/>
                  </a:lnTo>
                  <a:lnTo>
                    <a:pt x="31" y="100"/>
                  </a:lnTo>
                  <a:lnTo>
                    <a:pt x="41" y="83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68" y="50"/>
                  </a:lnTo>
                  <a:lnTo>
                    <a:pt x="85" y="38"/>
                  </a:lnTo>
                  <a:lnTo>
                    <a:pt x="102" y="25"/>
                  </a:lnTo>
                  <a:lnTo>
                    <a:pt x="120" y="17"/>
                  </a:lnTo>
                  <a:lnTo>
                    <a:pt x="139" y="8"/>
                  </a:lnTo>
                  <a:lnTo>
                    <a:pt x="160" y="4"/>
                  </a:lnTo>
                  <a:lnTo>
                    <a:pt x="180" y="0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224" y="0"/>
                  </a:lnTo>
                  <a:lnTo>
                    <a:pt x="243" y="4"/>
                  </a:lnTo>
                  <a:lnTo>
                    <a:pt x="264" y="8"/>
                  </a:lnTo>
                  <a:lnTo>
                    <a:pt x="280" y="15"/>
                  </a:lnTo>
                  <a:lnTo>
                    <a:pt x="299" y="23"/>
                  </a:lnTo>
                  <a:lnTo>
                    <a:pt x="315" y="31"/>
                  </a:lnTo>
                  <a:lnTo>
                    <a:pt x="330" y="44"/>
                  </a:lnTo>
                  <a:lnTo>
                    <a:pt x="345" y="56"/>
                  </a:lnTo>
                  <a:close/>
                  <a:moveTo>
                    <a:pt x="299" y="347"/>
                  </a:moveTo>
                  <a:lnTo>
                    <a:pt x="299" y="347"/>
                  </a:lnTo>
                  <a:lnTo>
                    <a:pt x="311" y="318"/>
                  </a:lnTo>
                  <a:lnTo>
                    <a:pt x="320" y="289"/>
                  </a:lnTo>
                  <a:lnTo>
                    <a:pt x="324" y="258"/>
                  </a:lnTo>
                  <a:lnTo>
                    <a:pt x="326" y="225"/>
                  </a:lnTo>
                  <a:lnTo>
                    <a:pt x="326" y="225"/>
                  </a:lnTo>
                  <a:lnTo>
                    <a:pt x="326" y="196"/>
                  </a:lnTo>
                  <a:lnTo>
                    <a:pt x="322" y="168"/>
                  </a:lnTo>
                  <a:lnTo>
                    <a:pt x="315" y="146"/>
                  </a:lnTo>
                  <a:lnTo>
                    <a:pt x="307" y="125"/>
                  </a:lnTo>
                  <a:lnTo>
                    <a:pt x="307" y="125"/>
                  </a:lnTo>
                  <a:lnTo>
                    <a:pt x="299" y="110"/>
                  </a:lnTo>
                  <a:lnTo>
                    <a:pt x="289" y="98"/>
                  </a:lnTo>
                  <a:lnTo>
                    <a:pt x="278" y="87"/>
                  </a:lnTo>
                  <a:lnTo>
                    <a:pt x="266" y="79"/>
                  </a:lnTo>
                  <a:lnTo>
                    <a:pt x="251" y="73"/>
                  </a:lnTo>
                  <a:lnTo>
                    <a:pt x="237" y="69"/>
                  </a:lnTo>
                  <a:lnTo>
                    <a:pt x="220" y="65"/>
                  </a:lnTo>
                  <a:lnTo>
                    <a:pt x="201" y="65"/>
                  </a:lnTo>
                  <a:lnTo>
                    <a:pt x="201" y="65"/>
                  </a:lnTo>
                  <a:lnTo>
                    <a:pt x="185" y="65"/>
                  </a:lnTo>
                  <a:lnTo>
                    <a:pt x="170" y="67"/>
                  </a:lnTo>
                  <a:lnTo>
                    <a:pt x="155" y="71"/>
                  </a:lnTo>
                  <a:lnTo>
                    <a:pt x="143" y="77"/>
                  </a:lnTo>
                  <a:lnTo>
                    <a:pt x="133" y="83"/>
                  </a:lnTo>
                  <a:lnTo>
                    <a:pt x="122" y="94"/>
                  </a:lnTo>
                  <a:lnTo>
                    <a:pt x="112" y="104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91" y="141"/>
                  </a:lnTo>
                  <a:lnTo>
                    <a:pt x="83" y="173"/>
                  </a:lnTo>
                  <a:lnTo>
                    <a:pt x="77" y="204"/>
                  </a:lnTo>
                  <a:lnTo>
                    <a:pt x="74" y="239"/>
                  </a:lnTo>
                  <a:lnTo>
                    <a:pt x="74" y="239"/>
                  </a:lnTo>
                  <a:lnTo>
                    <a:pt x="77" y="273"/>
                  </a:lnTo>
                  <a:lnTo>
                    <a:pt x="83" y="304"/>
                  </a:lnTo>
                  <a:lnTo>
                    <a:pt x="91" y="331"/>
                  </a:lnTo>
                  <a:lnTo>
                    <a:pt x="104" y="356"/>
                  </a:lnTo>
                  <a:lnTo>
                    <a:pt x="104" y="356"/>
                  </a:lnTo>
                  <a:lnTo>
                    <a:pt x="112" y="366"/>
                  </a:lnTo>
                  <a:lnTo>
                    <a:pt x="122" y="376"/>
                  </a:lnTo>
                  <a:lnTo>
                    <a:pt x="133" y="385"/>
                  </a:lnTo>
                  <a:lnTo>
                    <a:pt x="143" y="391"/>
                  </a:lnTo>
                  <a:lnTo>
                    <a:pt x="155" y="395"/>
                  </a:lnTo>
                  <a:lnTo>
                    <a:pt x="170" y="399"/>
                  </a:lnTo>
                  <a:lnTo>
                    <a:pt x="185" y="401"/>
                  </a:lnTo>
                  <a:lnTo>
                    <a:pt x="201" y="401"/>
                  </a:lnTo>
                  <a:lnTo>
                    <a:pt x="201" y="401"/>
                  </a:lnTo>
                  <a:lnTo>
                    <a:pt x="218" y="401"/>
                  </a:lnTo>
                  <a:lnTo>
                    <a:pt x="234" y="399"/>
                  </a:lnTo>
                  <a:lnTo>
                    <a:pt x="249" y="395"/>
                  </a:lnTo>
                  <a:lnTo>
                    <a:pt x="261" y="389"/>
                  </a:lnTo>
                  <a:lnTo>
                    <a:pt x="274" y="381"/>
                  </a:lnTo>
                  <a:lnTo>
                    <a:pt x="282" y="370"/>
                  </a:lnTo>
                  <a:lnTo>
                    <a:pt x="293" y="360"/>
                  </a:lnTo>
                  <a:lnTo>
                    <a:pt x="299" y="3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8" name="Freeform 45">
              <a:extLst>
                <a:ext uri="{FF2B5EF4-FFF2-40B4-BE49-F238E27FC236}">
                  <a16:creationId xmlns:a16="http://schemas.microsoft.com/office/drawing/2014/main" id="{2E7CEEE9-87A8-F446-A5F8-544A2BD8ED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988" y="3487738"/>
              <a:ext cx="26987" cy="215900"/>
            </a:xfrm>
            <a:custGeom>
              <a:avLst/>
              <a:gdLst>
                <a:gd name="T0" fmla="*/ 0 w 74"/>
                <a:gd name="T1" fmla="*/ 0 h 600"/>
                <a:gd name="T2" fmla="*/ 73 w 74"/>
                <a:gd name="T3" fmla="*/ 0 h 600"/>
                <a:gd name="T4" fmla="*/ 73 w 74"/>
                <a:gd name="T5" fmla="*/ 83 h 600"/>
                <a:gd name="T6" fmla="*/ 0 w 74"/>
                <a:gd name="T7" fmla="*/ 83 h 600"/>
                <a:gd name="T8" fmla="*/ 0 w 74"/>
                <a:gd name="T9" fmla="*/ 0 h 600"/>
                <a:gd name="T10" fmla="*/ 0 w 74"/>
                <a:gd name="T11" fmla="*/ 165 h 600"/>
                <a:gd name="T12" fmla="*/ 73 w 74"/>
                <a:gd name="T13" fmla="*/ 165 h 600"/>
                <a:gd name="T14" fmla="*/ 73 w 74"/>
                <a:gd name="T15" fmla="*/ 599 h 600"/>
                <a:gd name="T16" fmla="*/ 0 w 74"/>
                <a:gd name="T17" fmla="*/ 599 h 600"/>
                <a:gd name="T18" fmla="*/ 0 w 74"/>
                <a:gd name="T19" fmla="*/ 165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600">
                  <a:moveTo>
                    <a:pt x="0" y="0"/>
                  </a:moveTo>
                  <a:lnTo>
                    <a:pt x="73" y="0"/>
                  </a:lnTo>
                  <a:lnTo>
                    <a:pt x="73" y="83"/>
                  </a:lnTo>
                  <a:lnTo>
                    <a:pt x="0" y="83"/>
                  </a:lnTo>
                  <a:lnTo>
                    <a:pt x="0" y="0"/>
                  </a:lnTo>
                  <a:close/>
                  <a:moveTo>
                    <a:pt x="0" y="165"/>
                  </a:moveTo>
                  <a:lnTo>
                    <a:pt x="73" y="165"/>
                  </a:lnTo>
                  <a:lnTo>
                    <a:pt x="73" y="599"/>
                  </a:lnTo>
                  <a:lnTo>
                    <a:pt x="0" y="599"/>
                  </a:lnTo>
                  <a:lnTo>
                    <a:pt x="0" y="16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9" name="Freeform 46">
              <a:extLst>
                <a:ext uri="{FF2B5EF4-FFF2-40B4-BE49-F238E27FC236}">
                  <a16:creationId xmlns:a16="http://schemas.microsoft.com/office/drawing/2014/main" id="{F433B109-3FE5-7F4D-B856-8234E8EA2C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6275" y="3541713"/>
              <a:ext cx="142875" cy="166687"/>
            </a:xfrm>
            <a:custGeom>
              <a:avLst/>
              <a:gdLst>
                <a:gd name="T0" fmla="*/ 293 w 396"/>
                <a:gd name="T1" fmla="*/ 23 h 465"/>
                <a:gd name="T2" fmla="*/ 332 w 396"/>
                <a:gd name="T3" fmla="*/ 48 h 465"/>
                <a:gd name="T4" fmla="*/ 359 w 396"/>
                <a:gd name="T5" fmla="*/ 79 h 465"/>
                <a:gd name="T6" fmla="*/ 370 w 396"/>
                <a:gd name="T7" fmla="*/ 96 h 465"/>
                <a:gd name="T8" fmla="*/ 384 w 396"/>
                <a:gd name="T9" fmla="*/ 135 h 465"/>
                <a:gd name="T10" fmla="*/ 388 w 396"/>
                <a:gd name="T11" fmla="*/ 156 h 465"/>
                <a:gd name="T12" fmla="*/ 395 w 396"/>
                <a:gd name="T13" fmla="*/ 196 h 465"/>
                <a:gd name="T14" fmla="*/ 77 w 396"/>
                <a:gd name="T15" fmla="*/ 252 h 465"/>
                <a:gd name="T16" fmla="*/ 81 w 396"/>
                <a:gd name="T17" fmla="*/ 285 h 465"/>
                <a:gd name="T18" fmla="*/ 96 w 396"/>
                <a:gd name="T19" fmla="*/ 337 h 465"/>
                <a:gd name="T20" fmla="*/ 108 w 396"/>
                <a:gd name="T21" fmla="*/ 360 h 465"/>
                <a:gd name="T22" fmla="*/ 124 w 396"/>
                <a:gd name="T23" fmla="*/ 376 h 465"/>
                <a:gd name="T24" fmla="*/ 145 w 396"/>
                <a:gd name="T25" fmla="*/ 389 h 465"/>
                <a:gd name="T26" fmla="*/ 170 w 396"/>
                <a:gd name="T27" fmla="*/ 397 h 465"/>
                <a:gd name="T28" fmla="*/ 199 w 396"/>
                <a:gd name="T29" fmla="*/ 399 h 465"/>
                <a:gd name="T30" fmla="*/ 214 w 396"/>
                <a:gd name="T31" fmla="*/ 399 h 465"/>
                <a:gd name="T32" fmla="*/ 239 w 396"/>
                <a:gd name="T33" fmla="*/ 395 h 465"/>
                <a:gd name="T34" fmla="*/ 262 w 396"/>
                <a:gd name="T35" fmla="*/ 385 h 465"/>
                <a:gd name="T36" fmla="*/ 280 w 396"/>
                <a:gd name="T37" fmla="*/ 370 h 465"/>
                <a:gd name="T38" fmla="*/ 291 w 396"/>
                <a:gd name="T39" fmla="*/ 362 h 465"/>
                <a:gd name="T40" fmla="*/ 305 w 396"/>
                <a:gd name="T41" fmla="*/ 337 h 465"/>
                <a:gd name="T42" fmla="*/ 318 w 396"/>
                <a:gd name="T43" fmla="*/ 310 h 465"/>
                <a:gd name="T44" fmla="*/ 388 w 396"/>
                <a:gd name="T45" fmla="*/ 310 h 465"/>
                <a:gd name="T46" fmla="*/ 382 w 396"/>
                <a:gd name="T47" fmla="*/ 337 h 465"/>
                <a:gd name="T48" fmla="*/ 370 w 396"/>
                <a:gd name="T49" fmla="*/ 364 h 465"/>
                <a:gd name="T50" fmla="*/ 334 w 396"/>
                <a:gd name="T51" fmla="*/ 412 h 465"/>
                <a:gd name="T52" fmla="*/ 318 w 396"/>
                <a:gd name="T53" fmla="*/ 429 h 465"/>
                <a:gd name="T54" fmla="*/ 276 w 396"/>
                <a:gd name="T55" fmla="*/ 449 h 465"/>
                <a:gd name="T56" fmla="*/ 251 w 396"/>
                <a:gd name="T57" fmla="*/ 457 h 465"/>
                <a:gd name="T58" fmla="*/ 193 w 396"/>
                <a:gd name="T59" fmla="*/ 464 h 465"/>
                <a:gd name="T60" fmla="*/ 172 w 396"/>
                <a:gd name="T61" fmla="*/ 462 h 465"/>
                <a:gd name="T62" fmla="*/ 135 w 396"/>
                <a:gd name="T63" fmla="*/ 455 h 465"/>
                <a:gd name="T64" fmla="*/ 102 w 396"/>
                <a:gd name="T65" fmla="*/ 441 h 465"/>
                <a:gd name="T66" fmla="*/ 71 w 396"/>
                <a:gd name="T67" fmla="*/ 418 h 465"/>
                <a:gd name="T68" fmla="*/ 56 w 396"/>
                <a:gd name="T69" fmla="*/ 404 h 465"/>
                <a:gd name="T70" fmla="*/ 31 w 396"/>
                <a:gd name="T71" fmla="*/ 370 h 465"/>
                <a:gd name="T72" fmla="*/ 12 w 396"/>
                <a:gd name="T73" fmla="*/ 333 h 465"/>
                <a:gd name="T74" fmla="*/ 2 w 396"/>
                <a:gd name="T75" fmla="*/ 287 h 465"/>
                <a:gd name="T76" fmla="*/ 0 w 396"/>
                <a:gd name="T77" fmla="*/ 237 h 465"/>
                <a:gd name="T78" fmla="*/ 0 w 396"/>
                <a:gd name="T79" fmla="*/ 212 h 465"/>
                <a:gd name="T80" fmla="*/ 6 w 396"/>
                <a:gd name="T81" fmla="*/ 164 h 465"/>
                <a:gd name="T82" fmla="*/ 21 w 396"/>
                <a:gd name="T83" fmla="*/ 121 h 465"/>
                <a:gd name="T84" fmla="*/ 41 w 396"/>
                <a:gd name="T85" fmla="*/ 83 h 465"/>
                <a:gd name="T86" fmla="*/ 56 w 396"/>
                <a:gd name="T87" fmla="*/ 67 h 465"/>
                <a:gd name="T88" fmla="*/ 87 w 396"/>
                <a:gd name="T89" fmla="*/ 38 h 465"/>
                <a:gd name="T90" fmla="*/ 120 w 396"/>
                <a:gd name="T91" fmla="*/ 17 h 465"/>
                <a:gd name="T92" fmla="*/ 160 w 396"/>
                <a:gd name="T93" fmla="*/ 4 h 465"/>
                <a:gd name="T94" fmla="*/ 203 w 396"/>
                <a:gd name="T95" fmla="*/ 0 h 465"/>
                <a:gd name="T96" fmla="*/ 226 w 396"/>
                <a:gd name="T97" fmla="*/ 2 h 465"/>
                <a:gd name="T98" fmla="*/ 272 w 396"/>
                <a:gd name="T99" fmla="*/ 13 h 465"/>
                <a:gd name="T100" fmla="*/ 320 w 396"/>
                <a:gd name="T101" fmla="*/ 194 h 465"/>
                <a:gd name="T102" fmla="*/ 318 w 396"/>
                <a:gd name="T103" fmla="*/ 171 h 465"/>
                <a:gd name="T104" fmla="*/ 307 w 396"/>
                <a:gd name="T105" fmla="*/ 133 h 465"/>
                <a:gd name="T106" fmla="*/ 299 w 396"/>
                <a:gd name="T107" fmla="*/ 119 h 465"/>
                <a:gd name="T108" fmla="*/ 282 w 396"/>
                <a:gd name="T109" fmla="*/ 94 h 465"/>
                <a:gd name="T110" fmla="*/ 259 w 396"/>
                <a:gd name="T111" fmla="*/ 79 h 465"/>
                <a:gd name="T112" fmla="*/ 233 w 396"/>
                <a:gd name="T113" fmla="*/ 69 h 465"/>
                <a:gd name="T114" fmla="*/ 199 w 396"/>
                <a:gd name="T115" fmla="*/ 65 h 465"/>
                <a:gd name="T116" fmla="*/ 174 w 396"/>
                <a:gd name="T117" fmla="*/ 67 h 465"/>
                <a:gd name="T118" fmla="*/ 133 w 396"/>
                <a:gd name="T119" fmla="*/ 85 h 465"/>
                <a:gd name="T120" fmla="*/ 116 w 396"/>
                <a:gd name="T121" fmla="*/ 102 h 465"/>
                <a:gd name="T122" fmla="*/ 89 w 396"/>
                <a:gd name="T123" fmla="*/ 144 h 465"/>
                <a:gd name="T124" fmla="*/ 79 w 396"/>
                <a:gd name="T125" fmla="*/ 19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6" h="465">
                  <a:moveTo>
                    <a:pt x="293" y="23"/>
                  </a:moveTo>
                  <a:lnTo>
                    <a:pt x="293" y="23"/>
                  </a:lnTo>
                  <a:lnTo>
                    <a:pt x="314" y="33"/>
                  </a:lnTo>
                  <a:lnTo>
                    <a:pt x="332" y="48"/>
                  </a:lnTo>
                  <a:lnTo>
                    <a:pt x="347" y="63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70" y="96"/>
                  </a:lnTo>
                  <a:lnTo>
                    <a:pt x="378" y="114"/>
                  </a:lnTo>
                  <a:lnTo>
                    <a:pt x="384" y="135"/>
                  </a:lnTo>
                  <a:lnTo>
                    <a:pt x="388" y="156"/>
                  </a:lnTo>
                  <a:lnTo>
                    <a:pt x="388" y="156"/>
                  </a:lnTo>
                  <a:lnTo>
                    <a:pt x="393" y="173"/>
                  </a:lnTo>
                  <a:lnTo>
                    <a:pt x="395" y="196"/>
                  </a:lnTo>
                  <a:lnTo>
                    <a:pt x="395" y="252"/>
                  </a:lnTo>
                  <a:lnTo>
                    <a:pt x="77" y="252"/>
                  </a:lnTo>
                  <a:lnTo>
                    <a:pt x="77" y="252"/>
                  </a:lnTo>
                  <a:lnTo>
                    <a:pt x="81" y="285"/>
                  </a:lnTo>
                  <a:lnTo>
                    <a:pt x="87" y="312"/>
                  </a:lnTo>
                  <a:lnTo>
                    <a:pt x="96" y="337"/>
                  </a:lnTo>
                  <a:lnTo>
                    <a:pt x="108" y="360"/>
                  </a:lnTo>
                  <a:lnTo>
                    <a:pt x="108" y="360"/>
                  </a:lnTo>
                  <a:lnTo>
                    <a:pt x="116" y="368"/>
                  </a:lnTo>
                  <a:lnTo>
                    <a:pt x="124" y="376"/>
                  </a:lnTo>
                  <a:lnTo>
                    <a:pt x="135" y="385"/>
                  </a:lnTo>
                  <a:lnTo>
                    <a:pt x="145" y="389"/>
                  </a:lnTo>
                  <a:lnTo>
                    <a:pt x="158" y="395"/>
                  </a:lnTo>
                  <a:lnTo>
                    <a:pt x="170" y="397"/>
                  </a:lnTo>
                  <a:lnTo>
                    <a:pt x="185" y="399"/>
                  </a:lnTo>
                  <a:lnTo>
                    <a:pt x="199" y="399"/>
                  </a:lnTo>
                  <a:lnTo>
                    <a:pt x="199" y="399"/>
                  </a:lnTo>
                  <a:lnTo>
                    <a:pt x="214" y="399"/>
                  </a:lnTo>
                  <a:lnTo>
                    <a:pt x="226" y="397"/>
                  </a:lnTo>
                  <a:lnTo>
                    <a:pt x="239" y="395"/>
                  </a:lnTo>
                  <a:lnTo>
                    <a:pt x="251" y="391"/>
                  </a:lnTo>
                  <a:lnTo>
                    <a:pt x="262" y="385"/>
                  </a:lnTo>
                  <a:lnTo>
                    <a:pt x="272" y="379"/>
                  </a:lnTo>
                  <a:lnTo>
                    <a:pt x="280" y="370"/>
                  </a:lnTo>
                  <a:lnTo>
                    <a:pt x="291" y="362"/>
                  </a:lnTo>
                  <a:lnTo>
                    <a:pt x="291" y="362"/>
                  </a:lnTo>
                  <a:lnTo>
                    <a:pt x="299" y="349"/>
                  </a:lnTo>
                  <a:lnTo>
                    <a:pt x="305" y="337"/>
                  </a:lnTo>
                  <a:lnTo>
                    <a:pt x="312" y="324"/>
                  </a:lnTo>
                  <a:lnTo>
                    <a:pt x="318" y="310"/>
                  </a:lnTo>
                  <a:lnTo>
                    <a:pt x="388" y="310"/>
                  </a:lnTo>
                  <a:lnTo>
                    <a:pt x="388" y="310"/>
                  </a:lnTo>
                  <a:lnTo>
                    <a:pt x="386" y="322"/>
                  </a:lnTo>
                  <a:lnTo>
                    <a:pt x="382" y="337"/>
                  </a:lnTo>
                  <a:lnTo>
                    <a:pt x="370" y="364"/>
                  </a:lnTo>
                  <a:lnTo>
                    <a:pt x="370" y="364"/>
                  </a:lnTo>
                  <a:lnTo>
                    <a:pt x="353" y="391"/>
                  </a:lnTo>
                  <a:lnTo>
                    <a:pt x="334" y="412"/>
                  </a:lnTo>
                  <a:lnTo>
                    <a:pt x="334" y="412"/>
                  </a:lnTo>
                  <a:lnTo>
                    <a:pt x="318" y="429"/>
                  </a:lnTo>
                  <a:lnTo>
                    <a:pt x="297" y="441"/>
                  </a:lnTo>
                  <a:lnTo>
                    <a:pt x="276" y="449"/>
                  </a:lnTo>
                  <a:lnTo>
                    <a:pt x="251" y="457"/>
                  </a:lnTo>
                  <a:lnTo>
                    <a:pt x="251" y="457"/>
                  </a:lnTo>
                  <a:lnTo>
                    <a:pt x="224" y="462"/>
                  </a:lnTo>
                  <a:lnTo>
                    <a:pt x="193" y="464"/>
                  </a:lnTo>
                  <a:lnTo>
                    <a:pt x="193" y="464"/>
                  </a:lnTo>
                  <a:lnTo>
                    <a:pt x="172" y="462"/>
                  </a:lnTo>
                  <a:lnTo>
                    <a:pt x="154" y="460"/>
                  </a:lnTo>
                  <a:lnTo>
                    <a:pt x="135" y="455"/>
                  </a:lnTo>
                  <a:lnTo>
                    <a:pt x="118" y="449"/>
                  </a:lnTo>
                  <a:lnTo>
                    <a:pt x="102" y="441"/>
                  </a:lnTo>
                  <a:lnTo>
                    <a:pt x="85" y="431"/>
                  </a:lnTo>
                  <a:lnTo>
                    <a:pt x="71" y="418"/>
                  </a:lnTo>
                  <a:lnTo>
                    <a:pt x="56" y="404"/>
                  </a:lnTo>
                  <a:lnTo>
                    <a:pt x="56" y="404"/>
                  </a:lnTo>
                  <a:lnTo>
                    <a:pt x="41" y="389"/>
                  </a:lnTo>
                  <a:lnTo>
                    <a:pt x="31" y="370"/>
                  </a:lnTo>
                  <a:lnTo>
                    <a:pt x="21" y="354"/>
                  </a:lnTo>
                  <a:lnTo>
                    <a:pt x="12" y="333"/>
                  </a:lnTo>
                  <a:lnTo>
                    <a:pt x="6" y="312"/>
                  </a:lnTo>
                  <a:lnTo>
                    <a:pt x="2" y="287"/>
                  </a:lnTo>
                  <a:lnTo>
                    <a:pt x="0" y="264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0" y="212"/>
                  </a:lnTo>
                  <a:lnTo>
                    <a:pt x="2" y="187"/>
                  </a:lnTo>
                  <a:lnTo>
                    <a:pt x="6" y="164"/>
                  </a:lnTo>
                  <a:lnTo>
                    <a:pt x="12" y="141"/>
                  </a:lnTo>
                  <a:lnTo>
                    <a:pt x="21" y="121"/>
                  </a:lnTo>
                  <a:lnTo>
                    <a:pt x="31" y="102"/>
                  </a:lnTo>
                  <a:lnTo>
                    <a:pt x="41" y="83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71" y="52"/>
                  </a:lnTo>
                  <a:lnTo>
                    <a:pt x="87" y="38"/>
                  </a:lnTo>
                  <a:lnTo>
                    <a:pt x="104" y="27"/>
                  </a:lnTo>
                  <a:lnTo>
                    <a:pt x="120" y="17"/>
                  </a:lnTo>
                  <a:lnTo>
                    <a:pt x="141" y="11"/>
                  </a:lnTo>
                  <a:lnTo>
                    <a:pt x="160" y="4"/>
                  </a:lnTo>
                  <a:lnTo>
                    <a:pt x="181" y="2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226" y="2"/>
                  </a:lnTo>
                  <a:lnTo>
                    <a:pt x="249" y="6"/>
                  </a:lnTo>
                  <a:lnTo>
                    <a:pt x="272" y="13"/>
                  </a:lnTo>
                  <a:lnTo>
                    <a:pt x="293" y="23"/>
                  </a:lnTo>
                  <a:close/>
                  <a:moveTo>
                    <a:pt x="320" y="194"/>
                  </a:moveTo>
                  <a:lnTo>
                    <a:pt x="320" y="194"/>
                  </a:lnTo>
                  <a:lnTo>
                    <a:pt x="318" y="171"/>
                  </a:lnTo>
                  <a:lnTo>
                    <a:pt x="312" y="152"/>
                  </a:lnTo>
                  <a:lnTo>
                    <a:pt x="307" y="133"/>
                  </a:lnTo>
                  <a:lnTo>
                    <a:pt x="299" y="119"/>
                  </a:lnTo>
                  <a:lnTo>
                    <a:pt x="299" y="119"/>
                  </a:lnTo>
                  <a:lnTo>
                    <a:pt x="291" y="106"/>
                  </a:lnTo>
                  <a:lnTo>
                    <a:pt x="282" y="94"/>
                  </a:lnTo>
                  <a:lnTo>
                    <a:pt x="272" y="85"/>
                  </a:lnTo>
                  <a:lnTo>
                    <a:pt x="259" y="79"/>
                  </a:lnTo>
                  <a:lnTo>
                    <a:pt x="247" y="73"/>
                  </a:lnTo>
                  <a:lnTo>
                    <a:pt x="233" y="69"/>
                  </a:lnTo>
                  <a:lnTo>
                    <a:pt x="216" y="67"/>
                  </a:lnTo>
                  <a:lnTo>
                    <a:pt x="199" y="65"/>
                  </a:lnTo>
                  <a:lnTo>
                    <a:pt x="199" y="65"/>
                  </a:lnTo>
                  <a:lnTo>
                    <a:pt x="174" y="67"/>
                  </a:lnTo>
                  <a:lnTo>
                    <a:pt x="154" y="75"/>
                  </a:lnTo>
                  <a:lnTo>
                    <a:pt x="133" y="85"/>
                  </a:lnTo>
                  <a:lnTo>
                    <a:pt x="116" y="102"/>
                  </a:lnTo>
                  <a:lnTo>
                    <a:pt x="116" y="102"/>
                  </a:lnTo>
                  <a:lnTo>
                    <a:pt x="100" y="121"/>
                  </a:lnTo>
                  <a:lnTo>
                    <a:pt x="89" y="144"/>
                  </a:lnTo>
                  <a:lnTo>
                    <a:pt x="83" y="166"/>
                  </a:lnTo>
                  <a:lnTo>
                    <a:pt x="79" y="194"/>
                  </a:lnTo>
                  <a:lnTo>
                    <a:pt x="32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0" name="Freeform 47">
              <a:extLst>
                <a:ext uri="{FF2B5EF4-FFF2-40B4-BE49-F238E27FC236}">
                  <a16:creationId xmlns:a16="http://schemas.microsoft.com/office/drawing/2014/main" id="{18E2E986-D956-0C40-926D-34FED86224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86613" y="3502025"/>
              <a:ext cx="73025" cy="204788"/>
            </a:xfrm>
            <a:custGeom>
              <a:avLst/>
              <a:gdLst>
                <a:gd name="T0" fmla="*/ 59 w 203"/>
                <a:gd name="T1" fmla="*/ 0 h 568"/>
                <a:gd name="T2" fmla="*/ 133 w 203"/>
                <a:gd name="T3" fmla="*/ 0 h 568"/>
                <a:gd name="T4" fmla="*/ 133 w 203"/>
                <a:gd name="T5" fmla="*/ 123 h 568"/>
                <a:gd name="T6" fmla="*/ 202 w 203"/>
                <a:gd name="T7" fmla="*/ 123 h 568"/>
                <a:gd name="T8" fmla="*/ 202 w 203"/>
                <a:gd name="T9" fmla="*/ 183 h 568"/>
                <a:gd name="T10" fmla="*/ 133 w 203"/>
                <a:gd name="T11" fmla="*/ 183 h 568"/>
                <a:gd name="T12" fmla="*/ 133 w 203"/>
                <a:gd name="T13" fmla="*/ 468 h 568"/>
                <a:gd name="T14" fmla="*/ 133 w 203"/>
                <a:gd name="T15" fmla="*/ 468 h 568"/>
                <a:gd name="T16" fmla="*/ 133 w 203"/>
                <a:gd name="T17" fmla="*/ 478 h 568"/>
                <a:gd name="T18" fmla="*/ 138 w 203"/>
                <a:gd name="T19" fmla="*/ 486 h 568"/>
                <a:gd name="T20" fmla="*/ 142 w 203"/>
                <a:gd name="T21" fmla="*/ 495 h 568"/>
                <a:gd name="T22" fmla="*/ 148 w 203"/>
                <a:gd name="T23" fmla="*/ 499 h 568"/>
                <a:gd name="T24" fmla="*/ 148 w 203"/>
                <a:gd name="T25" fmla="*/ 499 h 568"/>
                <a:gd name="T26" fmla="*/ 161 w 203"/>
                <a:gd name="T27" fmla="*/ 501 h 568"/>
                <a:gd name="T28" fmla="*/ 177 w 203"/>
                <a:gd name="T29" fmla="*/ 503 h 568"/>
                <a:gd name="T30" fmla="*/ 177 w 203"/>
                <a:gd name="T31" fmla="*/ 503 h 568"/>
                <a:gd name="T32" fmla="*/ 190 w 203"/>
                <a:gd name="T33" fmla="*/ 503 h 568"/>
                <a:gd name="T34" fmla="*/ 190 w 203"/>
                <a:gd name="T35" fmla="*/ 503 h 568"/>
                <a:gd name="T36" fmla="*/ 202 w 203"/>
                <a:gd name="T37" fmla="*/ 501 h 568"/>
                <a:gd name="T38" fmla="*/ 202 w 203"/>
                <a:gd name="T39" fmla="*/ 559 h 568"/>
                <a:gd name="T40" fmla="*/ 202 w 203"/>
                <a:gd name="T41" fmla="*/ 559 h 568"/>
                <a:gd name="T42" fmla="*/ 177 w 203"/>
                <a:gd name="T43" fmla="*/ 565 h 568"/>
                <a:gd name="T44" fmla="*/ 177 w 203"/>
                <a:gd name="T45" fmla="*/ 565 h 568"/>
                <a:gd name="T46" fmla="*/ 148 w 203"/>
                <a:gd name="T47" fmla="*/ 567 h 568"/>
                <a:gd name="T48" fmla="*/ 148 w 203"/>
                <a:gd name="T49" fmla="*/ 567 h 568"/>
                <a:gd name="T50" fmla="*/ 123 w 203"/>
                <a:gd name="T51" fmla="*/ 565 h 568"/>
                <a:gd name="T52" fmla="*/ 104 w 203"/>
                <a:gd name="T53" fmla="*/ 559 h 568"/>
                <a:gd name="T54" fmla="*/ 88 w 203"/>
                <a:gd name="T55" fmla="*/ 551 h 568"/>
                <a:gd name="T56" fmla="*/ 81 w 203"/>
                <a:gd name="T57" fmla="*/ 547 h 568"/>
                <a:gd name="T58" fmla="*/ 77 w 203"/>
                <a:gd name="T59" fmla="*/ 541 h 568"/>
                <a:gd name="T60" fmla="*/ 77 w 203"/>
                <a:gd name="T61" fmla="*/ 541 h 568"/>
                <a:gd name="T62" fmla="*/ 69 w 203"/>
                <a:gd name="T63" fmla="*/ 526 h 568"/>
                <a:gd name="T64" fmla="*/ 63 w 203"/>
                <a:gd name="T65" fmla="*/ 509 h 568"/>
                <a:gd name="T66" fmla="*/ 61 w 203"/>
                <a:gd name="T67" fmla="*/ 493 h 568"/>
                <a:gd name="T68" fmla="*/ 59 w 203"/>
                <a:gd name="T69" fmla="*/ 472 h 568"/>
                <a:gd name="T70" fmla="*/ 59 w 203"/>
                <a:gd name="T71" fmla="*/ 183 h 568"/>
                <a:gd name="T72" fmla="*/ 0 w 203"/>
                <a:gd name="T73" fmla="*/ 183 h 568"/>
                <a:gd name="T74" fmla="*/ 0 w 203"/>
                <a:gd name="T75" fmla="*/ 123 h 568"/>
                <a:gd name="T76" fmla="*/ 59 w 203"/>
                <a:gd name="T77" fmla="*/ 123 h 568"/>
                <a:gd name="T78" fmla="*/ 59 w 203"/>
                <a:gd name="T79" fmla="*/ 0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3" h="568">
                  <a:moveTo>
                    <a:pt x="59" y="0"/>
                  </a:moveTo>
                  <a:lnTo>
                    <a:pt x="133" y="0"/>
                  </a:lnTo>
                  <a:lnTo>
                    <a:pt x="133" y="123"/>
                  </a:lnTo>
                  <a:lnTo>
                    <a:pt x="202" y="123"/>
                  </a:lnTo>
                  <a:lnTo>
                    <a:pt x="202" y="183"/>
                  </a:lnTo>
                  <a:lnTo>
                    <a:pt x="133" y="183"/>
                  </a:lnTo>
                  <a:lnTo>
                    <a:pt x="133" y="468"/>
                  </a:lnTo>
                  <a:lnTo>
                    <a:pt x="133" y="468"/>
                  </a:lnTo>
                  <a:lnTo>
                    <a:pt x="133" y="478"/>
                  </a:lnTo>
                  <a:lnTo>
                    <a:pt x="138" y="486"/>
                  </a:lnTo>
                  <a:lnTo>
                    <a:pt x="142" y="495"/>
                  </a:lnTo>
                  <a:lnTo>
                    <a:pt x="148" y="499"/>
                  </a:lnTo>
                  <a:lnTo>
                    <a:pt x="148" y="499"/>
                  </a:lnTo>
                  <a:lnTo>
                    <a:pt x="161" y="501"/>
                  </a:lnTo>
                  <a:lnTo>
                    <a:pt x="177" y="503"/>
                  </a:lnTo>
                  <a:lnTo>
                    <a:pt x="177" y="503"/>
                  </a:lnTo>
                  <a:lnTo>
                    <a:pt x="190" y="503"/>
                  </a:lnTo>
                  <a:lnTo>
                    <a:pt x="190" y="503"/>
                  </a:lnTo>
                  <a:lnTo>
                    <a:pt x="202" y="501"/>
                  </a:lnTo>
                  <a:lnTo>
                    <a:pt x="202" y="559"/>
                  </a:lnTo>
                  <a:lnTo>
                    <a:pt x="202" y="559"/>
                  </a:lnTo>
                  <a:lnTo>
                    <a:pt x="177" y="565"/>
                  </a:lnTo>
                  <a:lnTo>
                    <a:pt x="177" y="565"/>
                  </a:lnTo>
                  <a:lnTo>
                    <a:pt x="148" y="567"/>
                  </a:lnTo>
                  <a:lnTo>
                    <a:pt x="148" y="567"/>
                  </a:lnTo>
                  <a:lnTo>
                    <a:pt x="123" y="565"/>
                  </a:lnTo>
                  <a:lnTo>
                    <a:pt x="104" y="559"/>
                  </a:lnTo>
                  <a:lnTo>
                    <a:pt x="88" y="551"/>
                  </a:lnTo>
                  <a:lnTo>
                    <a:pt x="81" y="547"/>
                  </a:lnTo>
                  <a:lnTo>
                    <a:pt x="77" y="541"/>
                  </a:lnTo>
                  <a:lnTo>
                    <a:pt x="77" y="541"/>
                  </a:lnTo>
                  <a:lnTo>
                    <a:pt x="69" y="526"/>
                  </a:lnTo>
                  <a:lnTo>
                    <a:pt x="63" y="509"/>
                  </a:lnTo>
                  <a:lnTo>
                    <a:pt x="61" y="493"/>
                  </a:lnTo>
                  <a:lnTo>
                    <a:pt x="59" y="472"/>
                  </a:lnTo>
                  <a:lnTo>
                    <a:pt x="59" y="183"/>
                  </a:lnTo>
                  <a:lnTo>
                    <a:pt x="0" y="183"/>
                  </a:lnTo>
                  <a:lnTo>
                    <a:pt x="0" y="123"/>
                  </a:lnTo>
                  <a:lnTo>
                    <a:pt x="59" y="123"/>
                  </a:lnTo>
                  <a:lnTo>
                    <a:pt x="59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1" name="Freeform 48">
              <a:extLst>
                <a:ext uri="{FF2B5EF4-FFF2-40B4-BE49-F238E27FC236}">
                  <a16:creationId xmlns:a16="http://schemas.microsoft.com/office/drawing/2014/main" id="{2F32E56D-D527-3441-A1D2-4D1344FFC9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7263" y="3830638"/>
              <a:ext cx="176212" cy="215900"/>
            </a:xfrm>
            <a:custGeom>
              <a:avLst/>
              <a:gdLst>
                <a:gd name="T0" fmla="*/ 239 w 489"/>
                <a:gd name="T1" fmla="*/ 0 h 599"/>
                <a:gd name="T2" fmla="*/ 268 w 489"/>
                <a:gd name="T3" fmla="*/ 0 h 599"/>
                <a:gd name="T4" fmla="*/ 322 w 489"/>
                <a:gd name="T5" fmla="*/ 12 h 599"/>
                <a:gd name="T6" fmla="*/ 370 w 489"/>
                <a:gd name="T7" fmla="*/ 33 h 599"/>
                <a:gd name="T8" fmla="*/ 409 w 489"/>
                <a:gd name="T9" fmla="*/ 66 h 599"/>
                <a:gd name="T10" fmla="*/ 428 w 489"/>
                <a:gd name="T11" fmla="*/ 87 h 599"/>
                <a:gd name="T12" fmla="*/ 453 w 489"/>
                <a:gd name="T13" fmla="*/ 129 h 599"/>
                <a:gd name="T14" fmla="*/ 472 w 489"/>
                <a:gd name="T15" fmla="*/ 176 h 599"/>
                <a:gd name="T16" fmla="*/ 484 w 489"/>
                <a:gd name="T17" fmla="*/ 230 h 599"/>
                <a:gd name="T18" fmla="*/ 488 w 489"/>
                <a:gd name="T19" fmla="*/ 291 h 599"/>
                <a:gd name="T20" fmla="*/ 486 w 489"/>
                <a:gd name="T21" fmla="*/ 336 h 599"/>
                <a:gd name="T22" fmla="*/ 468 w 489"/>
                <a:gd name="T23" fmla="*/ 422 h 599"/>
                <a:gd name="T24" fmla="*/ 453 w 489"/>
                <a:gd name="T25" fmla="*/ 463 h 599"/>
                <a:gd name="T26" fmla="*/ 416 w 489"/>
                <a:gd name="T27" fmla="*/ 522 h 599"/>
                <a:gd name="T28" fmla="*/ 380 w 489"/>
                <a:gd name="T29" fmla="*/ 555 h 599"/>
                <a:gd name="T30" fmla="*/ 353 w 489"/>
                <a:gd name="T31" fmla="*/ 573 h 599"/>
                <a:gd name="T32" fmla="*/ 308 w 489"/>
                <a:gd name="T33" fmla="*/ 590 h 599"/>
                <a:gd name="T34" fmla="*/ 237 w 489"/>
                <a:gd name="T35" fmla="*/ 598 h 599"/>
                <a:gd name="T36" fmla="*/ 0 w 489"/>
                <a:gd name="T37" fmla="*/ 0 h 599"/>
                <a:gd name="T38" fmla="*/ 223 w 489"/>
                <a:gd name="T39" fmla="*/ 530 h 599"/>
                <a:gd name="T40" fmla="*/ 274 w 489"/>
                <a:gd name="T41" fmla="*/ 523 h 599"/>
                <a:gd name="T42" fmla="*/ 289 w 489"/>
                <a:gd name="T43" fmla="*/ 522 h 599"/>
                <a:gd name="T44" fmla="*/ 331 w 489"/>
                <a:gd name="T45" fmla="*/ 497 h 599"/>
                <a:gd name="T46" fmla="*/ 364 w 489"/>
                <a:gd name="T47" fmla="*/ 459 h 599"/>
                <a:gd name="T48" fmla="*/ 376 w 489"/>
                <a:gd name="T49" fmla="*/ 440 h 599"/>
                <a:gd name="T50" fmla="*/ 393 w 489"/>
                <a:gd name="T51" fmla="*/ 393 h 599"/>
                <a:gd name="T52" fmla="*/ 399 w 489"/>
                <a:gd name="T53" fmla="*/ 365 h 599"/>
                <a:gd name="T54" fmla="*/ 405 w 489"/>
                <a:gd name="T55" fmla="*/ 303 h 599"/>
                <a:gd name="T56" fmla="*/ 403 w 489"/>
                <a:gd name="T57" fmla="*/ 276 h 599"/>
                <a:gd name="T58" fmla="*/ 399 w 489"/>
                <a:gd name="T59" fmla="*/ 226 h 599"/>
                <a:gd name="T60" fmla="*/ 387 w 489"/>
                <a:gd name="T61" fmla="*/ 185 h 599"/>
                <a:gd name="T62" fmla="*/ 372 w 489"/>
                <a:gd name="T63" fmla="*/ 147 h 599"/>
                <a:gd name="T64" fmla="*/ 362 w 489"/>
                <a:gd name="T65" fmla="*/ 131 h 599"/>
                <a:gd name="T66" fmla="*/ 337 w 489"/>
                <a:gd name="T67" fmla="*/ 104 h 599"/>
                <a:gd name="T68" fmla="*/ 306 w 489"/>
                <a:gd name="T69" fmla="*/ 85 h 599"/>
                <a:gd name="T70" fmla="*/ 266 w 489"/>
                <a:gd name="T71" fmla="*/ 72 h 599"/>
                <a:gd name="T72" fmla="*/ 223 w 489"/>
                <a:gd name="T73" fmla="*/ 68 h 599"/>
                <a:gd name="T74" fmla="*/ 81 w 489"/>
                <a:gd name="T75" fmla="*/ 53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9" h="599">
                  <a:moveTo>
                    <a:pt x="0" y="0"/>
                  </a:moveTo>
                  <a:lnTo>
                    <a:pt x="239" y="0"/>
                  </a:lnTo>
                  <a:lnTo>
                    <a:pt x="239" y="0"/>
                  </a:lnTo>
                  <a:lnTo>
                    <a:pt x="268" y="0"/>
                  </a:lnTo>
                  <a:lnTo>
                    <a:pt x="295" y="4"/>
                  </a:lnTo>
                  <a:lnTo>
                    <a:pt x="322" y="12"/>
                  </a:lnTo>
                  <a:lnTo>
                    <a:pt x="347" y="20"/>
                  </a:lnTo>
                  <a:lnTo>
                    <a:pt x="370" y="33"/>
                  </a:lnTo>
                  <a:lnTo>
                    <a:pt x="391" y="47"/>
                  </a:lnTo>
                  <a:lnTo>
                    <a:pt x="409" y="66"/>
                  </a:lnTo>
                  <a:lnTo>
                    <a:pt x="428" y="87"/>
                  </a:lnTo>
                  <a:lnTo>
                    <a:pt x="428" y="87"/>
                  </a:lnTo>
                  <a:lnTo>
                    <a:pt x="443" y="108"/>
                  </a:lnTo>
                  <a:lnTo>
                    <a:pt x="453" y="129"/>
                  </a:lnTo>
                  <a:lnTo>
                    <a:pt x="464" y="154"/>
                  </a:lnTo>
                  <a:lnTo>
                    <a:pt x="472" y="176"/>
                  </a:lnTo>
                  <a:lnTo>
                    <a:pt x="480" y="203"/>
                  </a:lnTo>
                  <a:lnTo>
                    <a:pt x="484" y="230"/>
                  </a:lnTo>
                  <a:lnTo>
                    <a:pt x="486" y="259"/>
                  </a:lnTo>
                  <a:lnTo>
                    <a:pt x="488" y="291"/>
                  </a:lnTo>
                  <a:lnTo>
                    <a:pt x="488" y="291"/>
                  </a:lnTo>
                  <a:lnTo>
                    <a:pt x="486" y="336"/>
                  </a:lnTo>
                  <a:lnTo>
                    <a:pt x="478" y="380"/>
                  </a:lnTo>
                  <a:lnTo>
                    <a:pt x="468" y="422"/>
                  </a:lnTo>
                  <a:lnTo>
                    <a:pt x="453" y="463"/>
                  </a:lnTo>
                  <a:lnTo>
                    <a:pt x="453" y="463"/>
                  </a:lnTo>
                  <a:lnTo>
                    <a:pt x="434" y="494"/>
                  </a:lnTo>
                  <a:lnTo>
                    <a:pt x="416" y="522"/>
                  </a:lnTo>
                  <a:lnTo>
                    <a:pt x="393" y="546"/>
                  </a:lnTo>
                  <a:lnTo>
                    <a:pt x="380" y="555"/>
                  </a:lnTo>
                  <a:lnTo>
                    <a:pt x="368" y="565"/>
                  </a:lnTo>
                  <a:lnTo>
                    <a:pt x="353" y="573"/>
                  </a:lnTo>
                  <a:lnTo>
                    <a:pt x="339" y="580"/>
                  </a:lnTo>
                  <a:lnTo>
                    <a:pt x="308" y="590"/>
                  </a:lnTo>
                  <a:lnTo>
                    <a:pt x="274" y="596"/>
                  </a:lnTo>
                  <a:lnTo>
                    <a:pt x="237" y="598"/>
                  </a:lnTo>
                  <a:lnTo>
                    <a:pt x="0" y="598"/>
                  </a:lnTo>
                  <a:lnTo>
                    <a:pt x="0" y="0"/>
                  </a:lnTo>
                  <a:close/>
                  <a:moveTo>
                    <a:pt x="223" y="530"/>
                  </a:moveTo>
                  <a:lnTo>
                    <a:pt x="223" y="530"/>
                  </a:lnTo>
                  <a:lnTo>
                    <a:pt x="260" y="528"/>
                  </a:lnTo>
                  <a:lnTo>
                    <a:pt x="274" y="523"/>
                  </a:lnTo>
                  <a:lnTo>
                    <a:pt x="289" y="522"/>
                  </a:lnTo>
                  <a:lnTo>
                    <a:pt x="289" y="522"/>
                  </a:lnTo>
                  <a:lnTo>
                    <a:pt x="312" y="511"/>
                  </a:lnTo>
                  <a:lnTo>
                    <a:pt x="331" y="497"/>
                  </a:lnTo>
                  <a:lnTo>
                    <a:pt x="349" y="480"/>
                  </a:lnTo>
                  <a:lnTo>
                    <a:pt x="364" y="459"/>
                  </a:lnTo>
                  <a:lnTo>
                    <a:pt x="364" y="459"/>
                  </a:lnTo>
                  <a:lnTo>
                    <a:pt x="376" y="440"/>
                  </a:lnTo>
                  <a:lnTo>
                    <a:pt x="384" y="417"/>
                  </a:lnTo>
                  <a:lnTo>
                    <a:pt x="393" y="393"/>
                  </a:lnTo>
                  <a:lnTo>
                    <a:pt x="399" y="365"/>
                  </a:lnTo>
                  <a:lnTo>
                    <a:pt x="399" y="365"/>
                  </a:lnTo>
                  <a:lnTo>
                    <a:pt x="403" y="334"/>
                  </a:lnTo>
                  <a:lnTo>
                    <a:pt x="405" y="303"/>
                  </a:lnTo>
                  <a:lnTo>
                    <a:pt x="405" y="303"/>
                  </a:lnTo>
                  <a:lnTo>
                    <a:pt x="403" y="276"/>
                  </a:lnTo>
                  <a:lnTo>
                    <a:pt x="401" y="251"/>
                  </a:lnTo>
                  <a:lnTo>
                    <a:pt x="399" y="226"/>
                  </a:lnTo>
                  <a:lnTo>
                    <a:pt x="393" y="205"/>
                  </a:lnTo>
                  <a:lnTo>
                    <a:pt x="387" y="185"/>
                  </a:lnTo>
                  <a:lnTo>
                    <a:pt x="380" y="164"/>
                  </a:lnTo>
                  <a:lnTo>
                    <a:pt x="372" y="147"/>
                  </a:lnTo>
                  <a:lnTo>
                    <a:pt x="362" y="131"/>
                  </a:lnTo>
                  <a:lnTo>
                    <a:pt x="362" y="131"/>
                  </a:lnTo>
                  <a:lnTo>
                    <a:pt x="349" y="116"/>
                  </a:lnTo>
                  <a:lnTo>
                    <a:pt x="337" y="104"/>
                  </a:lnTo>
                  <a:lnTo>
                    <a:pt x="322" y="93"/>
                  </a:lnTo>
                  <a:lnTo>
                    <a:pt x="306" y="85"/>
                  </a:lnTo>
                  <a:lnTo>
                    <a:pt x="287" y="77"/>
                  </a:lnTo>
                  <a:lnTo>
                    <a:pt x="266" y="72"/>
                  </a:lnTo>
                  <a:lnTo>
                    <a:pt x="246" y="70"/>
                  </a:lnTo>
                  <a:lnTo>
                    <a:pt x="223" y="68"/>
                  </a:lnTo>
                  <a:lnTo>
                    <a:pt x="81" y="68"/>
                  </a:lnTo>
                  <a:lnTo>
                    <a:pt x="81" y="530"/>
                  </a:lnTo>
                  <a:lnTo>
                    <a:pt x="223" y="5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2" name="Freeform 49">
              <a:extLst>
                <a:ext uri="{FF2B5EF4-FFF2-40B4-BE49-F238E27FC236}">
                  <a16:creationId xmlns:a16="http://schemas.microsoft.com/office/drawing/2014/main" id="{4C680A9A-DF06-E74A-A988-21F3CE7B01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0463" y="3824288"/>
              <a:ext cx="142875" cy="227012"/>
            </a:xfrm>
            <a:custGeom>
              <a:avLst/>
              <a:gdLst>
                <a:gd name="T0" fmla="*/ 316 w 398"/>
                <a:gd name="T1" fmla="*/ 200 h 631"/>
                <a:gd name="T2" fmla="*/ 362 w 398"/>
                <a:gd name="T3" fmla="*/ 245 h 631"/>
                <a:gd name="T4" fmla="*/ 380 w 398"/>
                <a:gd name="T5" fmla="*/ 281 h 631"/>
                <a:gd name="T6" fmla="*/ 391 w 398"/>
                <a:gd name="T7" fmla="*/ 322 h 631"/>
                <a:gd name="T8" fmla="*/ 397 w 398"/>
                <a:gd name="T9" fmla="*/ 418 h 631"/>
                <a:gd name="T10" fmla="*/ 83 w 398"/>
                <a:gd name="T11" fmla="*/ 451 h 631"/>
                <a:gd name="T12" fmla="*/ 110 w 398"/>
                <a:gd name="T13" fmla="*/ 526 h 631"/>
                <a:gd name="T14" fmla="*/ 127 w 398"/>
                <a:gd name="T15" fmla="*/ 543 h 631"/>
                <a:gd name="T16" fmla="*/ 160 w 398"/>
                <a:gd name="T17" fmla="*/ 559 h 631"/>
                <a:gd name="T18" fmla="*/ 202 w 398"/>
                <a:gd name="T19" fmla="*/ 565 h 631"/>
                <a:gd name="T20" fmla="*/ 229 w 398"/>
                <a:gd name="T21" fmla="*/ 563 h 631"/>
                <a:gd name="T22" fmla="*/ 264 w 398"/>
                <a:gd name="T23" fmla="*/ 551 h 631"/>
                <a:gd name="T24" fmla="*/ 293 w 398"/>
                <a:gd name="T25" fmla="*/ 528 h 631"/>
                <a:gd name="T26" fmla="*/ 308 w 398"/>
                <a:gd name="T27" fmla="*/ 503 h 631"/>
                <a:gd name="T28" fmla="*/ 391 w 398"/>
                <a:gd name="T29" fmla="*/ 476 h 631"/>
                <a:gd name="T30" fmla="*/ 385 w 398"/>
                <a:gd name="T31" fmla="*/ 501 h 631"/>
                <a:gd name="T32" fmla="*/ 355 w 398"/>
                <a:gd name="T33" fmla="*/ 557 h 631"/>
                <a:gd name="T34" fmla="*/ 318 w 398"/>
                <a:gd name="T35" fmla="*/ 593 h 631"/>
                <a:gd name="T36" fmla="*/ 254 w 398"/>
                <a:gd name="T37" fmla="*/ 622 h 631"/>
                <a:gd name="T38" fmla="*/ 196 w 398"/>
                <a:gd name="T39" fmla="*/ 630 h 631"/>
                <a:gd name="T40" fmla="*/ 156 w 398"/>
                <a:gd name="T41" fmla="*/ 626 h 631"/>
                <a:gd name="T42" fmla="*/ 102 w 398"/>
                <a:gd name="T43" fmla="*/ 605 h 631"/>
                <a:gd name="T44" fmla="*/ 56 w 398"/>
                <a:gd name="T45" fmla="*/ 570 h 631"/>
                <a:gd name="T46" fmla="*/ 33 w 398"/>
                <a:gd name="T47" fmla="*/ 537 h 631"/>
                <a:gd name="T48" fmla="*/ 9 w 398"/>
                <a:gd name="T49" fmla="*/ 476 h 631"/>
                <a:gd name="T50" fmla="*/ 0 w 398"/>
                <a:gd name="T51" fmla="*/ 403 h 631"/>
                <a:gd name="T52" fmla="*/ 5 w 398"/>
                <a:gd name="T53" fmla="*/ 354 h 631"/>
                <a:gd name="T54" fmla="*/ 23 w 398"/>
                <a:gd name="T55" fmla="*/ 287 h 631"/>
                <a:gd name="T56" fmla="*/ 58 w 398"/>
                <a:gd name="T57" fmla="*/ 233 h 631"/>
                <a:gd name="T58" fmla="*/ 87 w 398"/>
                <a:gd name="T59" fmla="*/ 204 h 631"/>
                <a:gd name="T60" fmla="*/ 142 w 398"/>
                <a:gd name="T61" fmla="*/ 177 h 631"/>
                <a:gd name="T62" fmla="*/ 206 w 398"/>
                <a:gd name="T63" fmla="*/ 166 h 631"/>
                <a:gd name="T64" fmla="*/ 252 w 398"/>
                <a:gd name="T65" fmla="*/ 173 h 631"/>
                <a:gd name="T66" fmla="*/ 322 w 398"/>
                <a:gd name="T67" fmla="*/ 360 h 631"/>
                <a:gd name="T68" fmla="*/ 314 w 398"/>
                <a:gd name="T69" fmla="*/ 318 h 631"/>
                <a:gd name="T70" fmla="*/ 302 w 398"/>
                <a:gd name="T71" fmla="*/ 285 h 631"/>
                <a:gd name="T72" fmla="*/ 272 w 398"/>
                <a:gd name="T73" fmla="*/ 252 h 631"/>
                <a:gd name="T74" fmla="*/ 233 w 398"/>
                <a:gd name="T75" fmla="*/ 235 h 631"/>
                <a:gd name="T76" fmla="*/ 202 w 398"/>
                <a:gd name="T77" fmla="*/ 231 h 631"/>
                <a:gd name="T78" fmla="*/ 135 w 398"/>
                <a:gd name="T79" fmla="*/ 252 h 631"/>
                <a:gd name="T80" fmla="*/ 102 w 398"/>
                <a:gd name="T81" fmla="*/ 287 h 631"/>
                <a:gd name="T82" fmla="*/ 81 w 398"/>
                <a:gd name="T83" fmla="*/ 360 h 631"/>
                <a:gd name="T84" fmla="*/ 183 w 398"/>
                <a:gd name="T85" fmla="*/ 119 h 631"/>
                <a:gd name="T86" fmla="*/ 293 w 398"/>
                <a:gd name="T87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8" h="631">
                  <a:moveTo>
                    <a:pt x="295" y="189"/>
                  </a:moveTo>
                  <a:lnTo>
                    <a:pt x="295" y="189"/>
                  </a:lnTo>
                  <a:lnTo>
                    <a:pt x="316" y="200"/>
                  </a:lnTo>
                  <a:lnTo>
                    <a:pt x="335" y="214"/>
                  </a:lnTo>
                  <a:lnTo>
                    <a:pt x="349" y="229"/>
                  </a:lnTo>
                  <a:lnTo>
                    <a:pt x="362" y="245"/>
                  </a:lnTo>
                  <a:lnTo>
                    <a:pt x="362" y="245"/>
                  </a:lnTo>
                  <a:lnTo>
                    <a:pt x="372" y="262"/>
                  </a:lnTo>
                  <a:lnTo>
                    <a:pt x="380" y="281"/>
                  </a:lnTo>
                  <a:lnTo>
                    <a:pt x="387" y="302"/>
                  </a:lnTo>
                  <a:lnTo>
                    <a:pt x="391" y="322"/>
                  </a:lnTo>
                  <a:lnTo>
                    <a:pt x="391" y="322"/>
                  </a:lnTo>
                  <a:lnTo>
                    <a:pt x="393" y="339"/>
                  </a:lnTo>
                  <a:lnTo>
                    <a:pt x="395" y="362"/>
                  </a:lnTo>
                  <a:lnTo>
                    <a:pt x="397" y="418"/>
                  </a:lnTo>
                  <a:lnTo>
                    <a:pt x="79" y="418"/>
                  </a:lnTo>
                  <a:lnTo>
                    <a:pt x="79" y="418"/>
                  </a:lnTo>
                  <a:lnTo>
                    <a:pt x="83" y="451"/>
                  </a:lnTo>
                  <a:lnTo>
                    <a:pt x="87" y="478"/>
                  </a:lnTo>
                  <a:lnTo>
                    <a:pt x="98" y="503"/>
                  </a:lnTo>
                  <a:lnTo>
                    <a:pt x="110" y="526"/>
                  </a:lnTo>
                  <a:lnTo>
                    <a:pt x="110" y="526"/>
                  </a:lnTo>
                  <a:lnTo>
                    <a:pt x="119" y="534"/>
                  </a:lnTo>
                  <a:lnTo>
                    <a:pt x="127" y="543"/>
                  </a:lnTo>
                  <a:lnTo>
                    <a:pt x="137" y="551"/>
                  </a:lnTo>
                  <a:lnTo>
                    <a:pt x="148" y="555"/>
                  </a:lnTo>
                  <a:lnTo>
                    <a:pt x="160" y="559"/>
                  </a:lnTo>
                  <a:lnTo>
                    <a:pt x="173" y="563"/>
                  </a:lnTo>
                  <a:lnTo>
                    <a:pt x="187" y="565"/>
                  </a:lnTo>
                  <a:lnTo>
                    <a:pt x="202" y="565"/>
                  </a:lnTo>
                  <a:lnTo>
                    <a:pt x="202" y="565"/>
                  </a:lnTo>
                  <a:lnTo>
                    <a:pt x="214" y="565"/>
                  </a:lnTo>
                  <a:lnTo>
                    <a:pt x="229" y="563"/>
                  </a:lnTo>
                  <a:lnTo>
                    <a:pt x="241" y="561"/>
                  </a:lnTo>
                  <a:lnTo>
                    <a:pt x="252" y="557"/>
                  </a:lnTo>
                  <a:lnTo>
                    <a:pt x="264" y="551"/>
                  </a:lnTo>
                  <a:lnTo>
                    <a:pt x="274" y="545"/>
                  </a:lnTo>
                  <a:lnTo>
                    <a:pt x="283" y="537"/>
                  </a:lnTo>
                  <a:lnTo>
                    <a:pt x="293" y="528"/>
                  </a:lnTo>
                  <a:lnTo>
                    <a:pt x="293" y="528"/>
                  </a:lnTo>
                  <a:lnTo>
                    <a:pt x="302" y="516"/>
                  </a:lnTo>
                  <a:lnTo>
                    <a:pt x="308" y="503"/>
                  </a:lnTo>
                  <a:lnTo>
                    <a:pt x="314" y="491"/>
                  </a:lnTo>
                  <a:lnTo>
                    <a:pt x="318" y="476"/>
                  </a:lnTo>
                  <a:lnTo>
                    <a:pt x="391" y="476"/>
                  </a:lnTo>
                  <a:lnTo>
                    <a:pt x="391" y="476"/>
                  </a:lnTo>
                  <a:lnTo>
                    <a:pt x="389" y="489"/>
                  </a:lnTo>
                  <a:lnTo>
                    <a:pt x="385" y="501"/>
                  </a:lnTo>
                  <a:lnTo>
                    <a:pt x="372" y="530"/>
                  </a:lnTo>
                  <a:lnTo>
                    <a:pt x="372" y="530"/>
                  </a:lnTo>
                  <a:lnTo>
                    <a:pt x="355" y="557"/>
                  </a:lnTo>
                  <a:lnTo>
                    <a:pt x="337" y="578"/>
                  </a:lnTo>
                  <a:lnTo>
                    <a:pt x="337" y="578"/>
                  </a:lnTo>
                  <a:lnTo>
                    <a:pt x="318" y="593"/>
                  </a:lnTo>
                  <a:lnTo>
                    <a:pt x="299" y="605"/>
                  </a:lnTo>
                  <a:lnTo>
                    <a:pt x="279" y="615"/>
                  </a:lnTo>
                  <a:lnTo>
                    <a:pt x="254" y="622"/>
                  </a:lnTo>
                  <a:lnTo>
                    <a:pt x="254" y="622"/>
                  </a:lnTo>
                  <a:lnTo>
                    <a:pt x="227" y="628"/>
                  </a:lnTo>
                  <a:lnTo>
                    <a:pt x="196" y="630"/>
                  </a:lnTo>
                  <a:lnTo>
                    <a:pt x="196" y="630"/>
                  </a:lnTo>
                  <a:lnTo>
                    <a:pt x="175" y="628"/>
                  </a:lnTo>
                  <a:lnTo>
                    <a:pt x="156" y="626"/>
                  </a:lnTo>
                  <a:lnTo>
                    <a:pt x="137" y="622"/>
                  </a:lnTo>
                  <a:lnTo>
                    <a:pt x="121" y="613"/>
                  </a:lnTo>
                  <a:lnTo>
                    <a:pt x="102" y="605"/>
                  </a:lnTo>
                  <a:lnTo>
                    <a:pt x="87" y="597"/>
                  </a:lnTo>
                  <a:lnTo>
                    <a:pt x="71" y="584"/>
                  </a:lnTo>
                  <a:lnTo>
                    <a:pt x="56" y="570"/>
                  </a:lnTo>
                  <a:lnTo>
                    <a:pt x="56" y="570"/>
                  </a:lnTo>
                  <a:lnTo>
                    <a:pt x="44" y="555"/>
                  </a:lnTo>
                  <a:lnTo>
                    <a:pt x="33" y="537"/>
                  </a:lnTo>
                  <a:lnTo>
                    <a:pt x="23" y="518"/>
                  </a:lnTo>
                  <a:lnTo>
                    <a:pt x="15" y="499"/>
                  </a:lnTo>
                  <a:lnTo>
                    <a:pt x="9" y="476"/>
                  </a:lnTo>
                  <a:lnTo>
                    <a:pt x="5" y="453"/>
                  </a:lnTo>
                  <a:lnTo>
                    <a:pt x="2" y="430"/>
                  </a:lnTo>
                  <a:lnTo>
                    <a:pt x="0" y="403"/>
                  </a:lnTo>
                  <a:lnTo>
                    <a:pt x="0" y="403"/>
                  </a:lnTo>
                  <a:lnTo>
                    <a:pt x="2" y="379"/>
                  </a:lnTo>
                  <a:lnTo>
                    <a:pt x="5" y="354"/>
                  </a:lnTo>
                  <a:lnTo>
                    <a:pt x="9" y="331"/>
                  </a:lnTo>
                  <a:lnTo>
                    <a:pt x="15" y="308"/>
                  </a:lnTo>
                  <a:lnTo>
                    <a:pt x="23" y="287"/>
                  </a:lnTo>
                  <a:lnTo>
                    <a:pt x="33" y="268"/>
                  </a:lnTo>
                  <a:lnTo>
                    <a:pt x="44" y="250"/>
                  </a:lnTo>
                  <a:lnTo>
                    <a:pt x="58" y="233"/>
                  </a:lnTo>
                  <a:lnTo>
                    <a:pt x="58" y="233"/>
                  </a:lnTo>
                  <a:lnTo>
                    <a:pt x="73" y="216"/>
                  </a:lnTo>
                  <a:lnTo>
                    <a:pt x="87" y="204"/>
                  </a:lnTo>
                  <a:lnTo>
                    <a:pt x="106" y="193"/>
                  </a:lnTo>
                  <a:lnTo>
                    <a:pt x="123" y="183"/>
                  </a:lnTo>
                  <a:lnTo>
                    <a:pt x="142" y="177"/>
                  </a:lnTo>
                  <a:lnTo>
                    <a:pt x="162" y="171"/>
                  </a:lnTo>
                  <a:lnTo>
                    <a:pt x="183" y="169"/>
                  </a:lnTo>
                  <a:lnTo>
                    <a:pt x="206" y="166"/>
                  </a:lnTo>
                  <a:lnTo>
                    <a:pt x="206" y="166"/>
                  </a:lnTo>
                  <a:lnTo>
                    <a:pt x="229" y="169"/>
                  </a:lnTo>
                  <a:lnTo>
                    <a:pt x="252" y="173"/>
                  </a:lnTo>
                  <a:lnTo>
                    <a:pt x="274" y="179"/>
                  </a:lnTo>
                  <a:lnTo>
                    <a:pt x="295" y="189"/>
                  </a:lnTo>
                  <a:close/>
                  <a:moveTo>
                    <a:pt x="322" y="360"/>
                  </a:moveTo>
                  <a:lnTo>
                    <a:pt x="322" y="360"/>
                  </a:lnTo>
                  <a:lnTo>
                    <a:pt x="318" y="337"/>
                  </a:lnTo>
                  <a:lnTo>
                    <a:pt x="314" y="318"/>
                  </a:lnTo>
                  <a:lnTo>
                    <a:pt x="308" y="299"/>
                  </a:lnTo>
                  <a:lnTo>
                    <a:pt x="302" y="285"/>
                  </a:lnTo>
                  <a:lnTo>
                    <a:pt x="302" y="285"/>
                  </a:lnTo>
                  <a:lnTo>
                    <a:pt x="293" y="272"/>
                  </a:lnTo>
                  <a:lnTo>
                    <a:pt x="285" y="260"/>
                  </a:lnTo>
                  <a:lnTo>
                    <a:pt x="272" y="252"/>
                  </a:lnTo>
                  <a:lnTo>
                    <a:pt x="262" y="243"/>
                  </a:lnTo>
                  <a:lnTo>
                    <a:pt x="248" y="239"/>
                  </a:lnTo>
                  <a:lnTo>
                    <a:pt x="233" y="235"/>
                  </a:lnTo>
                  <a:lnTo>
                    <a:pt x="218" y="231"/>
                  </a:lnTo>
                  <a:lnTo>
                    <a:pt x="202" y="231"/>
                  </a:lnTo>
                  <a:lnTo>
                    <a:pt x="202" y="231"/>
                  </a:lnTo>
                  <a:lnTo>
                    <a:pt x="177" y="233"/>
                  </a:lnTo>
                  <a:lnTo>
                    <a:pt x="156" y="239"/>
                  </a:lnTo>
                  <a:lnTo>
                    <a:pt x="135" y="252"/>
                  </a:lnTo>
                  <a:lnTo>
                    <a:pt x="117" y="268"/>
                  </a:lnTo>
                  <a:lnTo>
                    <a:pt x="117" y="268"/>
                  </a:lnTo>
                  <a:lnTo>
                    <a:pt x="102" y="287"/>
                  </a:lnTo>
                  <a:lnTo>
                    <a:pt x="92" y="310"/>
                  </a:lnTo>
                  <a:lnTo>
                    <a:pt x="83" y="333"/>
                  </a:lnTo>
                  <a:lnTo>
                    <a:pt x="81" y="360"/>
                  </a:lnTo>
                  <a:lnTo>
                    <a:pt x="322" y="360"/>
                  </a:lnTo>
                  <a:close/>
                  <a:moveTo>
                    <a:pt x="293" y="0"/>
                  </a:moveTo>
                  <a:lnTo>
                    <a:pt x="183" y="119"/>
                  </a:lnTo>
                  <a:lnTo>
                    <a:pt x="127" y="119"/>
                  </a:lnTo>
                  <a:lnTo>
                    <a:pt x="202" y="0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3" name="Freeform 50">
              <a:extLst>
                <a:ext uri="{FF2B5EF4-FFF2-40B4-BE49-F238E27FC236}">
                  <a16:creationId xmlns:a16="http://schemas.microsoft.com/office/drawing/2014/main" id="{7FD36039-0DCD-1B4A-B1BF-6612AAD88C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9213" y="3889375"/>
              <a:ext cx="146050" cy="157163"/>
            </a:xfrm>
            <a:custGeom>
              <a:avLst/>
              <a:gdLst>
                <a:gd name="T0" fmla="*/ 85 w 406"/>
                <a:gd name="T1" fmla="*/ 0 h 437"/>
                <a:gd name="T2" fmla="*/ 201 w 406"/>
                <a:gd name="T3" fmla="*/ 355 h 437"/>
                <a:gd name="T4" fmla="*/ 324 w 406"/>
                <a:gd name="T5" fmla="*/ 0 h 437"/>
                <a:gd name="T6" fmla="*/ 405 w 406"/>
                <a:gd name="T7" fmla="*/ 0 h 437"/>
                <a:gd name="T8" fmla="*/ 239 w 406"/>
                <a:gd name="T9" fmla="*/ 436 h 437"/>
                <a:gd name="T10" fmla="*/ 162 w 406"/>
                <a:gd name="T11" fmla="*/ 436 h 437"/>
                <a:gd name="T12" fmla="*/ 0 w 406"/>
                <a:gd name="T13" fmla="*/ 0 h 437"/>
                <a:gd name="T14" fmla="*/ 85 w 406"/>
                <a:gd name="T15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6" h="437">
                  <a:moveTo>
                    <a:pt x="85" y="0"/>
                  </a:moveTo>
                  <a:lnTo>
                    <a:pt x="201" y="355"/>
                  </a:lnTo>
                  <a:lnTo>
                    <a:pt x="324" y="0"/>
                  </a:lnTo>
                  <a:lnTo>
                    <a:pt x="405" y="0"/>
                  </a:lnTo>
                  <a:lnTo>
                    <a:pt x="239" y="436"/>
                  </a:lnTo>
                  <a:lnTo>
                    <a:pt x="162" y="436"/>
                  </a:lnTo>
                  <a:lnTo>
                    <a:pt x="0" y="0"/>
                  </a:lnTo>
                  <a:lnTo>
                    <a:pt x="85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" name="Freeform 51">
              <a:extLst>
                <a:ext uri="{FF2B5EF4-FFF2-40B4-BE49-F238E27FC236}">
                  <a16:creationId xmlns:a16="http://schemas.microsoft.com/office/drawing/2014/main" id="{7EB9021B-F574-3F4E-89FE-1BB3B4EFD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7963" y="3884613"/>
              <a:ext cx="142875" cy="166687"/>
            </a:xfrm>
            <a:custGeom>
              <a:avLst/>
              <a:gdLst>
                <a:gd name="T0" fmla="*/ 295 w 398"/>
                <a:gd name="T1" fmla="*/ 23 h 465"/>
                <a:gd name="T2" fmla="*/ 333 w 398"/>
                <a:gd name="T3" fmla="*/ 48 h 465"/>
                <a:gd name="T4" fmla="*/ 362 w 398"/>
                <a:gd name="T5" fmla="*/ 79 h 465"/>
                <a:gd name="T6" fmla="*/ 370 w 398"/>
                <a:gd name="T7" fmla="*/ 96 h 465"/>
                <a:gd name="T8" fmla="*/ 385 w 398"/>
                <a:gd name="T9" fmla="*/ 136 h 465"/>
                <a:gd name="T10" fmla="*/ 391 w 398"/>
                <a:gd name="T11" fmla="*/ 156 h 465"/>
                <a:gd name="T12" fmla="*/ 395 w 398"/>
                <a:gd name="T13" fmla="*/ 196 h 465"/>
                <a:gd name="T14" fmla="*/ 79 w 398"/>
                <a:gd name="T15" fmla="*/ 252 h 465"/>
                <a:gd name="T16" fmla="*/ 81 w 398"/>
                <a:gd name="T17" fmla="*/ 285 h 465"/>
                <a:gd name="T18" fmla="*/ 98 w 398"/>
                <a:gd name="T19" fmla="*/ 337 h 465"/>
                <a:gd name="T20" fmla="*/ 110 w 398"/>
                <a:gd name="T21" fmla="*/ 360 h 465"/>
                <a:gd name="T22" fmla="*/ 127 w 398"/>
                <a:gd name="T23" fmla="*/ 377 h 465"/>
                <a:gd name="T24" fmla="*/ 148 w 398"/>
                <a:gd name="T25" fmla="*/ 389 h 465"/>
                <a:gd name="T26" fmla="*/ 173 w 398"/>
                <a:gd name="T27" fmla="*/ 397 h 465"/>
                <a:gd name="T28" fmla="*/ 200 w 398"/>
                <a:gd name="T29" fmla="*/ 399 h 465"/>
                <a:gd name="T30" fmla="*/ 214 w 398"/>
                <a:gd name="T31" fmla="*/ 399 h 465"/>
                <a:gd name="T32" fmla="*/ 239 w 398"/>
                <a:gd name="T33" fmla="*/ 395 h 465"/>
                <a:gd name="T34" fmla="*/ 262 w 398"/>
                <a:gd name="T35" fmla="*/ 385 h 465"/>
                <a:gd name="T36" fmla="*/ 283 w 398"/>
                <a:gd name="T37" fmla="*/ 371 h 465"/>
                <a:gd name="T38" fmla="*/ 291 w 398"/>
                <a:gd name="T39" fmla="*/ 362 h 465"/>
                <a:gd name="T40" fmla="*/ 308 w 398"/>
                <a:gd name="T41" fmla="*/ 337 h 465"/>
                <a:gd name="T42" fmla="*/ 318 w 398"/>
                <a:gd name="T43" fmla="*/ 310 h 465"/>
                <a:gd name="T44" fmla="*/ 391 w 398"/>
                <a:gd name="T45" fmla="*/ 310 h 465"/>
                <a:gd name="T46" fmla="*/ 385 w 398"/>
                <a:gd name="T47" fmla="*/ 335 h 465"/>
                <a:gd name="T48" fmla="*/ 372 w 398"/>
                <a:gd name="T49" fmla="*/ 364 h 465"/>
                <a:gd name="T50" fmla="*/ 335 w 398"/>
                <a:gd name="T51" fmla="*/ 412 h 465"/>
                <a:gd name="T52" fmla="*/ 318 w 398"/>
                <a:gd name="T53" fmla="*/ 427 h 465"/>
                <a:gd name="T54" fmla="*/ 277 w 398"/>
                <a:gd name="T55" fmla="*/ 449 h 465"/>
                <a:gd name="T56" fmla="*/ 254 w 398"/>
                <a:gd name="T57" fmla="*/ 456 h 465"/>
                <a:gd name="T58" fmla="*/ 194 w 398"/>
                <a:gd name="T59" fmla="*/ 464 h 465"/>
                <a:gd name="T60" fmla="*/ 175 w 398"/>
                <a:gd name="T61" fmla="*/ 462 h 465"/>
                <a:gd name="T62" fmla="*/ 137 w 398"/>
                <a:gd name="T63" fmla="*/ 456 h 465"/>
                <a:gd name="T64" fmla="*/ 102 w 398"/>
                <a:gd name="T65" fmla="*/ 439 h 465"/>
                <a:gd name="T66" fmla="*/ 71 w 398"/>
                <a:gd name="T67" fmla="*/ 418 h 465"/>
                <a:gd name="T68" fmla="*/ 56 w 398"/>
                <a:gd name="T69" fmla="*/ 404 h 465"/>
                <a:gd name="T70" fmla="*/ 31 w 398"/>
                <a:gd name="T71" fmla="*/ 371 h 465"/>
                <a:gd name="T72" fmla="*/ 15 w 398"/>
                <a:gd name="T73" fmla="*/ 333 h 465"/>
                <a:gd name="T74" fmla="*/ 4 w 398"/>
                <a:gd name="T75" fmla="*/ 287 h 465"/>
                <a:gd name="T76" fmla="*/ 0 w 398"/>
                <a:gd name="T77" fmla="*/ 237 h 465"/>
                <a:gd name="T78" fmla="*/ 0 w 398"/>
                <a:gd name="T79" fmla="*/ 213 h 465"/>
                <a:gd name="T80" fmla="*/ 9 w 398"/>
                <a:gd name="T81" fmla="*/ 165 h 465"/>
                <a:gd name="T82" fmla="*/ 23 w 398"/>
                <a:gd name="T83" fmla="*/ 121 h 465"/>
                <a:gd name="T84" fmla="*/ 44 w 398"/>
                <a:gd name="T85" fmla="*/ 84 h 465"/>
                <a:gd name="T86" fmla="*/ 56 w 398"/>
                <a:gd name="T87" fmla="*/ 67 h 465"/>
                <a:gd name="T88" fmla="*/ 88 w 398"/>
                <a:gd name="T89" fmla="*/ 38 h 465"/>
                <a:gd name="T90" fmla="*/ 123 w 398"/>
                <a:gd name="T91" fmla="*/ 17 h 465"/>
                <a:gd name="T92" fmla="*/ 162 w 398"/>
                <a:gd name="T93" fmla="*/ 5 h 465"/>
                <a:gd name="T94" fmla="*/ 206 w 398"/>
                <a:gd name="T95" fmla="*/ 0 h 465"/>
                <a:gd name="T96" fmla="*/ 229 w 398"/>
                <a:gd name="T97" fmla="*/ 3 h 465"/>
                <a:gd name="T98" fmla="*/ 272 w 398"/>
                <a:gd name="T99" fmla="*/ 13 h 465"/>
                <a:gd name="T100" fmla="*/ 320 w 398"/>
                <a:gd name="T101" fmla="*/ 194 h 465"/>
                <a:gd name="T102" fmla="*/ 318 w 398"/>
                <a:gd name="T103" fmla="*/ 171 h 465"/>
                <a:gd name="T104" fmla="*/ 308 w 398"/>
                <a:gd name="T105" fmla="*/ 133 h 465"/>
                <a:gd name="T106" fmla="*/ 301 w 398"/>
                <a:gd name="T107" fmla="*/ 119 h 465"/>
                <a:gd name="T108" fmla="*/ 283 w 398"/>
                <a:gd name="T109" fmla="*/ 94 h 465"/>
                <a:gd name="T110" fmla="*/ 260 w 398"/>
                <a:gd name="T111" fmla="*/ 77 h 465"/>
                <a:gd name="T112" fmla="*/ 233 w 398"/>
                <a:gd name="T113" fmla="*/ 69 h 465"/>
                <a:gd name="T114" fmla="*/ 200 w 398"/>
                <a:gd name="T115" fmla="*/ 65 h 465"/>
                <a:gd name="T116" fmla="*/ 177 w 398"/>
                <a:gd name="T117" fmla="*/ 67 h 465"/>
                <a:gd name="T118" fmla="*/ 135 w 398"/>
                <a:gd name="T119" fmla="*/ 86 h 465"/>
                <a:gd name="T120" fmla="*/ 117 w 398"/>
                <a:gd name="T121" fmla="*/ 102 h 465"/>
                <a:gd name="T122" fmla="*/ 90 w 398"/>
                <a:gd name="T123" fmla="*/ 144 h 465"/>
                <a:gd name="T124" fmla="*/ 81 w 398"/>
                <a:gd name="T125" fmla="*/ 19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8" h="465">
                  <a:moveTo>
                    <a:pt x="295" y="23"/>
                  </a:moveTo>
                  <a:lnTo>
                    <a:pt x="295" y="23"/>
                  </a:lnTo>
                  <a:lnTo>
                    <a:pt x="316" y="34"/>
                  </a:lnTo>
                  <a:lnTo>
                    <a:pt x="333" y="48"/>
                  </a:lnTo>
                  <a:lnTo>
                    <a:pt x="347" y="63"/>
                  </a:lnTo>
                  <a:lnTo>
                    <a:pt x="362" y="79"/>
                  </a:lnTo>
                  <a:lnTo>
                    <a:pt x="362" y="79"/>
                  </a:lnTo>
                  <a:lnTo>
                    <a:pt x="370" y="96"/>
                  </a:lnTo>
                  <a:lnTo>
                    <a:pt x="378" y="115"/>
                  </a:lnTo>
                  <a:lnTo>
                    <a:pt x="385" y="136"/>
                  </a:lnTo>
                  <a:lnTo>
                    <a:pt x="391" y="156"/>
                  </a:lnTo>
                  <a:lnTo>
                    <a:pt x="391" y="156"/>
                  </a:lnTo>
                  <a:lnTo>
                    <a:pt x="393" y="173"/>
                  </a:lnTo>
                  <a:lnTo>
                    <a:pt x="395" y="196"/>
                  </a:lnTo>
                  <a:lnTo>
                    <a:pt x="397" y="252"/>
                  </a:lnTo>
                  <a:lnTo>
                    <a:pt x="79" y="252"/>
                  </a:lnTo>
                  <a:lnTo>
                    <a:pt x="79" y="252"/>
                  </a:lnTo>
                  <a:lnTo>
                    <a:pt x="81" y="285"/>
                  </a:lnTo>
                  <a:lnTo>
                    <a:pt x="88" y="312"/>
                  </a:lnTo>
                  <a:lnTo>
                    <a:pt x="98" y="337"/>
                  </a:lnTo>
                  <a:lnTo>
                    <a:pt x="110" y="360"/>
                  </a:lnTo>
                  <a:lnTo>
                    <a:pt x="110" y="360"/>
                  </a:lnTo>
                  <a:lnTo>
                    <a:pt x="119" y="368"/>
                  </a:lnTo>
                  <a:lnTo>
                    <a:pt x="127" y="377"/>
                  </a:lnTo>
                  <a:lnTo>
                    <a:pt x="137" y="385"/>
                  </a:lnTo>
                  <a:lnTo>
                    <a:pt x="148" y="389"/>
                  </a:lnTo>
                  <a:lnTo>
                    <a:pt x="158" y="393"/>
                  </a:lnTo>
                  <a:lnTo>
                    <a:pt x="173" y="397"/>
                  </a:lnTo>
                  <a:lnTo>
                    <a:pt x="185" y="399"/>
                  </a:lnTo>
                  <a:lnTo>
                    <a:pt x="200" y="399"/>
                  </a:lnTo>
                  <a:lnTo>
                    <a:pt x="200" y="399"/>
                  </a:lnTo>
                  <a:lnTo>
                    <a:pt x="214" y="399"/>
                  </a:lnTo>
                  <a:lnTo>
                    <a:pt x="227" y="397"/>
                  </a:lnTo>
                  <a:lnTo>
                    <a:pt x="239" y="395"/>
                  </a:lnTo>
                  <a:lnTo>
                    <a:pt x="252" y="391"/>
                  </a:lnTo>
                  <a:lnTo>
                    <a:pt x="262" y="385"/>
                  </a:lnTo>
                  <a:lnTo>
                    <a:pt x="272" y="379"/>
                  </a:lnTo>
                  <a:lnTo>
                    <a:pt x="283" y="371"/>
                  </a:lnTo>
                  <a:lnTo>
                    <a:pt x="291" y="362"/>
                  </a:lnTo>
                  <a:lnTo>
                    <a:pt x="291" y="362"/>
                  </a:lnTo>
                  <a:lnTo>
                    <a:pt x="300" y="350"/>
                  </a:lnTo>
                  <a:lnTo>
                    <a:pt x="308" y="337"/>
                  </a:lnTo>
                  <a:lnTo>
                    <a:pt x="314" y="325"/>
                  </a:lnTo>
                  <a:lnTo>
                    <a:pt x="318" y="310"/>
                  </a:lnTo>
                  <a:lnTo>
                    <a:pt x="391" y="310"/>
                  </a:lnTo>
                  <a:lnTo>
                    <a:pt x="391" y="310"/>
                  </a:lnTo>
                  <a:lnTo>
                    <a:pt x="389" y="323"/>
                  </a:lnTo>
                  <a:lnTo>
                    <a:pt x="385" y="335"/>
                  </a:lnTo>
                  <a:lnTo>
                    <a:pt x="372" y="364"/>
                  </a:lnTo>
                  <a:lnTo>
                    <a:pt x="372" y="364"/>
                  </a:lnTo>
                  <a:lnTo>
                    <a:pt x="353" y="391"/>
                  </a:lnTo>
                  <a:lnTo>
                    <a:pt x="335" y="412"/>
                  </a:lnTo>
                  <a:lnTo>
                    <a:pt x="335" y="412"/>
                  </a:lnTo>
                  <a:lnTo>
                    <a:pt x="318" y="427"/>
                  </a:lnTo>
                  <a:lnTo>
                    <a:pt x="300" y="439"/>
                  </a:lnTo>
                  <a:lnTo>
                    <a:pt x="277" y="449"/>
                  </a:lnTo>
                  <a:lnTo>
                    <a:pt x="254" y="456"/>
                  </a:lnTo>
                  <a:lnTo>
                    <a:pt x="254" y="456"/>
                  </a:lnTo>
                  <a:lnTo>
                    <a:pt x="225" y="462"/>
                  </a:lnTo>
                  <a:lnTo>
                    <a:pt x="194" y="464"/>
                  </a:lnTo>
                  <a:lnTo>
                    <a:pt x="194" y="464"/>
                  </a:lnTo>
                  <a:lnTo>
                    <a:pt x="175" y="462"/>
                  </a:lnTo>
                  <a:lnTo>
                    <a:pt x="154" y="460"/>
                  </a:lnTo>
                  <a:lnTo>
                    <a:pt x="137" y="456"/>
                  </a:lnTo>
                  <a:lnTo>
                    <a:pt x="119" y="447"/>
                  </a:lnTo>
                  <a:lnTo>
                    <a:pt x="102" y="439"/>
                  </a:lnTo>
                  <a:lnTo>
                    <a:pt x="85" y="431"/>
                  </a:lnTo>
                  <a:lnTo>
                    <a:pt x="71" y="418"/>
                  </a:lnTo>
                  <a:lnTo>
                    <a:pt x="56" y="404"/>
                  </a:lnTo>
                  <a:lnTo>
                    <a:pt x="56" y="404"/>
                  </a:lnTo>
                  <a:lnTo>
                    <a:pt x="44" y="389"/>
                  </a:lnTo>
                  <a:lnTo>
                    <a:pt x="31" y="371"/>
                  </a:lnTo>
                  <a:lnTo>
                    <a:pt x="23" y="352"/>
                  </a:lnTo>
                  <a:lnTo>
                    <a:pt x="15" y="333"/>
                  </a:lnTo>
                  <a:lnTo>
                    <a:pt x="9" y="310"/>
                  </a:lnTo>
                  <a:lnTo>
                    <a:pt x="4" y="287"/>
                  </a:lnTo>
                  <a:lnTo>
                    <a:pt x="0" y="264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0" y="213"/>
                  </a:lnTo>
                  <a:lnTo>
                    <a:pt x="4" y="188"/>
                  </a:lnTo>
                  <a:lnTo>
                    <a:pt x="9" y="165"/>
                  </a:lnTo>
                  <a:lnTo>
                    <a:pt x="15" y="142"/>
                  </a:lnTo>
                  <a:lnTo>
                    <a:pt x="23" y="121"/>
                  </a:lnTo>
                  <a:lnTo>
                    <a:pt x="31" y="102"/>
                  </a:lnTo>
                  <a:lnTo>
                    <a:pt x="44" y="84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71" y="50"/>
                  </a:lnTo>
                  <a:lnTo>
                    <a:pt x="88" y="38"/>
                  </a:lnTo>
                  <a:lnTo>
                    <a:pt x="104" y="27"/>
                  </a:lnTo>
                  <a:lnTo>
                    <a:pt x="123" y="17"/>
                  </a:lnTo>
                  <a:lnTo>
                    <a:pt x="141" y="11"/>
                  </a:lnTo>
                  <a:lnTo>
                    <a:pt x="162" y="5"/>
                  </a:lnTo>
                  <a:lnTo>
                    <a:pt x="183" y="3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229" y="3"/>
                  </a:lnTo>
                  <a:lnTo>
                    <a:pt x="252" y="7"/>
                  </a:lnTo>
                  <a:lnTo>
                    <a:pt x="272" y="13"/>
                  </a:lnTo>
                  <a:lnTo>
                    <a:pt x="295" y="23"/>
                  </a:lnTo>
                  <a:close/>
                  <a:moveTo>
                    <a:pt x="320" y="194"/>
                  </a:moveTo>
                  <a:lnTo>
                    <a:pt x="320" y="194"/>
                  </a:lnTo>
                  <a:lnTo>
                    <a:pt x="318" y="171"/>
                  </a:lnTo>
                  <a:lnTo>
                    <a:pt x="314" y="152"/>
                  </a:lnTo>
                  <a:lnTo>
                    <a:pt x="308" y="133"/>
                  </a:lnTo>
                  <a:lnTo>
                    <a:pt x="301" y="119"/>
                  </a:lnTo>
                  <a:lnTo>
                    <a:pt x="301" y="119"/>
                  </a:lnTo>
                  <a:lnTo>
                    <a:pt x="293" y="106"/>
                  </a:lnTo>
                  <a:lnTo>
                    <a:pt x="283" y="94"/>
                  </a:lnTo>
                  <a:lnTo>
                    <a:pt x="272" y="86"/>
                  </a:lnTo>
                  <a:lnTo>
                    <a:pt x="260" y="77"/>
                  </a:lnTo>
                  <a:lnTo>
                    <a:pt x="247" y="73"/>
                  </a:lnTo>
                  <a:lnTo>
                    <a:pt x="233" y="69"/>
                  </a:lnTo>
                  <a:lnTo>
                    <a:pt x="218" y="65"/>
                  </a:lnTo>
                  <a:lnTo>
                    <a:pt x="200" y="65"/>
                  </a:lnTo>
                  <a:lnTo>
                    <a:pt x="200" y="65"/>
                  </a:lnTo>
                  <a:lnTo>
                    <a:pt x="177" y="67"/>
                  </a:lnTo>
                  <a:lnTo>
                    <a:pt x="154" y="73"/>
                  </a:lnTo>
                  <a:lnTo>
                    <a:pt x="135" y="86"/>
                  </a:lnTo>
                  <a:lnTo>
                    <a:pt x="117" y="102"/>
                  </a:lnTo>
                  <a:lnTo>
                    <a:pt x="117" y="102"/>
                  </a:lnTo>
                  <a:lnTo>
                    <a:pt x="102" y="121"/>
                  </a:lnTo>
                  <a:lnTo>
                    <a:pt x="90" y="144"/>
                  </a:lnTo>
                  <a:lnTo>
                    <a:pt x="83" y="167"/>
                  </a:lnTo>
                  <a:lnTo>
                    <a:pt x="81" y="194"/>
                  </a:lnTo>
                  <a:lnTo>
                    <a:pt x="32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5" name="Freeform 52">
              <a:extLst>
                <a:ext uri="{FF2B5EF4-FFF2-40B4-BE49-F238E27FC236}">
                  <a16:creationId xmlns:a16="http://schemas.microsoft.com/office/drawing/2014/main" id="{F944D3E2-CD24-354F-BA23-F3704980E8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4175" y="3830638"/>
              <a:ext cx="26988" cy="215900"/>
            </a:xfrm>
            <a:custGeom>
              <a:avLst/>
              <a:gdLst>
                <a:gd name="T0" fmla="*/ 0 w 75"/>
                <a:gd name="T1" fmla="*/ 0 h 599"/>
                <a:gd name="T2" fmla="*/ 74 w 75"/>
                <a:gd name="T3" fmla="*/ 0 h 599"/>
                <a:gd name="T4" fmla="*/ 74 w 75"/>
                <a:gd name="T5" fmla="*/ 598 h 599"/>
                <a:gd name="T6" fmla="*/ 0 w 75"/>
                <a:gd name="T7" fmla="*/ 598 h 599"/>
                <a:gd name="T8" fmla="*/ 0 w 75"/>
                <a:gd name="T9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599">
                  <a:moveTo>
                    <a:pt x="0" y="0"/>
                  </a:moveTo>
                  <a:lnTo>
                    <a:pt x="74" y="0"/>
                  </a:lnTo>
                  <a:lnTo>
                    <a:pt x="74" y="598"/>
                  </a:lnTo>
                  <a:lnTo>
                    <a:pt x="0" y="598"/>
                  </a:ln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6" name="Freeform 53">
              <a:extLst>
                <a:ext uri="{FF2B5EF4-FFF2-40B4-BE49-F238E27FC236}">
                  <a16:creationId xmlns:a16="http://schemas.microsoft.com/office/drawing/2014/main" id="{85DC1F9F-E7D8-C845-9363-E3246FBF2D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89738" y="3884613"/>
              <a:ext cx="146050" cy="168275"/>
            </a:xfrm>
            <a:custGeom>
              <a:avLst/>
              <a:gdLst>
                <a:gd name="T0" fmla="*/ 362 w 407"/>
                <a:gd name="T1" fmla="*/ 71 h 467"/>
                <a:gd name="T2" fmla="*/ 391 w 407"/>
                <a:gd name="T3" fmla="*/ 125 h 467"/>
                <a:gd name="T4" fmla="*/ 406 w 407"/>
                <a:gd name="T5" fmla="*/ 196 h 467"/>
                <a:gd name="T6" fmla="*/ 406 w 407"/>
                <a:gd name="T7" fmla="*/ 248 h 467"/>
                <a:gd name="T8" fmla="*/ 393 w 407"/>
                <a:gd name="T9" fmla="*/ 318 h 467"/>
                <a:gd name="T10" fmla="*/ 366 w 407"/>
                <a:gd name="T11" fmla="*/ 379 h 467"/>
                <a:gd name="T12" fmla="*/ 341 w 407"/>
                <a:gd name="T13" fmla="*/ 412 h 467"/>
                <a:gd name="T14" fmla="*/ 289 w 407"/>
                <a:gd name="T15" fmla="*/ 447 h 467"/>
                <a:gd name="T16" fmla="*/ 223 w 407"/>
                <a:gd name="T17" fmla="*/ 464 h 467"/>
                <a:gd name="T18" fmla="*/ 175 w 407"/>
                <a:gd name="T19" fmla="*/ 464 h 467"/>
                <a:gd name="T20" fmla="*/ 117 w 407"/>
                <a:gd name="T21" fmla="*/ 449 h 467"/>
                <a:gd name="T22" fmla="*/ 67 w 407"/>
                <a:gd name="T23" fmla="*/ 418 h 467"/>
                <a:gd name="T24" fmla="*/ 42 w 407"/>
                <a:gd name="T25" fmla="*/ 389 h 467"/>
                <a:gd name="T26" fmla="*/ 15 w 407"/>
                <a:gd name="T27" fmla="*/ 333 h 467"/>
                <a:gd name="T28" fmla="*/ 3 w 407"/>
                <a:gd name="T29" fmla="*/ 266 h 467"/>
                <a:gd name="T30" fmla="*/ 3 w 407"/>
                <a:gd name="T31" fmla="*/ 215 h 467"/>
                <a:gd name="T32" fmla="*/ 15 w 407"/>
                <a:gd name="T33" fmla="*/ 142 h 467"/>
                <a:gd name="T34" fmla="*/ 44 w 407"/>
                <a:gd name="T35" fmla="*/ 81 h 467"/>
                <a:gd name="T36" fmla="*/ 71 w 407"/>
                <a:gd name="T37" fmla="*/ 50 h 467"/>
                <a:gd name="T38" fmla="*/ 121 w 407"/>
                <a:gd name="T39" fmla="*/ 17 h 467"/>
                <a:gd name="T40" fmla="*/ 183 w 407"/>
                <a:gd name="T41" fmla="*/ 0 h 467"/>
                <a:gd name="T42" fmla="*/ 227 w 407"/>
                <a:gd name="T43" fmla="*/ 0 h 467"/>
                <a:gd name="T44" fmla="*/ 283 w 407"/>
                <a:gd name="T45" fmla="*/ 15 h 467"/>
                <a:gd name="T46" fmla="*/ 333 w 407"/>
                <a:gd name="T47" fmla="*/ 44 h 467"/>
                <a:gd name="T48" fmla="*/ 302 w 407"/>
                <a:gd name="T49" fmla="*/ 348 h 467"/>
                <a:gd name="T50" fmla="*/ 327 w 407"/>
                <a:gd name="T51" fmla="*/ 256 h 467"/>
                <a:gd name="T52" fmla="*/ 329 w 407"/>
                <a:gd name="T53" fmla="*/ 194 h 467"/>
                <a:gd name="T54" fmla="*/ 310 w 407"/>
                <a:gd name="T55" fmla="*/ 125 h 467"/>
                <a:gd name="T56" fmla="*/ 291 w 407"/>
                <a:gd name="T57" fmla="*/ 98 h 467"/>
                <a:gd name="T58" fmla="*/ 254 w 407"/>
                <a:gd name="T59" fmla="*/ 73 h 467"/>
                <a:gd name="T60" fmla="*/ 204 w 407"/>
                <a:gd name="T61" fmla="*/ 65 h 467"/>
                <a:gd name="T62" fmla="*/ 173 w 407"/>
                <a:gd name="T63" fmla="*/ 67 h 467"/>
                <a:gd name="T64" fmla="*/ 135 w 407"/>
                <a:gd name="T65" fmla="*/ 83 h 467"/>
                <a:gd name="T66" fmla="*/ 106 w 407"/>
                <a:gd name="T67" fmla="*/ 115 h 467"/>
                <a:gd name="T68" fmla="*/ 84 w 407"/>
                <a:gd name="T69" fmla="*/ 173 h 467"/>
                <a:gd name="T70" fmla="*/ 77 w 407"/>
                <a:gd name="T71" fmla="*/ 239 h 467"/>
                <a:gd name="T72" fmla="*/ 94 w 407"/>
                <a:gd name="T73" fmla="*/ 331 h 467"/>
                <a:gd name="T74" fmla="*/ 115 w 407"/>
                <a:gd name="T75" fmla="*/ 366 h 467"/>
                <a:gd name="T76" fmla="*/ 146 w 407"/>
                <a:gd name="T77" fmla="*/ 391 h 467"/>
                <a:gd name="T78" fmla="*/ 187 w 407"/>
                <a:gd name="T79" fmla="*/ 401 h 467"/>
                <a:gd name="T80" fmla="*/ 221 w 407"/>
                <a:gd name="T81" fmla="*/ 401 h 467"/>
                <a:gd name="T82" fmla="*/ 264 w 407"/>
                <a:gd name="T83" fmla="*/ 389 h 467"/>
                <a:gd name="T84" fmla="*/ 295 w 407"/>
                <a:gd name="T85" fmla="*/ 36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7" h="467">
                  <a:moveTo>
                    <a:pt x="347" y="56"/>
                  </a:moveTo>
                  <a:lnTo>
                    <a:pt x="347" y="56"/>
                  </a:lnTo>
                  <a:lnTo>
                    <a:pt x="362" y="71"/>
                  </a:lnTo>
                  <a:lnTo>
                    <a:pt x="372" y="88"/>
                  </a:lnTo>
                  <a:lnTo>
                    <a:pt x="383" y="106"/>
                  </a:lnTo>
                  <a:lnTo>
                    <a:pt x="391" y="125"/>
                  </a:lnTo>
                  <a:lnTo>
                    <a:pt x="397" y="148"/>
                  </a:lnTo>
                  <a:lnTo>
                    <a:pt x="401" y="171"/>
                  </a:lnTo>
                  <a:lnTo>
                    <a:pt x="406" y="196"/>
                  </a:lnTo>
                  <a:lnTo>
                    <a:pt x="406" y="221"/>
                  </a:lnTo>
                  <a:lnTo>
                    <a:pt x="406" y="221"/>
                  </a:lnTo>
                  <a:lnTo>
                    <a:pt x="406" y="248"/>
                  </a:lnTo>
                  <a:lnTo>
                    <a:pt x="401" y="273"/>
                  </a:lnTo>
                  <a:lnTo>
                    <a:pt x="399" y="296"/>
                  </a:lnTo>
                  <a:lnTo>
                    <a:pt x="393" y="318"/>
                  </a:lnTo>
                  <a:lnTo>
                    <a:pt x="385" y="339"/>
                  </a:lnTo>
                  <a:lnTo>
                    <a:pt x="376" y="360"/>
                  </a:lnTo>
                  <a:lnTo>
                    <a:pt x="366" y="379"/>
                  </a:lnTo>
                  <a:lnTo>
                    <a:pt x="353" y="395"/>
                  </a:lnTo>
                  <a:lnTo>
                    <a:pt x="353" y="395"/>
                  </a:lnTo>
                  <a:lnTo>
                    <a:pt x="341" y="412"/>
                  </a:lnTo>
                  <a:lnTo>
                    <a:pt x="325" y="426"/>
                  </a:lnTo>
                  <a:lnTo>
                    <a:pt x="308" y="439"/>
                  </a:lnTo>
                  <a:lnTo>
                    <a:pt x="289" y="447"/>
                  </a:lnTo>
                  <a:lnTo>
                    <a:pt x="268" y="456"/>
                  </a:lnTo>
                  <a:lnTo>
                    <a:pt x="246" y="460"/>
                  </a:lnTo>
                  <a:lnTo>
                    <a:pt x="223" y="464"/>
                  </a:lnTo>
                  <a:lnTo>
                    <a:pt x="196" y="466"/>
                  </a:lnTo>
                  <a:lnTo>
                    <a:pt x="196" y="466"/>
                  </a:lnTo>
                  <a:lnTo>
                    <a:pt x="175" y="464"/>
                  </a:lnTo>
                  <a:lnTo>
                    <a:pt x="154" y="462"/>
                  </a:lnTo>
                  <a:lnTo>
                    <a:pt x="133" y="456"/>
                  </a:lnTo>
                  <a:lnTo>
                    <a:pt x="117" y="449"/>
                  </a:lnTo>
                  <a:lnTo>
                    <a:pt x="98" y="441"/>
                  </a:lnTo>
                  <a:lnTo>
                    <a:pt x="84" y="431"/>
                  </a:lnTo>
                  <a:lnTo>
                    <a:pt x="67" y="418"/>
                  </a:lnTo>
                  <a:lnTo>
                    <a:pt x="54" y="404"/>
                  </a:lnTo>
                  <a:lnTo>
                    <a:pt x="54" y="404"/>
                  </a:lnTo>
                  <a:lnTo>
                    <a:pt x="42" y="389"/>
                  </a:lnTo>
                  <a:lnTo>
                    <a:pt x="31" y="370"/>
                  </a:lnTo>
                  <a:lnTo>
                    <a:pt x="21" y="352"/>
                  </a:lnTo>
                  <a:lnTo>
                    <a:pt x="15" y="333"/>
                  </a:lnTo>
                  <a:lnTo>
                    <a:pt x="9" y="312"/>
                  </a:lnTo>
                  <a:lnTo>
                    <a:pt x="4" y="289"/>
                  </a:lnTo>
                  <a:lnTo>
                    <a:pt x="3" y="266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3" y="215"/>
                  </a:lnTo>
                  <a:lnTo>
                    <a:pt x="4" y="187"/>
                  </a:lnTo>
                  <a:lnTo>
                    <a:pt x="9" y="165"/>
                  </a:lnTo>
                  <a:lnTo>
                    <a:pt x="15" y="142"/>
                  </a:lnTo>
                  <a:lnTo>
                    <a:pt x="23" y="121"/>
                  </a:lnTo>
                  <a:lnTo>
                    <a:pt x="34" y="100"/>
                  </a:lnTo>
                  <a:lnTo>
                    <a:pt x="44" y="81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71" y="50"/>
                  </a:lnTo>
                  <a:lnTo>
                    <a:pt x="88" y="36"/>
                  </a:lnTo>
                  <a:lnTo>
                    <a:pt x="104" y="25"/>
                  </a:lnTo>
                  <a:lnTo>
                    <a:pt x="121" y="17"/>
                  </a:lnTo>
                  <a:lnTo>
                    <a:pt x="142" y="9"/>
                  </a:lnTo>
                  <a:lnTo>
                    <a:pt x="162" y="5"/>
                  </a:lnTo>
                  <a:lnTo>
                    <a:pt x="183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227" y="0"/>
                  </a:lnTo>
                  <a:lnTo>
                    <a:pt x="246" y="2"/>
                  </a:lnTo>
                  <a:lnTo>
                    <a:pt x="264" y="9"/>
                  </a:lnTo>
                  <a:lnTo>
                    <a:pt x="283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33" y="44"/>
                  </a:lnTo>
                  <a:lnTo>
                    <a:pt x="347" y="56"/>
                  </a:lnTo>
                  <a:close/>
                  <a:moveTo>
                    <a:pt x="302" y="348"/>
                  </a:moveTo>
                  <a:lnTo>
                    <a:pt x="302" y="348"/>
                  </a:lnTo>
                  <a:lnTo>
                    <a:pt x="314" y="318"/>
                  </a:lnTo>
                  <a:lnTo>
                    <a:pt x="322" y="289"/>
                  </a:lnTo>
                  <a:lnTo>
                    <a:pt x="327" y="256"/>
                  </a:lnTo>
                  <a:lnTo>
                    <a:pt x="329" y="223"/>
                  </a:lnTo>
                  <a:lnTo>
                    <a:pt x="329" y="223"/>
                  </a:lnTo>
                  <a:lnTo>
                    <a:pt x="329" y="194"/>
                  </a:lnTo>
                  <a:lnTo>
                    <a:pt x="325" y="169"/>
                  </a:lnTo>
                  <a:lnTo>
                    <a:pt x="318" y="146"/>
                  </a:lnTo>
                  <a:lnTo>
                    <a:pt x="310" y="125"/>
                  </a:lnTo>
                  <a:lnTo>
                    <a:pt x="310" y="125"/>
                  </a:lnTo>
                  <a:lnTo>
                    <a:pt x="302" y="110"/>
                  </a:lnTo>
                  <a:lnTo>
                    <a:pt x="291" y="98"/>
                  </a:lnTo>
                  <a:lnTo>
                    <a:pt x="281" y="88"/>
                  </a:lnTo>
                  <a:lnTo>
                    <a:pt x="268" y="79"/>
                  </a:lnTo>
                  <a:lnTo>
                    <a:pt x="254" y="73"/>
                  </a:lnTo>
                  <a:lnTo>
                    <a:pt x="239" y="67"/>
                  </a:lnTo>
                  <a:lnTo>
                    <a:pt x="223" y="65"/>
                  </a:lnTo>
                  <a:lnTo>
                    <a:pt x="204" y="65"/>
                  </a:lnTo>
                  <a:lnTo>
                    <a:pt x="204" y="65"/>
                  </a:lnTo>
                  <a:lnTo>
                    <a:pt x="187" y="65"/>
                  </a:lnTo>
                  <a:lnTo>
                    <a:pt x="173" y="67"/>
                  </a:lnTo>
                  <a:lnTo>
                    <a:pt x="158" y="71"/>
                  </a:lnTo>
                  <a:lnTo>
                    <a:pt x="146" y="77"/>
                  </a:lnTo>
                  <a:lnTo>
                    <a:pt x="135" y="83"/>
                  </a:lnTo>
                  <a:lnTo>
                    <a:pt x="125" y="94"/>
                  </a:lnTo>
                  <a:lnTo>
                    <a:pt x="115" y="104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94" y="142"/>
                  </a:lnTo>
                  <a:lnTo>
                    <a:pt x="84" y="173"/>
                  </a:lnTo>
                  <a:lnTo>
                    <a:pt x="79" y="204"/>
                  </a:lnTo>
                  <a:lnTo>
                    <a:pt x="77" y="239"/>
                  </a:lnTo>
                  <a:lnTo>
                    <a:pt x="77" y="239"/>
                  </a:lnTo>
                  <a:lnTo>
                    <a:pt x="79" y="273"/>
                  </a:lnTo>
                  <a:lnTo>
                    <a:pt x="84" y="304"/>
                  </a:lnTo>
                  <a:lnTo>
                    <a:pt x="94" y="331"/>
                  </a:lnTo>
                  <a:lnTo>
                    <a:pt x="106" y="356"/>
                  </a:lnTo>
                  <a:lnTo>
                    <a:pt x="106" y="356"/>
                  </a:lnTo>
                  <a:lnTo>
                    <a:pt x="115" y="366"/>
                  </a:lnTo>
                  <a:lnTo>
                    <a:pt x="125" y="377"/>
                  </a:lnTo>
                  <a:lnTo>
                    <a:pt x="135" y="383"/>
                  </a:lnTo>
                  <a:lnTo>
                    <a:pt x="146" y="391"/>
                  </a:lnTo>
                  <a:lnTo>
                    <a:pt x="158" y="395"/>
                  </a:lnTo>
                  <a:lnTo>
                    <a:pt x="173" y="399"/>
                  </a:lnTo>
                  <a:lnTo>
                    <a:pt x="187" y="401"/>
                  </a:lnTo>
                  <a:lnTo>
                    <a:pt x="204" y="401"/>
                  </a:lnTo>
                  <a:lnTo>
                    <a:pt x="204" y="401"/>
                  </a:lnTo>
                  <a:lnTo>
                    <a:pt x="221" y="401"/>
                  </a:lnTo>
                  <a:lnTo>
                    <a:pt x="237" y="397"/>
                  </a:lnTo>
                  <a:lnTo>
                    <a:pt x="252" y="393"/>
                  </a:lnTo>
                  <a:lnTo>
                    <a:pt x="264" y="389"/>
                  </a:lnTo>
                  <a:lnTo>
                    <a:pt x="275" y="381"/>
                  </a:lnTo>
                  <a:lnTo>
                    <a:pt x="285" y="370"/>
                  </a:lnTo>
                  <a:lnTo>
                    <a:pt x="295" y="360"/>
                  </a:lnTo>
                  <a:lnTo>
                    <a:pt x="302" y="3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7" name="Freeform 54">
              <a:extLst>
                <a:ext uri="{FF2B5EF4-FFF2-40B4-BE49-F238E27FC236}">
                  <a16:creationId xmlns:a16="http://schemas.microsoft.com/office/drawing/2014/main" id="{B43B8C43-6A73-FC49-A6B8-80474938FA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5950" y="3884613"/>
              <a:ext cx="139700" cy="223837"/>
            </a:xfrm>
            <a:custGeom>
              <a:avLst/>
              <a:gdLst>
                <a:gd name="T0" fmla="*/ 73 w 388"/>
                <a:gd name="T1" fmla="*/ 13 h 623"/>
                <a:gd name="T2" fmla="*/ 73 w 388"/>
                <a:gd name="T3" fmla="*/ 71 h 623"/>
                <a:gd name="T4" fmla="*/ 96 w 388"/>
                <a:gd name="T5" fmla="*/ 44 h 623"/>
                <a:gd name="T6" fmla="*/ 121 w 388"/>
                <a:gd name="T7" fmla="*/ 25 h 623"/>
                <a:gd name="T8" fmla="*/ 142 w 388"/>
                <a:gd name="T9" fmla="*/ 13 h 623"/>
                <a:gd name="T10" fmla="*/ 185 w 388"/>
                <a:gd name="T11" fmla="*/ 3 h 623"/>
                <a:gd name="T12" fmla="*/ 208 w 388"/>
                <a:gd name="T13" fmla="*/ 0 h 623"/>
                <a:gd name="T14" fmla="*/ 246 w 388"/>
                <a:gd name="T15" fmla="*/ 3 h 623"/>
                <a:gd name="T16" fmla="*/ 277 w 388"/>
                <a:gd name="T17" fmla="*/ 15 h 623"/>
                <a:gd name="T18" fmla="*/ 308 w 388"/>
                <a:gd name="T19" fmla="*/ 31 h 623"/>
                <a:gd name="T20" fmla="*/ 335 w 388"/>
                <a:gd name="T21" fmla="*/ 56 h 623"/>
                <a:gd name="T22" fmla="*/ 347 w 388"/>
                <a:gd name="T23" fmla="*/ 71 h 623"/>
                <a:gd name="T24" fmla="*/ 366 w 388"/>
                <a:gd name="T25" fmla="*/ 106 h 623"/>
                <a:gd name="T26" fmla="*/ 381 w 388"/>
                <a:gd name="T27" fmla="*/ 148 h 623"/>
                <a:gd name="T28" fmla="*/ 387 w 388"/>
                <a:gd name="T29" fmla="*/ 194 h 623"/>
                <a:gd name="T30" fmla="*/ 387 w 388"/>
                <a:gd name="T31" fmla="*/ 219 h 623"/>
                <a:gd name="T32" fmla="*/ 383 w 388"/>
                <a:gd name="T33" fmla="*/ 285 h 623"/>
                <a:gd name="T34" fmla="*/ 368 w 388"/>
                <a:gd name="T35" fmla="*/ 341 h 623"/>
                <a:gd name="T36" fmla="*/ 346 w 388"/>
                <a:gd name="T37" fmla="*/ 387 h 623"/>
                <a:gd name="T38" fmla="*/ 312 w 388"/>
                <a:gd name="T39" fmla="*/ 424 h 623"/>
                <a:gd name="T40" fmla="*/ 300 w 388"/>
                <a:gd name="T41" fmla="*/ 433 h 623"/>
                <a:gd name="T42" fmla="*/ 275 w 388"/>
                <a:gd name="T43" fmla="*/ 447 h 623"/>
                <a:gd name="T44" fmla="*/ 248 w 388"/>
                <a:gd name="T45" fmla="*/ 458 h 623"/>
                <a:gd name="T46" fmla="*/ 202 w 388"/>
                <a:gd name="T47" fmla="*/ 462 h 623"/>
                <a:gd name="T48" fmla="*/ 177 w 388"/>
                <a:gd name="T49" fmla="*/ 462 h 623"/>
                <a:gd name="T50" fmla="*/ 136 w 388"/>
                <a:gd name="T51" fmla="*/ 449 h 623"/>
                <a:gd name="T52" fmla="*/ 119 w 388"/>
                <a:gd name="T53" fmla="*/ 441 h 623"/>
                <a:gd name="T54" fmla="*/ 98 w 388"/>
                <a:gd name="T55" fmla="*/ 424 h 623"/>
                <a:gd name="T56" fmla="*/ 75 w 388"/>
                <a:gd name="T57" fmla="*/ 622 h 623"/>
                <a:gd name="T58" fmla="*/ 0 w 388"/>
                <a:gd name="T59" fmla="*/ 13 h 623"/>
                <a:gd name="T60" fmla="*/ 277 w 388"/>
                <a:gd name="T61" fmla="*/ 356 h 623"/>
                <a:gd name="T62" fmla="*/ 293 w 388"/>
                <a:gd name="T63" fmla="*/ 331 h 623"/>
                <a:gd name="T64" fmla="*/ 304 w 388"/>
                <a:gd name="T65" fmla="*/ 302 h 623"/>
                <a:gd name="T66" fmla="*/ 310 w 388"/>
                <a:gd name="T67" fmla="*/ 266 h 623"/>
                <a:gd name="T68" fmla="*/ 312 w 388"/>
                <a:gd name="T69" fmla="*/ 227 h 623"/>
                <a:gd name="T70" fmla="*/ 308 w 388"/>
                <a:gd name="T71" fmla="*/ 177 h 623"/>
                <a:gd name="T72" fmla="*/ 298 w 388"/>
                <a:gd name="T73" fmla="*/ 138 h 623"/>
                <a:gd name="T74" fmla="*/ 289 w 388"/>
                <a:gd name="T75" fmla="*/ 119 h 623"/>
                <a:gd name="T76" fmla="*/ 269 w 388"/>
                <a:gd name="T77" fmla="*/ 92 h 623"/>
                <a:gd name="T78" fmla="*/ 242 w 388"/>
                <a:gd name="T79" fmla="*/ 75 h 623"/>
                <a:gd name="T80" fmla="*/ 210 w 388"/>
                <a:gd name="T81" fmla="*/ 65 h 623"/>
                <a:gd name="T82" fmla="*/ 192 w 388"/>
                <a:gd name="T83" fmla="*/ 65 h 623"/>
                <a:gd name="T84" fmla="*/ 156 w 388"/>
                <a:gd name="T85" fmla="*/ 69 h 623"/>
                <a:gd name="T86" fmla="*/ 127 w 388"/>
                <a:gd name="T87" fmla="*/ 84 h 623"/>
                <a:gd name="T88" fmla="*/ 104 w 388"/>
                <a:gd name="T89" fmla="*/ 106 h 623"/>
                <a:gd name="T90" fmla="*/ 88 w 388"/>
                <a:gd name="T91" fmla="*/ 140 h 623"/>
                <a:gd name="T92" fmla="*/ 81 w 388"/>
                <a:gd name="T93" fmla="*/ 163 h 623"/>
                <a:gd name="T94" fmla="*/ 73 w 388"/>
                <a:gd name="T95" fmla="*/ 214 h 623"/>
                <a:gd name="T96" fmla="*/ 71 w 388"/>
                <a:gd name="T97" fmla="*/ 244 h 623"/>
                <a:gd name="T98" fmla="*/ 75 w 388"/>
                <a:gd name="T99" fmla="*/ 291 h 623"/>
                <a:gd name="T100" fmla="*/ 88 w 388"/>
                <a:gd name="T101" fmla="*/ 331 h 623"/>
                <a:gd name="T102" fmla="*/ 94 w 388"/>
                <a:gd name="T103" fmla="*/ 346 h 623"/>
                <a:gd name="T104" fmla="*/ 115 w 388"/>
                <a:gd name="T105" fmla="*/ 372 h 623"/>
                <a:gd name="T106" fmla="*/ 142 w 388"/>
                <a:gd name="T107" fmla="*/ 389 h 623"/>
                <a:gd name="T108" fmla="*/ 173 w 388"/>
                <a:gd name="T109" fmla="*/ 397 h 623"/>
                <a:gd name="T110" fmla="*/ 192 w 388"/>
                <a:gd name="T111" fmla="*/ 397 h 623"/>
                <a:gd name="T112" fmla="*/ 217 w 388"/>
                <a:gd name="T113" fmla="*/ 395 h 623"/>
                <a:gd name="T114" fmla="*/ 240 w 388"/>
                <a:gd name="T115" fmla="*/ 387 h 623"/>
                <a:gd name="T116" fmla="*/ 260 w 388"/>
                <a:gd name="T117" fmla="*/ 375 h 623"/>
                <a:gd name="T118" fmla="*/ 277 w 388"/>
                <a:gd name="T119" fmla="*/ 356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8" h="623">
                  <a:moveTo>
                    <a:pt x="0" y="13"/>
                  </a:moveTo>
                  <a:lnTo>
                    <a:pt x="73" y="13"/>
                  </a:lnTo>
                  <a:lnTo>
                    <a:pt x="73" y="71"/>
                  </a:lnTo>
                  <a:lnTo>
                    <a:pt x="73" y="71"/>
                  </a:lnTo>
                  <a:lnTo>
                    <a:pt x="84" y="56"/>
                  </a:lnTo>
                  <a:lnTo>
                    <a:pt x="96" y="44"/>
                  </a:lnTo>
                  <a:lnTo>
                    <a:pt x="109" y="34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42" y="13"/>
                  </a:lnTo>
                  <a:lnTo>
                    <a:pt x="163" y="7"/>
                  </a:lnTo>
                  <a:lnTo>
                    <a:pt x="185" y="3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27" y="0"/>
                  </a:lnTo>
                  <a:lnTo>
                    <a:pt x="246" y="3"/>
                  </a:lnTo>
                  <a:lnTo>
                    <a:pt x="262" y="9"/>
                  </a:lnTo>
                  <a:lnTo>
                    <a:pt x="277" y="15"/>
                  </a:lnTo>
                  <a:lnTo>
                    <a:pt x="293" y="21"/>
                  </a:lnTo>
                  <a:lnTo>
                    <a:pt x="308" y="31"/>
                  </a:lnTo>
                  <a:lnTo>
                    <a:pt x="323" y="44"/>
                  </a:lnTo>
                  <a:lnTo>
                    <a:pt x="335" y="56"/>
                  </a:lnTo>
                  <a:lnTo>
                    <a:pt x="335" y="56"/>
                  </a:lnTo>
                  <a:lnTo>
                    <a:pt x="347" y="71"/>
                  </a:lnTo>
                  <a:lnTo>
                    <a:pt x="358" y="88"/>
                  </a:lnTo>
                  <a:lnTo>
                    <a:pt x="366" y="106"/>
                  </a:lnTo>
                  <a:lnTo>
                    <a:pt x="375" y="125"/>
                  </a:lnTo>
                  <a:lnTo>
                    <a:pt x="381" y="148"/>
                  </a:lnTo>
                  <a:lnTo>
                    <a:pt x="385" y="169"/>
                  </a:lnTo>
                  <a:lnTo>
                    <a:pt x="387" y="194"/>
                  </a:lnTo>
                  <a:lnTo>
                    <a:pt x="387" y="219"/>
                  </a:lnTo>
                  <a:lnTo>
                    <a:pt x="387" y="219"/>
                  </a:lnTo>
                  <a:lnTo>
                    <a:pt x="387" y="254"/>
                  </a:lnTo>
                  <a:lnTo>
                    <a:pt x="383" y="285"/>
                  </a:lnTo>
                  <a:lnTo>
                    <a:pt x="377" y="314"/>
                  </a:lnTo>
                  <a:lnTo>
                    <a:pt x="368" y="341"/>
                  </a:lnTo>
                  <a:lnTo>
                    <a:pt x="358" y="366"/>
                  </a:lnTo>
                  <a:lnTo>
                    <a:pt x="346" y="387"/>
                  </a:lnTo>
                  <a:lnTo>
                    <a:pt x="331" y="408"/>
                  </a:lnTo>
                  <a:lnTo>
                    <a:pt x="312" y="424"/>
                  </a:lnTo>
                  <a:lnTo>
                    <a:pt x="312" y="424"/>
                  </a:lnTo>
                  <a:lnTo>
                    <a:pt x="300" y="433"/>
                  </a:lnTo>
                  <a:lnTo>
                    <a:pt x="287" y="441"/>
                  </a:lnTo>
                  <a:lnTo>
                    <a:pt x="275" y="447"/>
                  </a:lnTo>
                  <a:lnTo>
                    <a:pt x="260" y="454"/>
                  </a:lnTo>
                  <a:lnTo>
                    <a:pt x="248" y="458"/>
                  </a:lnTo>
                  <a:lnTo>
                    <a:pt x="233" y="460"/>
                  </a:lnTo>
                  <a:lnTo>
                    <a:pt x="202" y="462"/>
                  </a:lnTo>
                  <a:lnTo>
                    <a:pt x="202" y="462"/>
                  </a:lnTo>
                  <a:lnTo>
                    <a:pt x="177" y="462"/>
                  </a:lnTo>
                  <a:lnTo>
                    <a:pt x="156" y="458"/>
                  </a:lnTo>
                  <a:lnTo>
                    <a:pt x="136" y="449"/>
                  </a:lnTo>
                  <a:lnTo>
                    <a:pt x="119" y="441"/>
                  </a:lnTo>
                  <a:lnTo>
                    <a:pt x="119" y="441"/>
                  </a:lnTo>
                  <a:lnTo>
                    <a:pt x="109" y="433"/>
                  </a:lnTo>
                  <a:lnTo>
                    <a:pt x="98" y="424"/>
                  </a:lnTo>
                  <a:lnTo>
                    <a:pt x="75" y="399"/>
                  </a:lnTo>
                  <a:lnTo>
                    <a:pt x="75" y="622"/>
                  </a:lnTo>
                  <a:lnTo>
                    <a:pt x="0" y="622"/>
                  </a:lnTo>
                  <a:lnTo>
                    <a:pt x="0" y="13"/>
                  </a:lnTo>
                  <a:close/>
                  <a:moveTo>
                    <a:pt x="277" y="356"/>
                  </a:moveTo>
                  <a:lnTo>
                    <a:pt x="277" y="356"/>
                  </a:lnTo>
                  <a:lnTo>
                    <a:pt x="285" y="343"/>
                  </a:lnTo>
                  <a:lnTo>
                    <a:pt x="293" y="331"/>
                  </a:lnTo>
                  <a:lnTo>
                    <a:pt x="298" y="316"/>
                  </a:lnTo>
                  <a:lnTo>
                    <a:pt x="304" y="302"/>
                  </a:lnTo>
                  <a:lnTo>
                    <a:pt x="308" y="285"/>
                  </a:lnTo>
                  <a:lnTo>
                    <a:pt x="310" y="266"/>
                  </a:lnTo>
                  <a:lnTo>
                    <a:pt x="312" y="227"/>
                  </a:lnTo>
                  <a:lnTo>
                    <a:pt x="312" y="227"/>
                  </a:lnTo>
                  <a:lnTo>
                    <a:pt x="310" y="202"/>
                  </a:lnTo>
                  <a:lnTo>
                    <a:pt x="308" y="177"/>
                  </a:lnTo>
                  <a:lnTo>
                    <a:pt x="304" y="156"/>
                  </a:lnTo>
                  <a:lnTo>
                    <a:pt x="298" y="138"/>
                  </a:lnTo>
                  <a:lnTo>
                    <a:pt x="298" y="138"/>
                  </a:lnTo>
                  <a:lnTo>
                    <a:pt x="289" y="119"/>
                  </a:lnTo>
                  <a:lnTo>
                    <a:pt x="279" y="104"/>
                  </a:lnTo>
                  <a:lnTo>
                    <a:pt x="269" y="92"/>
                  </a:lnTo>
                  <a:lnTo>
                    <a:pt x="256" y="81"/>
                  </a:lnTo>
                  <a:lnTo>
                    <a:pt x="242" y="75"/>
                  </a:lnTo>
                  <a:lnTo>
                    <a:pt x="227" y="69"/>
                  </a:lnTo>
                  <a:lnTo>
                    <a:pt x="210" y="65"/>
                  </a:lnTo>
                  <a:lnTo>
                    <a:pt x="192" y="65"/>
                  </a:lnTo>
                  <a:lnTo>
                    <a:pt x="192" y="65"/>
                  </a:lnTo>
                  <a:lnTo>
                    <a:pt x="173" y="65"/>
                  </a:lnTo>
                  <a:lnTo>
                    <a:pt x="156" y="69"/>
                  </a:lnTo>
                  <a:lnTo>
                    <a:pt x="142" y="75"/>
                  </a:lnTo>
                  <a:lnTo>
                    <a:pt x="127" y="84"/>
                  </a:lnTo>
                  <a:lnTo>
                    <a:pt x="115" y="94"/>
                  </a:lnTo>
                  <a:lnTo>
                    <a:pt x="104" y="106"/>
                  </a:lnTo>
                  <a:lnTo>
                    <a:pt x="94" y="123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1" y="163"/>
                  </a:lnTo>
                  <a:lnTo>
                    <a:pt x="75" y="188"/>
                  </a:lnTo>
                  <a:lnTo>
                    <a:pt x="73" y="21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3" y="269"/>
                  </a:lnTo>
                  <a:lnTo>
                    <a:pt x="75" y="291"/>
                  </a:lnTo>
                  <a:lnTo>
                    <a:pt x="81" y="312"/>
                  </a:lnTo>
                  <a:lnTo>
                    <a:pt x="88" y="331"/>
                  </a:lnTo>
                  <a:lnTo>
                    <a:pt x="88" y="331"/>
                  </a:lnTo>
                  <a:lnTo>
                    <a:pt x="94" y="346"/>
                  </a:lnTo>
                  <a:lnTo>
                    <a:pt x="104" y="360"/>
                  </a:lnTo>
                  <a:lnTo>
                    <a:pt x="115" y="372"/>
                  </a:lnTo>
                  <a:lnTo>
                    <a:pt x="127" y="381"/>
                  </a:lnTo>
                  <a:lnTo>
                    <a:pt x="142" y="389"/>
                  </a:lnTo>
                  <a:lnTo>
                    <a:pt x="156" y="393"/>
                  </a:lnTo>
                  <a:lnTo>
                    <a:pt x="173" y="397"/>
                  </a:lnTo>
                  <a:lnTo>
                    <a:pt x="192" y="397"/>
                  </a:lnTo>
                  <a:lnTo>
                    <a:pt x="192" y="397"/>
                  </a:lnTo>
                  <a:lnTo>
                    <a:pt x="204" y="397"/>
                  </a:lnTo>
                  <a:lnTo>
                    <a:pt x="217" y="395"/>
                  </a:lnTo>
                  <a:lnTo>
                    <a:pt x="229" y="391"/>
                  </a:lnTo>
                  <a:lnTo>
                    <a:pt x="240" y="387"/>
                  </a:lnTo>
                  <a:lnTo>
                    <a:pt x="250" y="381"/>
                  </a:lnTo>
                  <a:lnTo>
                    <a:pt x="260" y="375"/>
                  </a:lnTo>
                  <a:lnTo>
                    <a:pt x="269" y="366"/>
                  </a:lnTo>
                  <a:lnTo>
                    <a:pt x="277" y="3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8" name="Freeform 55">
              <a:extLst>
                <a:ext uri="{FF2B5EF4-FFF2-40B4-BE49-F238E27FC236}">
                  <a16:creationId xmlns:a16="http://schemas.microsoft.com/office/drawing/2014/main" id="{58A9E498-0F29-A04B-9F26-070D64950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2638" y="3884613"/>
              <a:ext cx="139700" cy="223837"/>
            </a:xfrm>
            <a:custGeom>
              <a:avLst/>
              <a:gdLst>
                <a:gd name="T0" fmla="*/ 73 w 387"/>
                <a:gd name="T1" fmla="*/ 13 h 623"/>
                <a:gd name="T2" fmla="*/ 73 w 387"/>
                <a:gd name="T3" fmla="*/ 71 h 623"/>
                <a:gd name="T4" fmla="*/ 96 w 387"/>
                <a:gd name="T5" fmla="*/ 44 h 623"/>
                <a:gd name="T6" fmla="*/ 121 w 387"/>
                <a:gd name="T7" fmla="*/ 25 h 623"/>
                <a:gd name="T8" fmla="*/ 139 w 387"/>
                <a:gd name="T9" fmla="*/ 13 h 623"/>
                <a:gd name="T10" fmla="*/ 183 w 387"/>
                <a:gd name="T11" fmla="*/ 3 h 623"/>
                <a:gd name="T12" fmla="*/ 208 w 387"/>
                <a:gd name="T13" fmla="*/ 0 h 623"/>
                <a:gd name="T14" fmla="*/ 243 w 387"/>
                <a:gd name="T15" fmla="*/ 3 h 623"/>
                <a:gd name="T16" fmla="*/ 276 w 387"/>
                <a:gd name="T17" fmla="*/ 15 h 623"/>
                <a:gd name="T18" fmla="*/ 308 w 387"/>
                <a:gd name="T19" fmla="*/ 31 h 623"/>
                <a:gd name="T20" fmla="*/ 334 w 387"/>
                <a:gd name="T21" fmla="*/ 56 h 623"/>
                <a:gd name="T22" fmla="*/ 347 w 387"/>
                <a:gd name="T23" fmla="*/ 71 h 623"/>
                <a:gd name="T24" fmla="*/ 365 w 387"/>
                <a:gd name="T25" fmla="*/ 106 h 623"/>
                <a:gd name="T26" fmla="*/ 378 w 387"/>
                <a:gd name="T27" fmla="*/ 148 h 623"/>
                <a:gd name="T28" fmla="*/ 384 w 387"/>
                <a:gd name="T29" fmla="*/ 194 h 623"/>
                <a:gd name="T30" fmla="*/ 386 w 387"/>
                <a:gd name="T31" fmla="*/ 219 h 623"/>
                <a:gd name="T32" fmla="*/ 380 w 387"/>
                <a:gd name="T33" fmla="*/ 285 h 623"/>
                <a:gd name="T34" fmla="*/ 368 w 387"/>
                <a:gd name="T35" fmla="*/ 341 h 623"/>
                <a:gd name="T36" fmla="*/ 343 w 387"/>
                <a:gd name="T37" fmla="*/ 387 h 623"/>
                <a:gd name="T38" fmla="*/ 312 w 387"/>
                <a:gd name="T39" fmla="*/ 424 h 623"/>
                <a:gd name="T40" fmla="*/ 299 w 387"/>
                <a:gd name="T41" fmla="*/ 433 h 623"/>
                <a:gd name="T42" fmla="*/ 272 w 387"/>
                <a:gd name="T43" fmla="*/ 447 h 623"/>
                <a:gd name="T44" fmla="*/ 245 w 387"/>
                <a:gd name="T45" fmla="*/ 458 h 623"/>
                <a:gd name="T46" fmla="*/ 199 w 387"/>
                <a:gd name="T47" fmla="*/ 462 h 623"/>
                <a:gd name="T48" fmla="*/ 177 w 387"/>
                <a:gd name="T49" fmla="*/ 462 h 623"/>
                <a:gd name="T50" fmla="*/ 135 w 387"/>
                <a:gd name="T51" fmla="*/ 449 h 623"/>
                <a:gd name="T52" fmla="*/ 116 w 387"/>
                <a:gd name="T53" fmla="*/ 441 h 623"/>
                <a:gd name="T54" fmla="*/ 96 w 387"/>
                <a:gd name="T55" fmla="*/ 424 h 623"/>
                <a:gd name="T56" fmla="*/ 73 w 387"/>
                <a:gd name="T57" fmla="*/ 622 h 623"/>
                <a:gd name="T58" fmla="*/ 0 w 387"/>
                <a:gd name="T59" fmla="*/ 13 h 623"/>
                <a:gd name="T60" fmla="*/ 276 w 387"/>
                <a:gd name="T61" fmla="*/ 356 h 623"/>
                <a:gd name="T62" fmla="*/ 291 w 387"/>
                <a:gd name="T63" fmla="*/ 331 h 623"/>
                <a:gd name="T64" fmla="*/ 301 w 387"/>
                <a:gd name="T65" fmla="*/ 302 h 623"/>
                <a:gd name="T66" fmla="*/ 308 w 387"/>
                <a:gd name="T67" fmla="*/ 266 h 623"/>
                <a:gd name="T68" fmla="*/ 309 w 387"/>
                <a:gd name="T69" fmla="*/ 227 h 623"/>
                <a:gd name="T70" fmla="*/ 308 w 387"/>
                <a:gd name="T71" fmla="*/ 177 h 623"/>
                <a:gd name="T72" fmla="*/ 295 w 387"/>
                <a:gd name="T73" fmla="*/ 138 h 623"/>
                <a:gd name="T74" fmla="*/ 287 w 387"/>
                <a:gd name="T75" fmla="*/ 119 h 623"/>
                <a:gd name="T76" fmla="*/ 268 w 387"/>
                <a:gd name="T77" fmla="*/ 92 h 623"/>
                <a:gd name="T78" fmla="*/ 241 w 387"/>
                <a:gd name="T79" fmla="*/ 75 h 623"/>
                <a:gd name="T80" fmla="*/ 210 w 387"/>
                <a:gd name="T81" fmla="*/ 65 h 623"/>
                <a:gd name="T82" fmla="*/ 191 w 387"/>
                <a:gd name="T83" fmla="*/ 65 h 623"/>
                <a:gd name="T84" fmla="*/ 156 w 387"/>
                <a:gd name="T85" fmla="*/ 69 h 623"/>
                <a:gd name="T86" fmla="*/ 127 w 387"/>
                <a:gd name="T87" fmla="*/ 84 h 623"/>
                <a:gd name="T88" fmla="*/ 104 w 387"/>
                <a:gd name="T89" fmla="*/ 106 h 623"/>
                <a:gd name="T90" fmla="*/ 85 w 387"/>
                <a:gd name="T91" fmla="*/ 140 h 623"/>
                <a:gd name="T92" fmla="*/ 79 w 387"/>
                <a:gd name="T93" fmla="*/ 163 h 623"/>
                <a:gd name="T94" fmla="*/ 71 w 387"/>
                <a:gd name="T95" fmla="*/ 214 h 623"/>
                <a:gd name="T96" fmla="*/ 71 w 387"/>
                <a:gd name="T97" fmla="*/ 244 h 623"/>
                <a:gd name="T98" fmla="*/ 75 w 387"/>
                <a:gd name="T99" fmla="*/ 291 h 623"/>
                <a:gd name="T100" fmla="*/ 85 w 387"/>
                <a:gd name="T101" fmla="*/ 331 h 623"/>
                <a:gd name="T102" fmla="*/ 93 w 387"/>
                <a:gd name="T103" fmla="*/ 346 h 623"/>
                <a:gd name="T104" fmla="*/ 114 w 387"/>
                <a:gd name="T105" fmla="*/ 372 h 623"/>
                <a:gd name="T106" fmla="*/ 139 w 387"/>
                <a:gd name="T107" fmla="*/ 389 h 623"/>
                <a:gd name="T108" fmla="*/ 172 w 387"/>
                <a:gd name="T109" fmla="*/ 397 h 623"/>
                <a:gd name="T110" fmla="*/ 191 w 387"/>
                <a:gd name="T111" fmla="*/ 397 h 623"/>
                <a:gd name="T112" fmla="*/ 216 w 387"/>
                <a:gd name="T113" fmla="*/ 395 h 623"/>
                <a:gd name="T114" fmla="*/ 237 w 387"/>
                <a:gd name="T115" fmla="*/ 387 h 623"/>
                <a:gd name="T116" fmla="*/ 258 w 387"/>
                <a:gd name="T117" fmla="*/ 375 h 623"/>
                <a:gd name="T118" fmla="*/ 276 w 387"/>
                <a:gd name="T119" fmla="*/ 356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7" h="623">
                  <a:moveTo>
                    <a:pt x="0" y="13"/>
                  </a:moveTo>
                  <a:lnTo>
                    <a:pt x="73" y="13"/>
                  </a:lnTo>
                  <a:lnTo>
                    <a:pt x="73" y="71"/>
                  </a:lnTo>
                  <a:lnTo>
                    <a:pt x="73" y="71"/>
                  </a:lnTo>
                  <a:lnTo>
                    <a:pt x="83" y="56"/>
                  </a:lnTo>
                  <a:lnTo>
                    <a:pt x="96" y="44"/>
                  </a:lnTo>
                  <a:lnTo>
                    <a:pt x="108" y="34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39" y="13"/>
                  </a:lnTo>
                  <a:lnTo>
                    <a:pt x="160" y="7"/>
                  </a:lnTo>
                  <a:lnTo>
                    <a:pt x="183" y="3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27" y="0"/>
                  </a:lnTo>
                  <a:lnTo>
                    <a:pt x="243" y="3"/>
                  </a:lnTo>
                  <a:lnTo>
                    <a:pt x="260" y="9"/>
                  </a:lnTo>
                  <a:lnTo>
                    <a:pt x="276" y="15"/>
                  </a:lnTo>
                  <a:lnTo>
                    <a:pt x="291" y="21"/>
                  </a:lnTo>
                  <a:lnTo>
                    <a:pt x="308" y="31"/>
                  </a:lnTo>
                  <a:lnTo>
                    <a:pt x="320" y="44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47" y="71"/>
                  </a:lnTo>
                  <a:lnTo>
                    <a:pt x="357" y="88"/>
                  </a:lnTo>
                  <a:lnTo>
                    <a:pt x="365" y="106"/>
                  </a:lnTo>
                  <a:lnTo>
                    <a:pt x="372" y="125"/>
                  </a:lnTo>
                  <a:lnTo>
                    <a:pt x="378" y="148"/>
                  </a:lnTo>
                  <a:lnTo>
                    <a:pt x="382" y="169"/>
                  </a:lnTo>
                  <a:lnTo>
                    <a:pt x="384" y="194"/>
                  </a:lnTo>
                  <a:lnTo>
                    <a:pt x="386" y="219"/>
                  </a:lnTo>
                  <a:lnTo>
                    <a:pt x="386" y="219"/>
                  </a:lnTo>
                  <a:lnTo>
                    <a:pt x="384" y="254"/>
                  </a:lnTo>
                  <a:lnTo>
                    <a:pt x="380" y="285"/>
                  </a:lnTo>
                  <a:lnTo>
                    <a:pt x="376" y="314"/>
                  </a:lnTo>
                  <a:lnTo>
                    <a:pt x="368" y="341"/>
                  </a:lnTo>
                  <a:lnTo>
                    <a:pt x="357" y="366"/>
                  </a:lnTo>
                  <a:lnTo>
                    <a:pt x="343" y="387"/>
                  </a:lnTo>
                  <a:lnTo>
                    <a:pt x="328" y="408"/>
                  </a:lnTo>
                  <a:lnTo>
                    <a:pt x="312" y="424"/>
                  </a:lnTo>
                  <a:lnTo>
                    <a:pt x="312" y="424"/>
                  </a:lnTo>
                  <a:lnTo>
                    <a:pt x="299" y="433"/>
                  </a:lnTo>
                  <a:lnTo>
                    <a:pt x="287" y="441"/>
                  </a:lnTo>
                  <a:lnTo>
                    <a:pt x="272" y="447"/>
                  </a:lnTo>
                  <a:lnTo>
                    <a:pt x="260" y="454"/>
                  </a:lnTo>
                  <a:lnTo>
                    <a:pt x="245" y="458"/>
                  </a:lnTo>
                  <a:lnTo>
                    <a:pt x="231" y="460"/>
                  </a:lnTo>
                  <a:lnTo>
                    <a:pt x="199" y="462"/>
                  </a:lnTo>
                  <a:lnTo>
                    <a:pt x="199" y="462"/>
                  </a:lnTo>
                  <a:lnTo>
                    <a:pt x="177" y="462"/>
                  </a:lnTo>
                  <a:lnTo>
                    <a:pt x="156" y="458"/>
                  </a:lnTo>
                  <a:lnTo>
                    <a:pt x="135" y="449"/>
                  </a:lnTo>
                  <a:lnTo>
                    <a:pt x="116" y="441"/>
                  </a:lnTo>
                  <a:lnTo>
                    <a:pt x="116" y="441"/>
                  </a:lnTo>
                  <a:lnTo>
                    <a:pt x="108" y="433"/>
                  </a:lnTo>
                  <a:lnTo>
                    <a:pt x="96" y="424"/>
                  </a:lnTo>
                  <a:lnTo>
                    <a:pt x="73" y="399"/>
                  </a:lnTo>
                  <a:lnTo>
                    <a:pt x="73" y="622"/>
                  </a:lnTo>
                  <a:lnTo>
                    <a:pt x="0" y="622"/>
                  </a:lnTo>
                  <a:lnTo>
                    <a:pt x="0" y="13"/>
                  </a:lnTo>
                  <a:close/>
                  <a:moveTo>
                    <a:pt x="276" y="356"/>
                  </a:moveTo>
                  <a:lnTo>
                    <a:pt x="276" y="356"/>
                  </a:lnTo>
                  <a:lnTo>
                    <a:pt x="285" y="343"/>
                  </a:lnTo>
                  <a:lnTo>
                    <a:pt x="291" y="331"/>
                  </a:lnTo>
                  <a:lnTo>
                    <a:pt x="297" y="316"/>
                  </a:lnTo>
                  <a:lnTo>
                    <a:pt x="301" y="302"/>
                  </a:lnTo>
                  <a:lnTo>
                    <a:pt x="305" y="285"/>
                  </a:lnTo>
                  <a:lnTo>
                    <a:pt x="308" y="266"/>
                  </a:lnTo>
                  <a:lnTo>
                    <a:pt x="309" y="227"/>
                  </a:lnTo>
                  <a:lnTo>
                    <a:pt x="309" y="227"/>
                  </a:lnTo>
                  <a:lnTo>
                    <a:pt x="309" y="202"/>
                  </a:lnTo>
                  <a:lnTo>
                    <a:pt x="308" y="177"/>
                  </a:lnTo>
                  <a:lnTo>
                    <a:pt x="301" y="156"/>
                  </a:lnTo>
                  <a:lnTo>
                    <a:pt x="295" y="138"/>
                  </a:lnTo>
                  <a:lnTo>
                    <a:pt x="295" y="138"/>
                  </a:lnTo>
                  <a:lnTo>
                    <a:pt x="287" y="119"/>
                  </a:lnTo>
                  <a:lnTo>
                    <a:pt x="278" y="104"/>
                  </a:lnTo>
                  <a:lnTo>
                    <a:pt x="268" y="92"/>
                  </a:lnTo>
                  <a:lnTo>
                    <a:pt x="255" y="81"/>
                  </a:lnTo>
                  <a:lnTo>
                    <a:pt x="241" y="75"/>
                  </a:lnTo>
                  <a:lnTo>
                    <a:pt x="227" y="69"/>
                  </a:lnTo>
                  <a:lnTo>
                    <a:pt x="210" y="65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72" y="65"/>
                  </a:lnTo>
                  <a:lnTo>
                    <a:pt x="156" y="69"/>
                  </a:lnTo>
                  <a:lnTo>
                    <a:pt x="139" y="75"/>
                  </a:lnTo>
                  <a:lnTo>
                    <a:pt x="127" y="84"/>
                  </a:lnTo>
                  <a:lnTo>
                    <a:pt x="114" y="94"/>
                  </a:lnTo>
                  <a:lnTo>
                    <a:pt x="104" y="106"/>
                  </a:lnTo>
                  <a:lnTo>
                    <a:pt x="93" y="123"/>
                  </a:lnTo>
                  <a:lnTo>
                    <a:pt x="85" y="140"/>
                  </a:lnTo>
                  <a:lnTo>
                    <a:pt x="85" y="140"/>
                  </a:lnTo>
                  <a:lnTo>
                    <a:pt x="79" y="163"/>
                  </a:lnTo>
                  <a:lnTo>
                    <a:pt x="75" y="188"/>
                  </a:lnTo>
                  <a:lnTo>
                    <a:pt x="71" y="214"/>
                  </a:lnTo>
                  <a:lnTo>
                    <a:pt x="71" y="244"/>
                  </a:lnTo>
                  <a:lnTo>
                    <a:pt x="71" y="244"/>
                  </a:lnTo>
                  <a:lnTo>
                    <a:pt x="71" y="269"/>
                  </a:lnTo>
                  <a:lnTo>
                    <a:pt x="75" y="291"/>
                  </a:lnTo>
                  <a:lnTo>
                    <a:pt x="79" y="312"/>
                  </a:lnTo>
                  <a:lnTo>
                    <a:pt x="85" y="331"/>
                  </a:lnTo>
                  <a:lnTo>
                    <a:pt x="85" y="331"/>
                  </a:lnTo>
                  <a:lnTo>
                    <a:pt x="93" y="346"/>
                  </a:lnTo>
                  <a:lnTo>
                    <a:pt x="104" y="360"/>
                  </a:lnTo>
                  <a:lnTo>
                    <a:pt x="114" y="372"/>
                  </a:lnTo>
                  <a:lnTo>
                    <a:pt x="127" y="381"/>
                  </a:lnTo>
                  <a:lnTo>
                    <a:pt x="139" y="389"/>
                  </a:lnTo>
                  <a:lnTo>
                    <a:pt x="156" y="393"/>
                  </a:lnTo>
                  <a:lnTo>
                    <a:pt x="172" y="397"/>
                  </a:lnTo>
                  <a:lnTo>
                    <a:pt x="191" y="397"/>
                  </a:lnTo>
                  <a:lnTo>
                    <a:pt x="191" y="397"/>
                  </a:lnTo>
                  <a:lnTo>
                    <a:pt x="204" y="397"/>
                  </a:lnTo>
                  <a:lnTo>
                    <a:pt x="216" y="395"/>
                  </a:lnTo>
                  <a:lnTo>
                    <a:pt x="227" y="391"/>
                  </a:lnTo>
                  <a:lnTo>
                    <a:pt x="237" y="387"/>
                  </a:lnTo>
                  <a:lnTo>
                    <a:pt x="247" y="381"/>
                  </a:lnTo>
                  <a:lnTo>
                    <a:pt x="258" y="375"/>
                  </a:lnTo>
                  <a:lnTo>
                    <a:pt x="268" y="366"/>
                  </a:lnTo>
                  <a:lnTo>
                    <a:pt x="276" y="3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9" name="Freeform 56">
              <a:extLst>
                <a:ext uri="{FF2B5EF4-FFF2-40B4-BE49-F238E27FC236}">
                  <a16:creationId xmlns:a16="http://schemas.microsoft.com/office/drawing/2014/main" id="{108C1AD4-BE22-B745-AF0E-F9A3BC22B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4563" y="3884613"/>
              <a:ext cx="142875" cy="166687"/>
            </a:xfrm>
            <a:custGeom>
              <a:avLst/>
              <a:gdLst>
                <a:gd name="T0" fmla="*/ 293 w 395"/>
                <a:gd name="T1" fmla="*/ 23 h 465"/>
                <a:gd name="T2" fmla="*/ 332 w 395"/>
                <a:gd name="T3" fmla="*/ 48 h 465"/>
                <a:gd name="T4" fmla="*/ 359 w 395"/>
                <a:gd name="T5" fmla="*/ 79 h 465"/>
                <a:gd name="T6" fmla="*/ 369 w 395"/>
                <a:gd name="T7" fmla="*/ 96 h 465"/>
                <a:gd name="T8" fmla="*/ 384 w 395"/>
                <a:gd name="T9" fmla="*/ 136 h 465"/>
                <a:gd name="T10" fmla="*/ 388 w 395"/>
                <a:gd name="T11" fmla="*/ 156 h 465"/>
                <a:gd name="T12" fmla="*/ 394 w 395"/>
                <a:gd name="T13" fmla="*/ 196 h 465"/>
                <a:gd name="T14" fmla="*/ 77 w 395"/>
                <a:gd name="T15" fmla="*/ 252 h 465"/>
                <a:gd name="T16" fmla="*/ 81 w 395"/>
                <a:gd name="T17" fmla="*/ 285 h 465"/>
                <a:gd name="T18" fmla="*/ 95 w 395"/>
                <a:gd name="T19" fmla="*/ 337 h 465"/>
                <a:gd name="T20" fmla="*/ 108 w 395"/>
                <a:gd name="T21" fmla="*/ 360 h 465"/>
                <a:gd name="T22" fmla="*/ 124 w 395"/>
                <a:gd name="T23" fmla="*/ 377 h 465"/>
                <a:gd name="T24" fmla="*/ 145 w 395"/>
                <a:gd name="T25" fmla="*/ 389 h 465"/>
                <a:gd name="T26" fmla="*/ 170 w 395"/>
                <a:gd name="T27" fmla="*/ 397 h 465"/>
                <a:gd name="T28" fmla="*/ 199 w 395"/>
                <a:gd name="T29" fmla="*/ 399 h 465"/>
                <a:gd name="T30" fmla="*/ 214 w 395"/>
                <a:gd name="T31" fmla="*/ 399 h 465"/>
                <a:gd name="T32" fmla="*/ 239 w 395"/>
                <a:gd name="T33" fmla="*/ 395 h 465"/>
                <a:gd name="T34" fmla="*/ 261 w 395"/>
                <a:gd name="T35" fmla="*/ 385 h 465"/>
                <a:gd name="T36" fmla="*/ 280 w 395"/>
                <a:gd name="T37" fmla="*/ 371 h 465"/>
                <a:gd name="T38" fmla="*/ 290 w 395"/>
                <a:gd name="T39" fmla="*/ 362 h 465"/>
                <a:gd name="T40" fmla="*/ 307 w 395"/>
                <a:gd name="T41" fmla="*/ 337 h 465"/>
                <a:gd name="T42" fmla="*/ 318 w 395"/>
                <a:gd name="T43" fmla="*/ 310 h 465"/>
                <a:gd name="T44" fmla="*/ 388 w 395"/>
                <a:gd name="T45" fmla="*/ 310 h 465"/>
                <a:gd name="T46" fmla="*/ 382 w 395"/>
                <a:gd name="T47" fmla="*/ 335 h 465"/>
                <a:gd name="T48" fmla="*/ 369 w 395"/>
                <a:gd name="T49" fmla="*/ 364 h 465"/>
                <a:gd name="T50" fmla="*/ 334 w 395"/>
                <a:gd name="T51" fmla="*/ 412 h 465"/>
                <a:gd name="T52" fmla="*/ 318 w 395"/>
                <a:gd name="T53" fmla="*/ 427 h 465"/>
                <a:gd name="T54" fmla="*/ 276 w 395"/>
                <a:gd name="T55" fmla="*/ 449 h 465"/>
                <a:gd name="T56" fmla="*/ 251 w 395"/>
                <a:gd name="T57" fmla="*/ 456 h 465"/>
                <a:gd name="T58" fmla="*/ 193 w 395"/>
                <a:gd name="T59" fmla="*/ 464 h 465"/>
                <a:gd name="T60" fmla="*/ 172 w 395"/>
                <a:gd name="T61" fmla="*/ 462 h 465"/>
                <a:gd name="T62" fmla="*/ 135 w 395"/>
                <a:gd name="T63" fmla="*/ 456 h 465"/>
                <a:gd name="T64" fmla="*/ 102 w 395"/>
                <a:gd name="T65" fmla="*/ 439 h 465"/>
                <a:gd name="T66" fmla="*/ 70 w 395"/>
                <a:gd name="T67" fmla="*/ 418 h 465"/>
                <a:gd name="T68" fmla="*/ 56 w 395"/>
                <a:gd name="T69" fmla="*/ 404 h 465"/>
                <a:gd name="T70" fmla="*/ 31 w 395"/>
                <a:gd name="T71" fmla="*/ 371 h 465"/>
                <a:gd name="T72" fmla="*/ 12 w 395"/>
                <a:gd name="T73" fmla="*/ 333 h 465"/>
                <a:gd name="T74" fmla="*/ 2 w 395"/>
                <a:gd name="T75" fmla="*/ 287 h 465"/>
                <a:gd name="T76" fmla="*/ 0 w 395"/>
                <a:gd name="T77" fmla="*/ 237 h 465"/>
                <a:gd name="T78" fmla="*/ 0 w 395"/>
                <a:gd name="T79" fmla="*/ 213 h 465"/>
                <a:gd name="T80" fmla="*/ 6 w 395"/>
                <a:gd name="T81" fmla="*/ 165 h 465"/>
                <a:gd name="T82" fmla="*/ 20 w 395"/>
                <a:gd name="T83" fmla="*/ 121 h 465"/>
                <a:gd name="T84" fmla="*/ 41 w 395"/>
                <a:gd name="T85" fmla="*/ 84 h 465"/>
                <a:gd name="T86" fmla="*/ 56 w 395"/>
                <a:gd name="T87" fmla="*/ 67 h 465"/>
                <a:gd name="T88" fmla="*/ 87 w 395"/>
                <a:gd name="T89" fmla="*/ 38 h 465"/>
                <a:gd name="T90" fmla="*/ 120 w 395"/>
                <a:gd name="T91" fmla="*/ 17 h 465"/>
                <a:gd name="T92" fmla="*/ 160 w 395"/>
                <a:gd name="T93" fmla="*/ 5 h 465"/>
                <a:gd name="T94" fmla="*/ 203 w 395"/>
                <a:gd name="T95" fmla="*/ 0 h 465"/>
                <a:gd name="T96" fmla="*/ 226 w 395"/>
                <a:gd name="T97" fmla="*/ 3 h 465"/>
                <a:gd name="T98" fmla="*/ 272 w 395"/>
                <a:gd name="T99" fmla="*/ 13 h 465"/>
                <a:gd name="T100" fmla="*/ 320 w 395"/>
                <a:gd name="T101" fmla="*/ 194 h 465"/>
                <a:gd name="T102" fmla="*/ 318 w 395"/>
                <a:gd name="T103" fmla="*/ 171 h 465"/>
                <a:gd name="T104" fmla="*/ 307 w 395"/>
                <a:gd name="T105" fmla="*/ 133 h 465"/>
                <a:gd name="T106" fmla="*/ 299 w 395"/>
                <a:gd name="T107" fmla="*/ 119 h 465"/>
                <a:gd name="T108" fmla="*/ 282 w 395"/>
                <a:gd name="T109" fmla="*/ 94 h 465"/>
                <a:gd name="T110" fmla="*/ 259 w 395"/>
                <a:gd name="T111" fmla="*/ 77 h 465"/>
                <a:gd name="T112" fmla="*/ 232 w 395"/>
                <a:gd name="T113" fmla="*/ 69 h 465"/>
                <a:gd name="T114" fmla="*/ 199 w 395"/>
                <a:gd name="T115" fmla="*/ 65 h 465"/>
                <a:gd name="T116" fmla="*/ 174 w 395"/>
                <a:gd name="T117" fmla="*/ 67 h 465"/>
                <a:gd name="T118" fmla="*/ 133 w 395"/>
                <a:gd name="T119" fmla="*/ 86 h 465"/>
                <a:gd name="T120" fmla="*/ 116 w 395"/>
                <a:gd name="T121" fmla="*/ 102 h 465"/>
                <a:gd name="T122" fmla="*/ 89 w 395"/>
                <a:gd name="T123" fmla="*/ 144 h 465"/>
                <a:gd name="T124" fmla="*/ 79 w 395"/>
                <a:gd name="T125" fmla="*/ 19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5" h="465">
                  <a:moveTo>
                    <a:pt x="293" y="23"/>
                  </a:moveTo>
                  <a:lnTo>
                    <a:pt x="293" y="23"/>
                  </a:lnTo>
                  <a:lnTo>
                    <a:pt x="313" y="34"/>
                  </a:lnTo>
                  <a:lnTo>
                    <a:pt x="332" y="48"/>
                  </a:lnTo>
                  <a:lnTo>
                    <a:pt x="346" y="63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69" y="96"/>
                  </a:lnTo>
                  <a:lnTo>
                    <a:pt x="378" y="115"/>
                  </a:lnTo>
                  <a:lnTo>
                    <a:pt x="384" y="136"/>
                  </a:lnTo>
                  <a:lnTo>
                    <a:pt x="388" y="156"/>
                  </a:lnTo>
                  <a:lnTo>
                    <a:pt x="388" y="156"/>
                  </a:lnTo>
                  <a:lnTo>
                    <a:pt x="392" y="173"/>
                  </a:lnTo>
                  <a:lnTo>
                    <a:pt x="394" y="196"/>
                  </a:lnTo>
                  <a:lnTo>
                    <a:pt x="394" y="252"/>
                  </a:lnTo>
                  <a:lnTo>
                    <a:pt x="77" y="252"/>
                  </a:lnTo>
                  <a:lnTo>
                    <a:pt x="77" y="252"/>
                  </a:lnTo>
                  <a:lnTo>
                    <a:pt x="81" y="285"/>
                  </a:lnTo>
                  <a:lnTo>
                    <a:pt x="87" y="312"/>
                  </a:lnTo>
                  <a:lnTo>
                    <a:pt x="95" y="337"/>
                  </a:lnTo>
                  <a:lnTo>
                    <a:pt x="108" y="360"/>
                  </a:lnTo>
                  <a:lnTo>
                    <a:pt x="108" y="360"/>
                  </a:lnTo>
                  <a:lnTo>
                    <a:pt x="116" y="368"/>
                  </a:lnTo>
                  <a:lnTo>
                    <a:pt x="124" y="377"/>
                  </a:lnTo>
                  <a:lnTo>
                    <a:pt x="135" y="385"/>
                  </a:lnTo>
                  <a:lnTo>
                    <a:pt x="145" y="389"/>
                  </a:lnTo>
                  <a:lnTo>
                    <a:pt x="158" y="393"/>
                  </a:lnTo>
                  <a:lnTo>
                    <a:pt x="170" y="397"/>
                  </a:lnTo>
                  <a:lnTo>
                    <a:pt x="184" y="399"/>
                  </a:lnTo>
                  <a:lnTo>
                    <a:pt x="199" y="399"/>
                  </a:lnTo>
                  <a:lnTo>
                    <a:pt x="199" y="399"/>
                  </a:lnTo>
                  <a:lnTo>
                    <a:pt x="214" y="399"/>
                  </a:lnTo>
                  <a:lnTo>
                    <a:pt x="226" y="397"/>
                  </a:lnTo>
                  <a:lnTo>
                    <a:pt x="239" y="395"/>
                  </a:lnTo>
                  <a:lnTo>
                    <a:pt x="251" y="391"/>
                  </a:lnTo>
                  <a:lnTo>
                    <a:pt x="261" y="385"/>
                  </a:lnTo>
                  <a:lnTo>
                    <a:pt x="272" y="379"/>
                  </a:lnTo>
                  <a:lnTo>
                    <a:pt x="280" y="371"/>
                  </a:lnTo>
                  <a:lnTo>
                    <a:pt x="290" y="362"/>
                  </a:lnTo>
                  <a:lnTo>
                    <a:pt x="290" y="362"/>
                  </a:lnTo>
                  <a:lnTo>
                    <a:pt x="299" y="350"/>
                  </a:lnTo>
                  <a:lnTo>
                    <a:pt x="307" y="337"/>
                  </a:lnTo>
                  <a:lnTo>
                    <a:pt x="311" y="325"/>
                  </a:lnTo>
                  <a:lnTo>
                    <a:pt x="318" y="310"/>
                  </a:lnTo>
                  <a:lnTo>
                    <a:pt x="388" y="310"/>
                  </a:lnTo>
                  <a:lnTo>
                    <a:pt x="388" y="310"/>
                  </a:lnTo>
                  <a:lnTo>
                    <a:pt x="386" y="323"/>
                  </a:lnTo>
                  <a:lnTo>
                    <a:pt x="382" y="335"/>
                  </a:lnTo>
                  <a:lnTo>
                    <a:pt x="369" y="364"/>
                  </a:lnTo>
                  <a:lnTo>
                    <a:pt x="369" y="364"/>
                  </a:lnTo>
                  <a:lnTo>
                    <a:pt x="353" y="391"/>
                  </a:lnTo>
                  <a:lnTo>
                    <a:pt x="334" y="412"/>
                  </a:lnTo>
                  <a:lnTo>
                    <a:pt x="334" y="412"/>
                  </a:lnTo>
                  <a:lnTo>
                    <a:pt x="318" y="427"/>
                  </a:lnTo>
                  <a:lnTo>
                    <a:pt x="297" y="439"/>
                  </a:lnTo>
                  <a:lnTo>
                    <a:pt x="276" y="449"/>
                  </a:lnTo>
                  <a:lnTo>
                    <a:pt x="251" y="456"/>
                  </a:lnTo>
                  <a:lnTo>
                    <a:pt x="251" y="456"/>
                  </a:lnTo>
                  <a:lnTo>
                    <a:pt x="224" y="462"/>
                  </a:lnTo>
                  <a:lnTo>
                    <a:pt x="193" y="464"/>
                  </a:lnTo>
                  <a:lnTo>
                    <a:pt x="193" y="464"/>
                  </a:lnTo>
                  <a:lnTo>
                    <a:pt x="172" y="462"/>
                  </a:lnTo>
                  <a:lnTo>
                    <a:pt x="153" y="460"/>
                  </a:lnTo>
                  <a:lnTo>
                    <a:pt x="135" y="456"/>
                  </a:lnTo>
                  <a:lnTo>
                    <a:pt x="118" y="447"/>
                  </a:lnTo>
                  <a:lnTo>
                    <a:pt x="102" y="439"/>
                  </a:lnTo>
                  <a:lnTo>
                    <a:pt x="85" y="431"/>
                  </a:lnTo>
                  <a:lnTo>
                    <a:pt x="70" y="418"/>
                  </a:lnTo>
                  <a:lnTo>
                    <a:pt x="56" y="404"/>
                  </a:lnTo>
                  <a:lnTo>
                    <a:pt x="56" y="404"/>
                  </a:lnTo>
                  <a:lnTo>
                    <a:pt x="41" y="389"/>
                  </a:lnTo>
                  <a:lnTo>
                    <a:pt x="31" y="371"/>
                  </a:lnTo>
                  <a:lnTo>
                    <a:pt x="20" y="352"/>
                  </a:lnTo>
                  <a:lnTo>
                    <a:pt x="12" y="333"/>
                  </a:lnTo>
                  <a:lnTo>
                    <a:pt x="6" y="310"/>
                  </a:lnTo>
                  <a:lnTo>
                    <a:pt x="2" y="287"/>
                  </a:lnTo>
                  <a:lnTo>
                    <a:pt x="0" y="264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0" y="213"/>
                  </a:lnTo>
                  <a:lnTo>
                    <a:pt x="2" y="188"/>
                  </a:lnTo>
                  <a:lnTo>
                    <a:pt x="6" y="165"/>
                  </a:lnTo>
                  <a:lnTo>
                    <a:pt x="12" y="142"/>
                  </a:lnTo>
                  <a:lnTo>
                    <a:pt x="20" y="121"/>
                  </a:lnTo>
                  <a:lnTo>
                    <a:pt x="31" y="102"/>
                  </a:lnTo>
                  <a:lnTo>
                    <a:pt x="41" y="84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70" y="50"/>
                  </a:lnTo>
                  <a:lnTo>
                    <a:pt x="87" y="38"/>
                  </a:lnTo>
                  <a:lnTo>
                    <a:pt x="103" y="27"/>
                  </a:lnTo>
                  <a:lnTo>
                    <a:pt x="120" y="17"/>
                  </a:lnTo>
                  <a:lnTo>
                    <a:pt x="141" y="11"/>
                  </a:lnTo>
                  <a:lnTo>
                    <a:pt x="160" y="5"/>
                  </a:lnTo>
                  <a:lnTo>
                    <a:pt x="183" y="3"/>
                  </a:lnTo>
                  <a:lnTo>
                    <a:pt x="203" y="0"/>
                  </a:lnTo>
                  <a:lnTo>
                    <a:pt x="203" y="0"/>
                  </a:lnTo>
                  <a:lnTo>
                    <a:pt x="226" y="3"/>
                  </a:lnTo>
                  <a:lnTo>
                    <a:pt x="249" y="7"/>
                  </a:lnTo>
                  <a:lnTo>
                    <a:pt x="272" y="13"/>
                  </a:lnTo>
                  <a:lnTo>
                    <a:pt x="293" y="23"/>
                  </a:lnTo>
                  <a:close/>
                  <a:moveTo>
                    <a:pt x="320" y="194"/>
                  </a:moveTo>
                  <a:lnTo>
                    <a:pt x="320" y="194"/>
                  </a:lnTo>
                  <a:lnTo>
                    <a:pt x="318" y="171"/>
                  </a:lnTo>
                  <a:lnTo>
                    <a:pt x="313" y="152"/>
                  </a:lnTo>
                  <a:lnTo>
                    <a:pt x="307" y="133"/>
                  </a:lnTo>
                  <a:lnTo>
                    <a:pt x="299" y="119"/>
                  </a:lnTo>
                  <a:lnTo>
                    <a:pt x="299" y="119"/>
                  </a:lnTo>
                  <a:lnTo>
                    <a:pt x="290" y="106"/>
                  </a:lnTo>
                  <a:lnTo>
                    <a:pt x="282" y="94"/>
                  </a:lnTo>
                  <a:lnTo>
                    <a:pt x="272" y="86"/>
                  </a:lnTo>
                  <a:lnTo>
                    <a:pt x="259" y="77"/>
                  </a:lnTo>
                  <a:lnTo>
                    <a:pt x="247" y="73"/>
                  </a:lnTo>
                  <a:lnTo>
                    <a:pt x="232" y="69"/>
                  </a:lnTo>
                  <a:lnTo>
                    <a:pt x="216" y="65"/>
                  </a:lnTo>
                  <a:lnTo>
                    <a:pt x="199" y="65"/>
                  </a:lnTo>
                  <a:lnTo>
                    <a:pt x="199" y="65"/>
                  </a:lnTo>
                  <a:lnTo>
                    <a:pt x="174" y="67"/>
                  </a:lnTo>
                  <a:lnTo>
                    <a:pt x="153" y="73"/>
                  </a:lnTo>
                  <a:lnTo>
                    <a:pt x="133" y="86"/>
                  </a:lnTo>
                  <a:lnTo>
                    <a:pt x="116" y="102"/>
                  </a:lnTo>
                  <a:lnTo>
                    <a:pt x="116" y="102"/>
                  </a:lnTo>
                  <a:lnTo>
                    <a:pt x="99" y="121"/>
                  </a:lnTo>
                  <a:lnTo>
                    <a:pt x="89" y="144"/>
                  </a:lnTo>
                  <a:lnTo>
                    <a:pt x="83" y="167"/>
                  </a:lnTo>
                  <a:lnTo>
                    <a:pt x="79" y="194"/>
                  </a:lnTo>
                  <a:lnTo>
                    <a:pt x="320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0" name="Freeform 57">
              <a:extLst>
                <a:ext uri="{FF2B5EF4-FFF2-40B4-BE49-F238E27FC236}">
                  <a16:creationId xmlns:a16="http://schemas.microsoft.com/office/drawing/2014/main" id="{6DB01E23-C2BF-9A42-9B93-62712BEFC9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69188" y="3884613"/>
              <a:ext cx="212725" cy="161925"/>
            </a:xfrm>
            <a:custGeom>
              <a:avLst/>
              <a:gdLst>
                <a:gd name="T0" fmla="*/ 73 w 589"/>
                <a:gd name="T1" fmla="*/ 11 h 448"/>
                <a:gd name="T2" fmla="*/ 73 w 589"/>
                <a:gd name="T3" fmla="*/ 73 h 448"/>
                <a:gd name="T4" fmla="*/ 110 w 589"/>
                <a:gd name="T5" fmla="*/ 34 h 448"/>
                <a:gd name="T6" fmla="*/ 120 w 589"/>
                <a:gd name="T7" fmla="*/ 25 h 448"/>
                <a:gd name="T8" fmla="*/ 158 w 589"/>
                <a:gd name="T9" fmla="*/ 7 h 448"/>
                <a:gd name="T10" fmla="*/ 201 w 589"/>
                <a:gd name="T11" fmla="*/ 0 h 448"/>
                <a:gd name="T12" fmla="*/ 226 w 589"/>
                <a:gd name="T13" fmla="*/ 3 h 448"/>
                <a:gd name="T14" fmla="*/ 270 w 589"/>
                <a:gd name="T15" fmla="*/ 15 h 448"/>
                <a:gd name="T16" fmla="*/ 287 w 589"/>
                <a:gd name="T17" fmla="*/ 27 h 448"/>
                <a:gd name="T18" fmla="*/ 303 w 589"/>
                <a:gd name="T19" fmla="*/ 44 h 448"/>
                <a:gd name="T20" fmla="*/ 320 w 589"/>
                <a:gd name="T21" fmla="*/ 69 h 448"/>
                <a:gd name="T22" fmla="*/ 332 w 589"/>
                <a:gd name="T23" fmla="*/ 52 h 448"/>
                <a:gd name="T24" fmla="*/ 361 w 589"/>
                <a:gd name="T25" fmla="*/ 27 h 448"/>
                <a:gd name="T26" fmla="*/ 376 w 589"/>
                <a:gd name="T27" fmla="*/ 17 h 448"/>
                <a:gd name="T28" fmla="*/ 411 w 589"/>
                <a:gd name="T29" fmla="*/ 5 h 448"/>
                <a:gd name="T30" fmla="*/ 451 w 589"/>
                <a:gd name="T31" fmla="*/ 0 h 448"/>
                <a:gd name="T32" fmla="*/ 471 w 589"/>
                <a:gd name="T33" fmla="*/ 3 h 448"/>
                <a:gd name="T34" fmla="*/ 509 w 589"/>
                <a:gd name="T35" fmla="*/ 9 h 448"/>
                <a:gd name="T36" fmla="*/ 538 w 589"/>
                <a:gd name="T37" fmla="*/ 25 h 448"/>
                <a:gd name="T38" fmla="*/ 561 w 589"/>
                <a:gd name="T39" fmla="*/ 50 h 448"/>
                <a:gd name="T40" fmla="*/ 571 w 589"/>
                <a:gd name="T41" fmla="*/ 65 h 448"/>
                <a:gd name="T42" fmla="*/ 584 w 589"/>
                <a:gd name="T43" fmla="*/ 104 h 448"/>
                <a:gd name="T44" fmla="*/ 588 w 589"/>
                <a:gd name="T45" fmla="*/ 156 h 448"/>
                <a:gd name="T46" fmla="*/ 511 w 589"/>
                <a:gd name="T47" fmla="*/ 447 h 448"/>
                <a:gd name="T48" fmla="*/ 511 w 589"/>
                <a:gd name="T49" fmla="*/ 144 h 448"/>
                <a:gd name="T50" fmla="*/ 507 w 589"/>
                <a:gd name="T51" fmla="*/ 106 h 448"/>
                <a:gd name="T52" fmla="*/ 490 w 589"/>
                <a:gd name="T53" fmla="*/ 84 h 448"/>
                <a:gd name="T54" fmla="*/ 478 w 589"/>
                <a:gd name="T55" fmla="*/ 77 h 448"/>
                <a:gd name="T56" fmla="*/ 451 w 589"/>
                <a:gd name="T57" fmla="*/ 69 h 448"/>
                <a:gd name="T58" fmla="*/ 436 w 589"/>
                <a:gd name="T59" fmla="*/ 67 h 448"/>
                <a:gd name="T60" fmla="*/ 397 w 589"/>
                <a:gd name="T61" fmla="*/ 75 h 448"/>
                <a:gd name="T62" fmla="*/ 361 w 589"/>
                <a:gd name="T63" fmla="*/ 96 h 448"/>
                <a:gd name="T64" fmla="*/ 355 w 589"/>
                <a:gd name="T65" fmla="*/ 104 h 448"/>
                <a:gd name="T66" fmla="*/ 343 w 589"/>
                <a:gd name="T67" fmla="*/ 123 h 448"/>
                <a:gd name="T68" fmla="*/ 332 w 589"/>
                <a:gd name="T69" fmla="*/ 163 h 448"/>
                <a:gd name="T70" fmla="*/ 330 w 589"/>
                <a:gd name="T71" fmla="*/ 447 h 448"/>
                <a:gd name="T72" fmla="*/ 255 w 589"/>
                <a:gd name="T73" fmla="*/ 163 h 448"/>
                <a:gd name="T74" fmla="*/ 255 w 589"/>
                <a:gd name="T75" fmla="*/ 142 h 448"/>
                <a:gd name="T76" fmla="*/ 251 w 589"/>
                <a:gd name="T77" fmla="*/ 108 h 448"/>
                <a:gd name="T78" fmla="*/ 245 w 589"/>
                <a:gd name="T79" fmla="*/ 98 h 448"/>
                <a:gd name="T80" fmla="*/ 235 w 589"/>
                <a:gd name="T81" fmla="*/ 84 h 448"/>
                <a:gd name="T82" fmla="*/ 222 w 589"/>
                <a:gd name="T83" fmla="*/ 75 h 448"/>
                <a:gd name="T84" fmla="*/ 183 w 589"/>
                <a:gd name="T85" fmla="*/ 67 h 448"/>
                <a:gd name="T86" fmla="*/ 162 w 589"/>
                <a:gd name="T87" fmla="*/ 69 h 448"/>
                <a:gd name="T88" fmla="*/ 124 w 589"/>
                <a:gd name="T89" fmla="*/ 86 h 448"/>
                <a:gd name="T90" fmla="*/ 108 w 589"/>
                <a:gd name="T91" fmla="*/ 98 h 448"/>
                <a:gd name="T92" fmla="*/ 93 w 589"/>
                <a:gd name="T93" fmla="*/ 119 h 448"/>
                <a:gd name="T94" fmla="*/ 83 w 589"/>
                <a:gd name="T95" fmla="*/ 144 h 448"/>
                <a:gd name="T96" fmla="*/ 75 w 589"/>
                <a:gd name="T97" fmla="*/ 177 h 448"/>
                <a:gd name="T98" fmla="*/ 73 w 589"/>
                <a:gd name="T99" fmla="*/ 447 h 448"/>
                <a:gd name="T100" fmla="*/ 0 w 589"/>
                <a:gd name="T101" fmla="*/ 1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89" h="448">
                  <a:moveTo>
                    <a:pt x="0" y="11"/>
                  </a:moveTo>
                  <a:lnTo>
                    <a:pt x="73" y="11"/>
                  </a:lnTo>
                  <a:lnTo>
                    <a:pt x="73" y="73"/>
                  </a:lnTo>
                  <a:lnTo>
                    <a:pt x="73" y="73"/>
                  </a:lnTo>
                  <a:lnTo>
                    <a:pt x="98" y="44"/>
                  </a:lnTo>
                  <a:lnTo>
                    <a:pt x="110" y="34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39" y="15"/>
                  </a:lnTo>
                  <a:lnTo>
                    <a:pt x="158" y="7"/>
                  </a:lnTo>
                  <a:lnTo>
                    <a:pt x="181" y="3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226" y="3"/>
                  </a:lnTo>
                  <a:lnTo>
                    <a:pt x="249" y="7"/>
                  </a:lnTo>
                  <a:lnTo>
                    <a:pt x="270" y="15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95" y="34"/>
                  </a:lnTo>
                  <a:lnTo>
                    <a:pt x="303" y="44"/>
                  </a:lnTo>
                  <a:lnTo>
                    <a:pt x="311" y="56"/>
                  </a:lnTo>
                  <a:lnTo>
                    <a:pt x="320" y="69"/>
                  </a:lnTo>
                  <a:lnTo>
                    <a:pt x="320" y="69"/>
                  </a:lnTo>
                  <a:lnTo>
                    <a:pt x="332" y="52"/>
                  </a:lnTo>
                  <a:lnTo>
                    <a:pt x="345" y="40"/>
                  </a:lnTo>
                  <a:lnTo>
                    <a:pt x="361" y="27"/>
                  </a:lnTo>
                  <a:lnTo>
                    <a:pt x="376" y="17"/>
                  </a:lnTo>
                  <a:lnTo>
                    <a:pt x="376" y="17"/>
                  </a:lnTo>
                  <a:lnTo>
                    <a:pt x="395" y="11"/>
                  </a:lnTo>
                  <a:lnTo>
                    <a:pt x="411" y="5"/>
                  </a:lnTo>
                  <a:lnTo>
                    <a:pt x="430" y="3"/>
                  </a:lnTo>
                  <a:lnTo>
                    <a:pt x="451" y="0"/>
                  </a:lnTo>
                  <a:lnTo>
                    <a:pt x="451" y="0"/>
                  </a:lnTo>
                  <a:lnTo>
                    <a:pt x="471" y="3"/>
                  </a:lnTo>
                  <a:lnTo>
                    <a:pt x="492" y="5"/>
                  </a:lnTo>
                  <a:lnTo>
                    <a:pt x="509" y="9"/>
                  </a:lnTo>
                  <a:lnTo>
                    <a:pt x="526" y="17"/>
                  </a:lnTo>
                  <a:lnTo>
                    <a:pt x="538" y="25"/>
                  </a:lnTo>
                  <a:lnTo>
                    <a:pt x="551" y="36"/>
                  </a:lnTo>
                  <a:lnTo>
                    <a:pt x="561" y="50"/>
                  </a:lnTo>
                  <a:lnTo>
                    <a:pt x="571" y="65"/>
                  </a:lnTo>
                  <a:lnTo>
                    <a:pt x="571" y="65"/>
                  </a:lnTo>
                  <a:lnTo>
                    <a:pt x="577" y="84"/>
                  </a:lnTo>
                  <a:lnTo>
                    <a:pt x="584" y="104"/>
                  </a:lnTo>
                  <a:lnTo>
                    <a:pt x="586" y="129"/>
                  </a:lnTo>
                  <a:lnTo>
                    <a:pt x="588" y="156"/>
                  </a:lnTo>
                  <a:lnTo>
                    <a:pt x="588" y="447"/>
                  </a:lnTo>
                  <a:lnTo>
                    <a:pt x="511" y="447"/>
                  </a:lnTo>
                  <a:lnTo>
                    <a:pt x="511" y="144"/>
                  </a:lnTo>
                  <a:lnTo>
                    <a:pt x="511" y="144"/>
                  </a:lnTo>
                  <a:lnTo>
                    <a:pt x="511" y="123"/>
                  </a:lnTo>
                  <a:lnTo>
                    <a:pt x="507" y="106"/>
                  </a:lnTo>
                  <a:lnTo>
                    <a:pt x="499" y="94"/>
                  </a:lnTo>
                  <a:lnTo>
                    <a:pt x="490" y="84"/>
                  </a:lnTo>
                  <a:lnTo>
                    <a:pt x="490" y="84"/>
                  </a:lnTo>
                  <a:lnTo>
                    <a:pt x="478" y="77"/>
                  </a:lnTo>
                  <a:lnTo>
                    <a:pt x="465" y="71"/>
                  </a:lnTo>
                  <a:lnTo>
                    <a:pt x="451" y="69"/>
                  </a:lnTo>
                  <a:lnTo>
                    <a:pt x="436" y="67"/>
                  </a:lnTo>
                  <a:lnTo>
                    <a:pt x="436" y="67"/>
                  </a:lnTo>
                  <a:lnTo>
                    <a:pt x="415" y="69"/>
                  </a:lnTo>
                  <a:lnTo>
                    <a:pt x="397" y="75"/>
                  </a:lnTo>
                  <a:lnTo>
                    <a:pt x="378" y="84"/>
                  </a:lnTo>
                  <a:lnTo>
                    <a:pt x="361" y="96"/>
                  </a:lnTo>
                  <a:lnTo>
                    <a:pt x="361" y="96"/>
                  </a:lnTo>
                  <a:lnTo>
                    <a:pt x="355" y="104"/>
                  </a:lnTo>
                  <a:lnTo>
                    <a:pt x="349" y="113"/>
                  </a:lnTo>
                  <a:lnTo>
                    <a:pt x="343" y="123"/>
                  </a:lnTo>
                  <a:lnTo>
                    <a:pt x="339" y="136"/>
                  </a:lnTo>
                  <a:lnTo>
                    <a:pt x="332" y="163"/>
                  </a:lnTo>
                  <a:lnTo>
                    <a:pt x="330" y="194"/>
                  </a:lnTo>
                  <a:lnTo>
                    <a:pt x="330" y="447"/>
                  </a:lnTo>
                  <a:lnTo>
                    <a:pt x="255" y="447"/>
                  </a:lnTo>
                  <a:lnTo>
                    <a:pt x="255" y="163"/>
                  </a:lnTo>
                  <a:lnTo>
                    <a:pt x="255" y="163"/>
                  </a:lnTo>
                  <a:lnTo>
                    <a:pt x="255" y="142"/>
                  </a:lnTo>
                  <a:lnTo>
                    <a:pt x="253" y="123"/>
                  </a:lnTo>
                  <a:lnTo>
                    <a:pt x="251" y="108"/>
                  </a:lnTo>
                  <a:lnTo>
                    <a:pt x="245" y="98"/>
                  </a:lnTo>
                  <a:lnTo>
                    <a:pt x="245" y="98"/>
                  </a:lnTo>
                  <a:lnTo>
                    <a:pt x="241" y="90"/>
                  </a:lnTo>
                  <a:lnTo>
                    <a:pt x="235" y="84"/>
                  </a:lnTo>
                  <a:lnTo>
                    <a:pt x="228" y="79"/>
                  </a:lnTo>
                  <a:lnTo>
                    <a:pt x="222" y="75"/>
                  </a:lnTo>
                  <a:lnTo>
                    <a:pt x="204" y="69"/>
                  </a:lnTo>
                  <a:lnTo>
                    <a:pt x="183" y="67"/>
                  </a:lnTo>
                  <a:lnTo>
                    <a:pt x="183" y="67"/>
                  </a:lnTo>
                  <a:lnTo>
                    <a:pt x="162" y="69"/>
                  </a:lnTo>
                  <a:lnTo>
                    <a:pt x="143" y="75"/>
                  </a:lnTo>
                  <a:lnTo>
                    <a:pt x="124" y="86"/>
                  </a:lnTo>
                  <a:lnTo>
                    <a:pt x="108" y="98"/>
                  </a:lnTo>
                  <a:lnTo>
                    <a:pt x="108" y="98"/>
                  </a:lnTo>
                  <a:lnTo>
                    <a:pt x="100" y="108"/>
                  </a:lnTo>
                  <a:lnTo>
                    <a:pt x="93" y="119"/>
                  </a:lnTo>
                  <a:lnTo>
                    <a:pt x="87" y="131"/>
                  </a:lnTo>
                  <a:lnTo>
                    <a:pt x="83" y="144"/>
                  </a:lnTo>
                  <a:lnTo>
                    <a:pt x="79" y="161"/>
                  </a:lnTo>
                  <a:lnTo>
                    <a:pt x="75" y="177"/>
                  </a:lnTo>
                  <a:lnTo>
                    <a:pt x="73" y="217"/>
                  </a:lnTo>
                  <a:lnTo>
                    <a:pt x="73" y="447"/>
                  </a:lnTo>
                  <a:lnTo>
                    <a:pt x="0" y="447"/>
                  </a:lnTo>
                  <a:lnTo>
                    <a:pt x="0" y="1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1" name="Freeform 58">
              <a:extLst>
                <a:ext uri="{FF2B5EF4-FFF2-40B4-BE49-F238E27FC236}">
                  <a16:creationId xmlns:a16="http://schemas.microsoft.com/office/drawing/2014/main" id="{AB843332-D0C5-D748-BFC0-F7ADA7AC92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0488" y="3884613"/>
              <a:ext cx="142875" cy="166687"/>
            </a:xfrm>
            <a:custGeom>
              <a:avLst/>
              <a:gdLst>
                <a:gd name="T0" fmla="*/ 295 w 398"/>
                <a:gd name="T1" fmla="*/ 23 h 465"/>
                <a:gd name="T2" fmla="*/ 332 w 398"/>
                <a:gd name="T3" fmla="*/ 48 h 465"/>
                <a:gd name="T4" fmla="*/ 362 w 398"/>
                <a:gd name="T5" fmla="*/ 79 h 465"/>
                <a:gd name="T6" fmla="*/ 370 w 398"/>
                <a:gd name="T7" fmla="*/ 96 h 465"/>
                <a:gd name="T8" fmla="*/ 386 w 398"/>
                <a:gd name="T9" fmla="*/ 136 h 465"/>
                <a:gd name="T10" fmla="*/ 390 w 398"/>
                <a:gd name="T11" fmla="*/ 156 h 465"/>
                <a:gd name="T12" fmla="*/ 395 w 398"/>
                <a:gd name="T13" fmla="*/ 196 h 465"/>
                <a:gd name="T14" fmla="*/ 79 w 398"/>
                <a:gd name="T15" fmla="*/ 252 h 465"/>
                <a:gd name="T16" fmla="*/ 81 w 398"/>
                <a:gd name="T17" fmla="*/ 285 h 465"/>
                <a:gd name="T18" fmla="*/ 98 w 398"/>
                <a:gd name="T19" fmla="*/ 337 h 465"/>
                <a:gd name="T20" fmla="*/ 110 w 398"/>
                <a:gd name="T21" fmla="*/ 360 h 465"/>
                <a:gd name="T22" fmla="*/ 127 w 398"/>
                <a:gd name="T23" fmla="*/ 377 h 465"/>
                <a:gd name="T24" fmla="*/ 147 w 398"/>
                <a:gd name="T25" fmla="*/ 389 h 465"/>
                <a:gd name="T26" fmla="*/ 172 w 398"/>
                <a:gd name="T27" fmla="*/ 397 h 465"/>
                <a:gd name="T28" fmla="*/ 199 w 398"/>
                <a:gd name="T29" fmla="*/ 399 h 465"/>
                <a:gd name="T30" fmla="*/ 214 w 398"/>
                <a:gd name="T31" fmla="*/ 399 h 465"/>
                <a:gd name="T32" fmla="*/ 239 w 398"/>
                <a:gd name="T33" fmla="*/ 395 h 465"/>
                <a:gd name="T34" fmla="*/ 262 w 398"/>
                <a:gd name="T35" fmla="*/ 385 h 465"/>
                <a:gd name="T36" fmla="*/ 283 w 398"/>
                <a:gd name="T37" fmla="*/ 371 h 465"/>
                <a:gd name="T38" fmla="*/ 291 w 398"/>
                <a:gd name="T39" fmla="*/ 362 h 465"/>
                <a:gd name="T40" fmla="*/ 307 w 398"/>
                <a:gd name="T41" fmla="*/ 337 h 465"/>
                <a:gd name="T42" fmla="*/ 318 w 398"/>
                <a:gd name="T43" fmla="*/ 310 h 465"/>
                <a:gd name="T44" fmla="*/ 390 w 398"/>
                <a:gd name="T45" fmla="*/ 310 h 465"/>
                <a:gd name="T46" fmla="*/ 384 w 398"/>
                <a:gd name="T47" fmla="*/ 335 h 465"/>
                <a:gd name="T48" fmla="*/ 372 w 398"/>
                <a:gd name="T49" fmla="*/ 364 h 465"/>
                <a:gd name="T50" fmla="*/ 334 w 398"/>
                <a:gd name="T51" fmla="*/ 412 h 465"/>
                <a:gd name="T52" fmla="*/ 318 w 398"/>
                <a:gd name="T53" fmla="*/ 427 h 465"/>
                <a:gd name="T54" fmla="*/ 276 w 398"/>
                <a:gd name="T55" fmla="*/ 449 h 465"/>
                <a:gd name="T56" fmla="*/ 253 w 398"/>
                <a:gd name="T57" fmla="*/ 456 h 465"/>
                <a:gd name="T58" fmla="*/ 193 w 398"/>
                <a:gd name="T59" fmla="*/ 464 h 465"/>
                <a:gd name="T60" fmla="*/ 174 w 398"/>
                <a:gd name="T61" fmla="*/ 462 h 465"/>
                <a:gd name="T62" fmla="*/ 137 w 398"/>
                <a:gd name="T63" fmla="*/ 456 h 465"/>
                <a:gd name="T64" fmla="*/ 102 w 398"/>
                <a:gd name="T65" fmla="*/ 439 h 465"/>
                <a:gd name="T66" fmla="*/ 71 w 398"/>
                <a:gd name="T67" fmla="*/ 418 h 465"/>
                <a:gd name="T68" fmla="*/ 56 w 398"/>
                <a:gd name="T69" fmla="*/ 404 h 465"/>
                <a:gd name="T70" fmla="*/ 31 w 398"/>
                <a:gd name="T71" fmla="*/ 371 h 465"/>
                <a:gd name="T72" fmla="*/ 15 w 398"/>
                <a:gd name="T73" fmla="*/ 333 h 465"/>
                <a:gd name="T74" fmla="*/ 4 w 398"/>
                <a:gd name="T75" fmla="*/ 287 h 465"/>
                <a:gd name="T76" fmla="*/ 0 w 398"/>
                <a:gd name="T77" fmla="*/ 237 h 465"/>
                <a:gd name="T78" fmla="*/ 0 w 398"/>
                <a:gd name="T79" fmla="*/ 213 h 465"/>
                <a:gd name="T80" fmla="*/ 8 w 398"/>
                <a:gd name="T81" fmla="*/ 165 h 465"/>
                <a:gd name="T82" fmla="*/ 23 w 398"/>
                <a:gd name="T83" fmla="*/ 121 h 465"/>
                <a:gd name="T84" fmla="*/ 44 w 398"/>
                <a:gd name="T85" fmla="*/ 84 h 465"/>
                <a:gd name="T86" fmla="*/ 56 w 398"/>
                <a:gd name="T87" fmla="*/ 67 h 465"/>
                <a:gd name="T88" fmla="*/ 87 w 398"/>
                <a:gd name="T89" fmla="*/ 38 h 465"/>
                <a:gd name="T90" fmla="*/ 122 w 398"/>
                <a:gd name="T91" fmla="*/ 17 h 465"/>
                <a:gd name="T92" fmla="*/ 162 w 398"/>
                <a:gd name="T93" fmla="*/ 5 h 465"/>
                <a:gd name="T94" fmla="*/ 206 w 398"/>
                <a:gd name="T95" fmla="*/ 0 h 465"/>
                <a:gd name="T96" fmla="*/ 228 w 398"/>
                <a:gd name="T97" fmla="*/ 3 h 465"/>
                <a:gd name="T98" fmla="*/ 272 w 398"/>
                <a:gd name="T99" fmla="*/ 13 h 465"/>
                <a:gd name="T100" fmla="*/ 322 w 398"/>
                <a:gd name="T101" fmla="*/ 194 h 465"/>
                <a:gd name="T102" fmla="*/ 318 w 398"/>
                <a:gd name="T103" fmla="*/ 171 h 465"/>
                <a:gd name="T104" fmla="*/ 307 w 398"/>
                <a:gd name="T105" fmla="*/ 133 h 465"/>
                <a:gd name="T106" fmla="*/ 301 w 398"/>
                <a:gd name="T107" fmla="*/ 119 h 465"/>
                <a:gd name="T108" fmla="*/ 283 w 398"/>
                <a:gd name="T109" fmla="*/ 94 h 465"/>
                <a:gd name="T110" fmla="*/ 260 w 398"/>
                <a:gd name="T111" fmla="*/ 77 h 465"/>
                <a:gd name="T112" fmla="*/ 233 w 398"/>
                <a:gd name="T113" fmla="*/ 69 h 465"/>
                <a:gd name="T114" fmla="*/ 202 w 398"/>
                <a:gd name="T115" fmla="*/ 65 h 465"/>
                <a:gd name="T116" fmla="*/ 177 w 398"/>
                <a:gd name="T117" fmla="*/ 67 h 465"/>
                <a:gd name="T118" fmla="*/ 135 w 398"/>
                <a:gd name="T119" fmla="*/ 86 h 465"/>
                <a:gd name="T120" fmla="*/ 116 w 398"/>
                <a:gd name="T121" fmla="*/ 102 h 465"/>
                <a:gd name="T122" fmla="*/ 91 w 398"/>
                <a:gd name="T123" fmla="*/ 144 h 465"/>
                <a:gd name="T124" fmla="*/ 81 w 398"/>
                <a:gd name="T125" fmla="*/ 19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8" h="465">
                  <a:moveTo>
                    <a:pt x="295" y="23"/>
                  </a:moveTo>
                  <a:lnTo>
                    <a:pt x="295" y="23"/>
                  </a:lnTo>
                  <a:lnTo>
                    <a:pt x="316" y="34"/>
                  </a:lnTo>
                  <a:lnTo>
                    <a:pt x="332" y="48"/>
                  </a:lnTo>
                  <a:lnTo>
                    <a:pt x="349" y="63"/>
                  </a:lnTo>
                  <a:lnTo>
                    <a:pt x="362" y="79"/>
                  </a:lnTo>
                  <a:lnTo>
                    <a:pt x="362" y="79"/>
                  </a:lnTo>
                  <a:lnTo>
                    <a:pt x="370" y="96"/>
                  </a:lnTo>
                  <a:lnTo>
                    <a:pt x="378" y="115"/>
                  </a:lnTo>
                  <a:lnTo>
                    <a:pt x="386" y="136"/>
                  </a:lnTo>
                  <a:lnTo>
                    <a:pt x="390" y="156"/>
                  </a:lnTo>
                  <a:lnTo>
                    <a:pt x="390" y="156"/>
                  </a:lnTo>
                  <a:lnTo>
                    <a:pt x="393" y="173"/>
                  </a:lnTo>
                  <a:lnTo>
                    <a:pt x="395" y="196"/>
                  </a:lnTo>
                  <a:lnTo>
                    <a:pt x="397" y="252"/>
                  </a:lnTo>
                  <a:lnTo>
                    <a:pt x="79" y="252"/>
                  </a:lnTo>
                  <a:lnTo>
                    <a:pt x="79" y="252"/>
                  </a:lnTo>
                  <a:lnTo>
                    <a:pt x="81" y="285"/>
                  </a:lnTo>
                  <a:lnTo>
                    <a:pt x="87" y="312"/>
                  </a:lnTo>
                  <a:lnTo>
                    <a:pt x="98" y="337"/>
                  </a:lnTo>
                  <a:lnTo>
                    <a:pt x="110" y="360"/>
                  </a:lnTo>
                  <a:lnTo>
                    <a:pt x="110" y="360"/>
                  </a:lnTo>
                  <a:lnTo>
                    <a:pt x="118" y="368"/>
                  </a:lnTo>
                  <a:lnTo>
                    <a:pt x="127" y="377"/>
                  </a:lnTo>
                  <a:lnTo>
                    <a:pt x="137" y="385"/>
                  </a:lnTo>
                  <a:lnTo>
                    <a:pt x="147" y="389"/>
                  </a:lnTo>
                  <a:lnTo>
                    <a:pt x="158" y="393"/>
                  </a:lnTo>
                  <a:lnTo>
                    <a:pt x="172" y="397"/>
                  </a:lnTo>
                  <a:lnTo>
                    <a:pt x="185" y="399"/>
                  </a:lnTo>
                  <a:lnTo>
                    <a:pt x="199" y="399"/>
                  </a:lnTo>
                  <a:lnTo>
                    <a:pt x="199" y="399"/>
                  </a:lnTo>
                  <a:lnTo>
                    <a:pt x="214" y="399"/>
                  </a:lnTo>
                  <a:lnTo>
                    <a:pt x="226" y="397"/>
                  </a:lnTo>
                  <a:lnTo>
                    <a:pt x="239" y="395"/>
                  </a:lnTo>
                  <a:lnTo>
                    <a:pt x="251" y="391"/>
                  </a:lnTo>
                  <a:lnTo>
                    <a:pt x="262" y="385"/>
                  </a:lnTo>
                  <a:lnTo>
                    <a:pt x="272" y="379"/>
                  </a:lnTo>
                  <a:lnTo>
                    <a:pt x="283" y="371"/>
                  </a:lnTo>
                  <a:lnTo>
                    <a:pt x="291" y="362"/>
                  </a:lnTo>
                  <a:lnTo>
                    <a:pt x="291" y="362"/>
                  </a:lnTo>
                  <a:lnTo>
                    <a:pt x="299" y="350"/>
                  </a:lnTo>
                  <a:lnTo>
                    <a:pt x="307" y="337"/>
                  </a:lnTo>
                  <a:lnTo>
                    <a:pt x="314" y="325"/>
                  </a:lnTo>
                  <a:lnTo>
                    <a:pt x="318" y="310"/>
                  </a:lnTo>
                  <a:lnTo>
                    <a:pt x="390" y="310"/>
                  </a:lnTo>
                  <a:lnTo>
                    <a:pt x="390" y="310"/>
                  </a:lnTo>
                  <a:lnTo>
                    <a:pt x="388" y="323"/>
                  </a:lnTo>
                  <a:lnTo>
                    <a:pt x="384" y="335"/>
                  </a:lnTo>
                  <a:lnTo>
                    <a:pt x="372" y="364"/>
                  </a:lnTo>
                  <a:lnTo>
                    <a:pt x="372" y="364"/>
                  </a:lnTo>
                  <a:lnTo>
                    <a:pt x="355" y="391"/>
                  </a:lnTo>
                  <a:lnTo>
                    <a:pt x="334" y="412"/>
                  </a:lnTo>
                  <a:lnTo>
                    <a:pt x="334" y="412"/>
                  </a:lnTo>
                  <a:lnTo>
                    <a:pt x="318" y="427"/>
                  </a:lnTo>
                  <a:lnTo>
                    <a:pt x="299" y="439"/>
                  </a:lnTo>
                  <a:lnTo>
                    <a:pt x="276" y="449"/>
                  </a:lnTo>
                  <a:lnTo>
                    <a:pt x="253" y="456"/>
                  </a:lnTo>
                  <a:lnTo>
                    <a:pt x="253" y="456"/>
                  </a:lnTo>
                  <a:lnTo>
                    <a:pt x="224" y="462"/>
                  </a:lnTo>
                  <a:lnTo>
                    <a:pt x="193" y="464"/>
                  </a:lnTo>
                  <a:lnTo>
                    <a:pt x="193" y="464"/>
                  </a:lnTo>
                  <a:lnTo>
                    <a:pt x="174" y="462"/>
                  </a:lnTo>
                  <a:lnTo>
                    <a:pt x="156" y="460"/>
                  </a:lnTo>
                  <a:lnTo>
                    <a:pt x="137" y="456"/>
                  </a:lnTo>
                  <a:lnTo>
                    <a:pt x="118" y="447"/>
                  </a:lnTo>
                  <a:lnTo>
                    <a:pt x="102" y="439"/>
                  </a:lnTo>
                  <a:lnTo>
                    <a:pt x="85" y="431"/>
                  </a:lnTo>
                  <a:lnTo>
                    <a:pt x="71" y="418"/>
                  </a:lnTo>
                  <a:lnTo>
                    <a:pt x="56" y="404"/>
                  </a:lnTo>
                  <a:lnTo>
                    <a:pt x="56" y="404"/>
                  </a:lnTo>
                  <a:lnTo>
                    <a:pt x="44" y="389"/>
                  </a:lnTo>
                  <a:lnTo>
                    <a:pt x="31" y="371"/>
                  </a:lnTo>
                  <a:lnTo>
                    <a:pt x="23" y="352"/>
                  </a:lnTo>
                  <a:lnTo>
                    <a:pt x="15" y="333"/>
                  </a:lnTo>
                  <a:lnTo>
                    <a:pt x="8" y="310"/>
                  </a:lnTo>
                  <a:lnTo>
                    <a:pt x="4" y="287"/>
                  </a:lnTo>
                  <a:lnTo>
                    <a:pt x="0" y="264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0" y="213"/>
                  </a:lnTo>
                  <a:lnTo>
                    <a:pt x="4" y="188"/>
                  </a:lnTo>
                  <a:lnTo>
                    <a:pt x="8" y="165"/>
                  </a:lnTo>
                  <a:lnTo>
                    <a:pt x="15" y="142"/>
                  </a:lnTo>
                  <a:lnTo>
                    <a:pt x="23" y="121"/>
                  </a:lnTo>
                  <a:lnTo>
                    <a:pt x="31" y="102"/>
                  </a:lnTo>
                  <a:lnTo>
                    <a:pt x="44" y="84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71" y="50"/>
                  </a:lnTo>
                  <a:lnTo>
                    <a:pt x="87" y="38"/>
                  </a:lnTo>
                  <a:lnTo>
                    <a:pt x="104" y="27"/>
                  </a:lnTo>
                  <a:lnTo>
                    <a:pt x="122" y="17"/>
                  </a:lnTo>
                  <a:lnTo>
                    <a:pt x="141" y="11"/>
                  </a:lnTo>
                  <a:lnTo>
                    <a:pt x="162" y="5"/>
                  </a:lnTo>
                  <a:lnTo>
                    <a:pt x="183" y="3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228" y="3"/>
                  </a:lnTo>
                  <a:lnTo>
                    <a:pt x="251" y="7"/>
                  </a:lnTo>
                  <a:lnTo>
                    <a:pt x="272" y="13"/>
                  </a:lnTo>
                  <a:lnTo>
                    <a:pt x="295" y="23"/>
                  </a:lnTo>
                  <a:close/>
                  <a:moveTo>
                    <a:pt x="322" y="194"/>
                  </a:moveTo>
                  <a:lnTo>
                    <a:pt x="322" y="194"/>
                  </a:lnTo>
                  <a:lnTo>
                    <a:pt x="318" y="171"/>
                  </a:lnTo>
                  <a:lnTo>
                    <a:pt x="314" y="152"/>
                  </a:lnTo>
                  <a:lnTo>
                    <a:pt x="307" y="133"/>
                  </a:lnTo>
                  <a:lnTo>
                    <a:pt x="301" y="119"/>
                  </a:lnTo>
                  <a:lnTo>
                    <a:pt x="301" y="119"/>
                  </a:lnTo>
                  <a:lnTo>
                    <a:pt x="293" y="106"/>
                  </a:lnTo>
                  <a:lnTo>
                    <a:pt x="283" y="94"/>
                  </a:lnTo>
                  <a:lnTo>
                    <a:pt x="272" y="86"/>
                  </a:lnTo>
                  <a:lnTo>
                    <a:pt x="260" y="77"/>
                  </a:lnTo>
                  <a:lnTo>
                    <a:pt x="247" y="73"/>
                  </a:lnTo>
                  <a:lnTo>
                    <a:pt x="233" y="69"/>
                  </a:lnTo>
                  <a:lnTo>
                    <a:pt x="218" y="65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177" y="67"/>
                  </a:lnTo>
                  <a:lnTo>
                    <a:pt x="154" y="73"/>
                  </a:lnTo>
                  <a:lnTo>
                    <a:pt x="135" y="86"/>
                  </a:lnTo>
                  <a:lnTo>
                    <a:pt x="116" y="102"/>
                  </a:lnTo>
                  <a:lnTo>
                    <a:pt x="116" y="102"/>
                  </a:lnTo>
                  <a:lnTo>
                    <a:pt x="102" y="121"/>
                  </a:lnTo>
                  <a:lnTo>
                    <a:pt x="91" y="144"/>
                  </a:lnTo>
                  <a:lnTo>
                    <a:pt x="83" y="167"/>
                  </a:lnTo>
                  <a:lnTo>
                    <a:pt x="81" y="194"/>
                  </a:lnTo>
                  <a:lnTo>
                    <a:pt x="322" y="1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2" name="Freeform 59">
              <a:extLst>
                <a:ext uri="{FF2B5EF4-FFF2-40B4-BE49-F238E27FC236}">
                  <a16:creationId xmlns:a16="http://schemas.microsoft.com/office/drawing/2014/main" id="{D77C9524-3520-E443-9D73-127E6454A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8288" y="3884613"/>
              <a:ext cx="128587" cy="161925"/>
            </a:xfrm>
            <a:custGeom>
              <a:avLst/>
              <a:gdLst>
                <a:gd name="T0" fmla="*/ 0 w 357"/>
                <a:gd name="T1" fmla="*/ 11 h 448"/>
                <a:gd name="T2" fmla="*/ 69 w 357"/>
                <a:gd name="T3" fmla="*/ 11 h 448"/>
                <a:gd name="T4" fmla="*/ 69 w 357"/>
                <a:gd name="T5" fmla="*/ 73 h 448"/>
                <a:gd name="T6" fmla="*/ 69 w 357"/>
                <a:gd name="T7" fmla="*/ 73 h 448"/>
                <a:gd name="T8" fmla="*/ 85 w 357"/>
                <a:gd name="T9" fmla="*/ 54 h 448"/>
                <a:gd name="T10" fmla="*/ 102 w 357"/>
                <a:gd name="T11" fmla="*/ 40 h 448"/>
                <a:gd name="T12" fmla="*/ 119 w 357"/>
                <a:gd name="T13" fmla="*/ 27 h 448"/>
                <a:gd name="T14" fmla="*/ 135 w 357"/>
                <a:gd name="T15" fmla="*/ 17 h 448"/>
                <a:gd name="T16" fmla="*/ 135 w 357"/>
                <a:gd name="T17" fmla="*/ 17 h 448"/>
                <a:gd name="T18" fmla="*/ 152 w 357"/>
                <a:gd name="T19" fmla="*/ 11 h 448"/>
                <a:gd name="T20" fmla="*/ 171 w 357"/>
                <a:gd name="T21" fmla="*/ 5 h 448"/>
                <a:gd name="T22" fmla="*/ 191 w 357"/>
                <a:gd name="T23" fmla="*/ 3 h 448"/>
                <a:gd name="T24" fmla="*/ 212 w 357"/>
                <a:gd name="T25" fmla="*/ 0 h 448"/>
                <a:gd name="T26" fmla="*/ 212 w 357"/>
                <a:gd name="T27" fmla="*/ 0 h 448"/>
                <a:gd name="T28" fmla="*/ 235 w 357"/>
                <a:gd name="T29" fmla="*/ 3 h 448"/>
                <a:gd name="T30" fmla="*/ 254 w 357"/>
                <a:gd name="T31" fmla="*/ 5 h 448"/>
                <a:gd name="T32" fmla="*/ 272 w 357"/>
                <a:gd name="T33" fmla="*/ 11 h 448"/>
                <a:gd name="T34" fmla="*/ 289 w 357"/>
                <a:gd name="T35" fmla="*/ 17 h 448"/>
                <a:gd name="T36" fmla="*/ 304 w 357"/>
                <a:gd name="T37" fmla="*/ 25 h 448"/>
                <a:gd name="T38" fmla="*/ 318 w 357"/>
                <a:gd name="T39" fmla="*/ 38 h 448"/>
                <a:gd name="T40" fmla="*/ 328 w 357"/>
                <a:gd name="T41" fmla="*/ 50 h 448"/>
                <a:gd name="T42" fmla="*/ 337 w 357"/>
                <a:gd name="T43" fmla="*/ 65 h 448"/>
                <a:gd name="T44" fmla="*/ 337 w 357"/>
                <a:gd name="T45" fmla="*/ 65 h 448"/>
                <a:gd name="T46" fmla="*/ 345 w 357"/>
                <a:gd name="T47" fmla="*/ 86 h 448"/>
                <a:gd name="T48" fmla="*/ 351 w 357"/>
                <a:gd name="T49" fmla="*/ 108 h 448"/>
                <a:gd name="T50" fmla="*/ 353 w 357"/>
                <a:gd name="T51" fmla="*/ 136 h 448"/>
                <a:gd name="T52" fmla="*/ 356 w 357"/>
                <a:gd name="T53" fmla="*/ 167 h 448"/>
                <a:gd name="T54" fmla="*/ 356 w 357"/>
                <a:gd name="T55" fmla="*/ 447 h 448"/>
                <a:gd name="T56" fmla="*/ 281 w 357"/>
                <a:gd name="T57" fmla="*/ 447 h 448"/>
                <a:gd name="T58" fmla="*/ 281 w 357"/>
                <a:gd name="T59" fmla="*/ 173 h 448"/>
                <a:gd name="T60" fmla="*/ 281 w 357"/>
                <a:gd name="T61" fmla="*/ 173 h 448"/>
                <a:gd name="T62" fmla="*/ 281 w 357"/>
                <a:gd name="T63" fmla="*/ 152 h 448"/>
                <a:gd name="T64" fmla="*/ 279 w 357"/>
                <a:gd name="T65" fmla="*/ 136 h 448"/>
                <a:gd name="T66" fmla="*/ 275 w 357"/>
                <a:gd name="T67" fmla="*/ 121 h 448"/>
                <a:gd name="T68" fmla="*/ 268 w 357"/>
                <a:gd name="T69" fmla="*/ 108 h 448"/>
                <a:gd name="T70" fmla="*/ 268 w 357"/>
                <a:gd name="T71" fmla="*/ 108 h 448"/>
                <a:gd name="T72" fmla="*/ 264 w 357"/>
                <a:gd name="T73" fmla="*/ 98 h 448"/>
                <a:gd name="T74" fmla="*/ 258 w 357"/>
                <a:gd name="T75" fmla="*/ 90 h 448"/>
                <a:gd name="T76" fmla="*/ 250 w 357"/>
                <a:gd name="T77" fmla="*/ 84 h 448"/>
                <a:gd name="T78" fmla="*/ 241 w 357"/>
                <a:gd name="T79" fmla="*/ 77 h 448"/>
                <a:gd name="T80" fmla="*/ 233 w 357"/>
                <a:gd name="T81" fmla="*/ 73 h 448"/>
                <a:gd name="T82" fmla="*/ 222 w 357"/>
                <a:gd name="T83" fmla="*/ 69 h 448"/>
                <a:gd name="T84" fmla="*/ 210 w 357"/>
                <a:gd name="T85" fmla="*/ 67 h 448"/>
                <a:gd name="T86" fmla="*/ 198 w 357"/>
                <a:gd name="T87" fmla="*/ 67 h 448"/>
                <a:gd name="T88" fmla="*/ 198 w 357"/>
                <a:gd name="T89" fmla="*/ 67 h 448"/>
                <a:gd name="T90" fmla="*/ 175 w 357"/>
                <a:gd name="T91" fmla="*/ 69 h 448"/>
                <a:gd name="T92" fmla="*/ 156 w 357"/>
                <a:gd name="T93" fmla="*/ 73 h 448"/>
                <a:gd name="T94" fmla="*/ 156 w 357"/>
                <a:gd name="T95" fmla="*/ 73 h 448"/>
                <a:gd name="T96" fmla="*/ 141 w 357"/>
                <a:gd name="T97" fmla="*/ 77 h 448"/>
                <a:gd name="T98" fmla="*/ 127 w 357"/>
                <a:gd name="T99" fmla="*/ 86 h 448"/>
                <a:gd name="T100" fmla="*/ 115 w 357"/>
                <a:gd name="T101" fmla="*/ 96 h 448"/>
                <a:gd name="T102" fmla="*/ 102 w 357"/>
                <a:gd name="T103" fmla="*/ 108 h 448"/>
                <a:gd name="T104" fmla="*/ 102 w 357"/>
                <a:gd name="T105" fmla="*/ 108 h 448"/>
                <a:gd name="T106" fmla="*/ 94 w 357"/>
                <a:gd name="T107" fmla="*/ 119 h 448"/>
                <a:gd name="T108" fmla="*/ 88 w 357"/>
                <a:gd name="T109" fmla="*/ 129 h 448"/>
                <a:gd name="T110" fmla="*/ 81 w 357"/>
                <a:gd name="T111" fmla="*/ 142 h 448"/>
                <a:gd name="T112" fmla="*/ 79 w 357"/>
                <a:gd name="T113" fmla="*/ 152 h 448"/>
                <a:gd name="T114" fmla="*/ 79 w 357"/>
                <a:gd name="T115" fmla="*/ 152 h 448"/>
                <a:gd name="T116" fmla="*/ 75 w 357"/>
                <a:gd name="T117" fmla="*/ 181 h 448"/>
                <a:gd name="T118" fmla="*/ 73 w 357"/>
                <a:gd name="T119" fmla="*/ 219 h 448"/>
                <a:gd name="T120" fmla="*/ 73 w 357"/>
                <a:gd name="T121" fmla="*/ 447 h 448"/>
                <a:gd name="T122" fmla="*/ 0 w 357"/>
                <a:gd name="T123" fmla="*/ 447 h 448"/>
                <a:gd name="T124" fmla="*/ 0 w 357"/>
                <a:gd name="T125" fmla="*/ 1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" h="448">
                  <a:moveTo>
                    <a:pt x="0" y="11"/>
                  </a:moveTo>
                  <a:lnTo>
                    <a:pt x="69" y="11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85" y="54"/>
                  </a:lnTo>
                  <a:lnTo>
                    <a:pt x="102" y="40"/>
                  </a:lnTo>
                  <a:lnTo>
                    <a:pt x="119" y="2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52" y="11"/>
                  </a:lnTo>
                  <a:lnTo>
                    <a:pt x="171" y="5"/>
                  </a:lnTo>
                  <a:lnTo>
                    <a:pt x="191" y="3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5" y="3"/>
                  </a:lnTo>
                  <a:lnTo>
                    <a:pt x="254" y="5"/>
                  </a:lnTo>
                  <a:lnTo>
                    <a:pt x="272" y="11"/>
                  </a:lnTo>
                  <a:lnTo>
                    <a:pt x="289" y="17"/>
                  </a:lnTo>
                  <a:lnTo>
                    <a:pt x="304" y="25"/>
                  </a:lnTo>
                  <a:lnTo>
                    <a:pt x="318" y="38"/>
                  </a:lnTo>
                  <a:lnTo>
                    <a:pt x="328" y="50"/>
                  </a:lnTo>
                  <a:lnTo>
                    <a:pt x="337" y="65"/>
                  </a:lnTo>
                  <a:lnTo>
                    <a:pt x="337" y="65"/>
                  </a:lnTo>
                  <a:lnTo>
                    <a:pt x="345" y="86"/>
                  </a:lnTo>
                  <a:lnTo>
                    <a:pt x="351" y="108"/>
                  </a:lnTo>
                  <a:lnTo>
                    <a:pt x="353" y="136"/>
                  </a:lnTo>
                  <a:lnTo>
                    <a:pt x="356" y="167"/>
                  </a:lnTo>
                  <a:lnTo>
                    <a:pt x="356" y="447"/>
                  </a:lnTo>
                  <a:lnTo>
                    <a:pt x="281" y="447"/>
                  </a:lnTo>
                  <a:lnTo>
                    <a:pt x="281" y="173"/>
                  </a:lnTo>
                  <a:lnTo>
                    <a:pt x="281" y="173"/>
                  </a:lnTo>
                  <a:lnTo>
                    <a:pt x="281" y="152"/>
                  </a:lnTo>
                  <a:lnTo>
                    <a:pt x="279" y="136"/>
                  </a:lnTo>
                  <a:lnTo>
                    <a:pt x="275" y="121"/>
                  </a:lnTo>
                  <a:lnTo>
                    <a:pt x="268" y="108"/>
                  </a:lnTo>
                  <a:lnTo>
                    <a:pt x="268" y="108"/>
                  </a:lnTo>
                  <a:lnTo>
                    <a:pt x="264" y="98"/>
                  </a:lnTo>
                  <a:lnTo>
                    <a:pt x="258" y="90"/>
                  </a:lnTo>
                  <a:lnTo>
                    <a:pt x="250" y="84"/>
                  </a:lnTo>
                  <a:lnTo>
                    <a:pt x="241" y="77"/>
                  </a:lnTo>
                  <a:lnTo>
                    <a:pt x="233" y="73"/>
                  </a:lnTo>
                  <a:lnTo>
                    <a:pt x="222" y="69"/>
                  </a:lnTo>
                  <a:lnTo>
                    <a:pt x="210" y="67"/>
                  </a:lnTo>
                  <a:lnTo>
                    <a:pt x="198" y="67"/>
                  </a:lnTo>
                  <a:lnTo>
                    <a:pt x="198" y="67"/>
                  </a:lnTo>
                  <a:lnTo>
                    <a:pt x="175" y="69"/>
                  </a:lnTo>
                  <a:lnTo>
                    <a:pt x="156" y="73"/>
                  </a:lnTo>
                  <a:lnTo>
                    <a:pt x="156" y="73"/>
                  </a:lnTo>
                  <a:lnTo>
                    <a:pt x="141" y="77"/>
                  </a:lnTo>
                  <a:lnTo>
                    <a:pt x="127" y="86"/>
                  </a:lnTo>
                  <a:lnTo>
                    <a:pt x="115" y="96"/>
                  </a:lnTo>
                  <a:lnTo>
                    <a:pt x="102" y="108"/>
                  </a:lnTo>
                  <a:lnTo>
                    <a:pt x="102" y="108"/>
                  </a:lnTo>
                  <a:lnTo>
                    <a:pt x="94" y="119"/>
                  </a:lnTo>
                  <a:lnTo>
                    <a:pt x="88" y="129"/>
                  </a:lnTo>
                  <a:lnTo>
                    <a:pt x="81" y="142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75" y="181"/>
                  </a:lnTo>
                  <a:lnTo>
                    <a:pt x="73" y="219"/>
                  </a:lnTo>
                  <a:lnTo>
                    <a:pt x="73" y="447"/>
                  </a:lnTo>
                  <a:lnTo>
                    <a:pt x="0" y="447"/>
                  </a:lnTo>
                  <a:lnTo>
                    <a:pt x="0" y="1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3" name="Freeform 60">
              <a:extLst>
                <a:ext uri="{FF2B5EF4-FFF2-40B4-BE49-F238E27FC236}">
                  <a16:creationId xmlns:a16="http://schemas.microsoft.com/office/drawing/2014/main" id="{8562FA66-EF52-A34C-8BC9-EEE41BC0D8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9100" y="3844925"/>
              <a:ext cx="73025" cy="204788"/>
            </a:xfrm>
            <a:custGeom>
              <a:avLst/>
              <a:gdLst>
                <a:gd name="T0" fmla="*/ 58 w 205"/>
                <a:gd name="T1" fmla="*/ 0 h 567"/>
                <a:gd name="T2" fmla="*/ 133 w 205"/>
                <a:gd name="T3" fmla="*/ 0 h 567"/>
                <a:gd name="T4" fmla="*/ 133 w 205"/>
                <a:gd name="T5" fmla="*/ 123 h 567"/>
                <a:gd name="T6" fmla="*/ 204 w 205"/>
                <a:gd name="T7" fmla="*/ 123 h 567"/>
                <a:gd name="T8" fmla="*/ 204 w 205"/>
                <a:gd name="T9" fmla="*/ 183 h 567"/>
                <a:gd name="T10" fmla="*/ 133 w 205"/>
                <a:gd name="T11" fmla="*/ 183 h 567"/>
                <a:gd name="T12" fmla="*/ 133 w 205"/>
                <a:gd name="T13" fmla="*/ 468 h 567"/>
                <a:gd name="T14" fmla="*/ 133 w 205"/>
                <a:gd name="T15" fmla="*/ 468 h 567"/>
                <a:gd name="T16" fmla="*/ 133 w 205"/>
                <a:gd name="T17" fmla="*/ 478 h 567"/>
                <a:gd name="T18" fmla="*/ 137 w 205"/>
                <a:gd name="T19" fmla="*/ 487 h 567"/>
                <a:gd name="T20" fmla="*/ 141 w 205"/>
                <a:gd name="T21" fmla="*/ 493 h 567"/>
                <a:gd name="T22" fmla="*/ 147 w 205"/>
                <a:gd name="T23" fmla="*/ 499 h 567"/>
                <a:gd name="T24" fmla="*/ 147 w 205"/>
                <a:gd name="T25" fmla="*/ 499 h 567"/>
                <a:gd name="T26" fmla="*/ 160 w 205"/>
                <a:gd name="T27" fmla="*/ 501 h 567"/>
                <a:gd name="T28" fmla="*/ 177 w 205"/>
                <a:gd name="T29" fmla="*/ 503 h 567"/>
                <a:gd name="T30" fmla="*/ 177 w 205"/>
                <a:gd name="T31" fmla="*/ 503 h 567"/>
                <a:gd name="T32" fmla="*/ 189 w 205"/>
                <a:gd name="T33" fmla="*/ 503 h 567"/>
                <a:gd name="T34" fmla="*/ 189 w 205"/>
                <a:gd name="T35" fmla="*/ 503 h 567"/>
                <a:gd name="T36" fmla="*/ 204 w 205"/>
                <a:gd name="T37" fmla="*/ 501 h 567"/>
                <a:gd name="T38" fmla="*/ 204 w 205"/>
                <a:gd name="T39" fmla="*/ 559 h 567"/>
                <a:gd name="T40" fmla="*/ 204 w 205"/>
                <a:gd name="T41" fmla="*/ 559 h 567"/>
                <a:gd name="T42" fmla="*/ 177 w 205"/>
                <a:gd name="T43" fmla="*/ 566 h 567"/>
                <a:gd name="T44" fmla="*/ 177 w 205"/>
                <a:gd name="T45" fmla="*/ 566 h 567"/>
                <a:gd name="T46" fmla="*/ 147 w 205"/>
                <a:gd name="T47" fmla="*/ 566 h 567"/>
                <a:gd name="T48" fmla="*/ 147 w 205"/>
                <a:gd name="T49" fmla="*/ 566 h 567"/>
                <a:gd name="T50" fmla="*/ 123 w 205"/>
                <a:gd name="T51" fmla="*/ 566 h 567"/>
                <a:gd name="T52" fmla="*/ 104 w 205"/>
                <a:gd name="T53" fmla="*/ 559 h 567"/>
                <a:gd name="T54" fmla="*/ 87 w 205"/>
                <a:gd name="T55" fmla="*/ 551 h 567"/>
                <a:gd name="T56" fmla="*/ 83 w 205"/>
                <a:gd name="T57" fmla="*/ 547 h 567"/>
                <a:gd name="T58" fmla="*/ 77 w 205"/>
                <a:gd name="T59" fmla="*/ 541 h 567"/>
                <a:gd name="T60" fmla="*/ 77 w 205"/>
                <a:gd name="T61" fmla="*/ 541 h 567"/>
                <a:gd name="T62" fmla="*/ 68 w 205"/>
                <a:gd name="T63" fmla="*/ 526 h 567"/>
                <a:gd name="T64" fmla="*/ 62 w 205"/>
                <a:gd name="T65" fmla="*/ 509 h 567"/>
                <a:gd name="T66" fmla="*/ 60 w 205"/>
                <a:gd name="T67" fmla="*/ 493 h 567"/>
                <a:gd name="T68" fmla="*/ 58 w 205"/>
                <a:gd name="T69" fmla="*/ 472 h 567"/>
                <a:gd name="T70" fmla="*/ 58 w 205"/>
                <a:gd name="T71" fmla="*/ 183 h 567"/>
                <a:gd name="T72" fmla="*/ 0 w 205"/>
                <a:gd name="T73" fmla="*/ 183 h 567"/>
                <a:gd name="T74" fmla="*/ 0 w 205"/>
                <a:gd name="T75" fmla="*/ 123 h 567"/>
                <a:gd name="T76" fmla="*/ 58 w 205"/>
                <a:gd name="T77" fmla="*/ 123 h 567"/>
                <a:gd name="T78" fmla="*/ 58 w 205"/>
                <a:gd name="T79" fmla="*/ 0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5" h="567">
                  <a:moveTo>
                    <a:pt x="58" y="0"/>
                  </a:moveTo>
                  <a:lnTo>
                    <a:pt x="133" y="0"/>
                  </a:lnTo>
                  <a:lnTo>
                    <a:pt x="133" y="123"/>
                  </a:lnTo>
                  <a:lnTo>
                    <a:pt x="204" y="123"/>
                  </a:lnTo>
                  <a:lnTo>
                    <a:pt x="204" y="183"/>
                  </a:lnTo>
                  <a:lnTo>
                    <a:pt x="133" y="183"/>
                  </a:lnTo>
                  <a:lnTo>
                    <a:pt x="133" y="468"/>
                  </a:lnTo>
                  <a:lnTo>
                    <a:pt x="133" y="468"/>
                  </a:lnTo>
                  <a:lnTo>
                    <a:pt x="133" y="478"/>
                  </a:lnTo>
                  <a:lnTo>
                    <a:pt x="137" y="487"/>
                  </a:lnTo>
                  <a:lnTo>
                    <a:pt x="141" y="493"/>
                  </a:lnTo>
                  <a:lnTo>
                    <a:pt x="147" y="499"/>
                  </a:lnTo>
                  <a:lnTo>
                    <a:pt x="147" y="499"/>
                  </a:lnTo>
                  <a:lnTo>
                    <a:pt x="160" y="501"/>
                  </a:lnTo>
                  <a:lnTo>
                    <a:pt x="177" y="503"/>
                  </a:lnTo>
                  <a:lnTo>
                    <a:pt x="177" y="503"/>
                  </a:lnTo>
                  <a:lnTo>
                    <a:pt x="189" y="503"/>
                  </a:lnTo>
                  <a:lnTo>
                    <a:pt x="189" y="503"/>
                  </a:lnTo>
                  <a:lnTo>
                    <a:pt x="204" y="501"/>
                  </a:lnTo>
                  <a:lnTo>
                    <a:pt x="204" y="559"/>
                  </a:lnTo>
                  <a:lnTo>
                    <a:pt x="204" y="559"/>
                  </a:lnTo>
                  <a:lnTo>
                    <a:pt x="177" y="566"/>
                  </a:lnTo>
                  <a:lnTo>
                    <a:pt x="177" y="566"/>
                  </a:lnTo>
                  <a:lnTo>
                    <a:pt x="147" y="566"/>
                  </a:lnTo>
                  <a:lnTo>
                    <a:pt x="147" y="566"/>
                  </a:lnTo>
                  <a:lnTo>
                    <a:pt x="123" y="566"/>
                  </a:lnTo>
                  <a:lnTo>
                    <a:pt x="104" y="559"/>
                  </a:lnTo>
                  <a:lnTo>
                    <a:pt x="87" y="551"/>
                  </a:lnTo>
                  <a:lnTo>
                    <a:pt x="83" y="547"/>
                  </a:lnTo>
                  <a:lnTo>
                    <a:pt x="77" y="541"/>
                  </a:lnTo>
                  <a:lnTo>
                    <a:pt x="77" y="541"/>
                  </a:lnTo>
                  <a:lnTo>
                    <a:pt x="68" y="526"/>
                  </a:lnTo>
                  <a:lnTo>
                    <a:pt x="62" y="509"/>
                  </a:lnTo>
                  <a:lnTo>
                    <a:pt x="60" y="493"/>
                  </a:lnTo>
                  <a:lnTo>
                    <a:pt x="58" y="472"/>
                  </a:lnTo>
                  <a:lnTo>
                    <a:pt x="58" y="183"/>
                  </a:lnTo>
                  <a:lnTo>
                    <a:pt x="0" y="183"/>
                  </a:lnTo>
                  <a:lnTo>
                    <a:pt x="0" y="123"/>
                  </a:lnTo>
                  <a:lnTo>
                    <a:pt x="58" y="123"/>
                  </a:lnTo>
                  <a:lnTo>
                    <a:pt x="58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4" name="Freeform 61">
              <a:extLst>
                <a:ext uri="{FF2B5EF4-FFF2-40B4-BE49-F238E27FC236}">
                  <a16:creationId xmlns:a16="http://schemas.microsoft.com/office/drawing/2014/main" id="{9A386A2E-FCF4-B14E-9246-FB5A2C7DD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2138" y="3884613"/>
              <a:ext cx="131762" cy="168275"/>
            </a:xfrm>
            <a:custGeom>
              <a:avLst/>
              <a:gdLst>
                <a:gd name="T0" fmla="*/ 73 w 365"/>
                <a:gd name="T1" fmla="*/ 329 h 467"/>
                <a:gd name="T2" fmla="*/ 89 w 365"/>
                <a:gd name="T3" fmla="*/ 368 h 467"/>
                <a:gd name="T4" fmla="*/ 106 w 365"/>
                <a:gd name="T5" fmla="*/ 385 h 467"/>
                <a:gd name="T6" fmla="*/ 139 w 365"/>
                <a:gd name="T7" fmla="*/ 399 h 467"/>
                <a:gd name="T8" fmla="*/ 187 w 365"/>
                <a:gd name="T9" fmla="*/ 404 h 467"/>
                <a:gd name="T10" fmla="*/ 243 w 365"/>
                <a:gd name="T11" fmla="*/ 395 h 467"/>
                <a:gd name="T12" fmla="*/ 274 w 365"/>
                <a:gd name="T13" fmla="*/ 377 h 467"/>
                <a:gd name="T14" fmla="*/ 291 w 365"/>
                <a:gd name="T15" fmla="*/ 331 h 467"/>
                <a:gd name="T16" fmla="*/ 285 w 365"/>
                <a:gd name="T17" fmla="*/ 306 h 467"/>
                <a:gd name="T18" fmla="*/ 266 w 365"/>
                <a:gd name="T19" fmla="*/ 289 h 467"/>
                <a:gd name="T20" fmla="*/ 143 w 365"/>
                <a:gd name="T21" fmla="*/ 254 h 467"/>
                <a:gd name="T22" fmla="*/ 93 w 365"/>
                <a:gd name="T23" fmla="*/ 239 h 467"/>
                <a:gd name="T24" fmla="*/ 60 w 365"/>
                <a:gd name="T25" fmla="*/ 223 h 467"/>
                <a:gd name="T26" fmla="*/ 31 w 365"/>
                <a:gd name="T27" fmla="*/ 196 h 467"/>
                <a:gd name="T28" fmla="*/ 14 w 365"/>
                <a:gd name="T29" fmla="*/ 165 h 467"/>
                <a:gd name="T30" fmla="*/ 10 w 365"/>
                <a:gd name="T31" fmla="*/ 140 h 467"/>
                <a:gd name="T32" fmla="*/ 19 w 365"/>
                <a:gd name="T33" fmla="*/ 96 h 467"/>
                <a:gd name="T34" fmla="*/ 37 w 365"/>
                <a:gd name="T35" fmla="*/ 61 h 467"/>
                <a:gd name="T36" fmla="*/ 56 w 365"/>
                <a:gd name="T37" fmla="*/ 40 h 467"/>
                <a:gd name="T38" fmla="*/ 95 w 365"/>
                <a:gd name="T39" fmla="*/ 17 h 467"/>
                <a:gd name="T40" fmla="*/ 141 w 365"/>
                <a:gd name="T41" fmla="*/ 5 h 467"/>
                <a:gd name="T42" fmla="*/ 179 w 365"/>
                <a:gd name="T43" fmla="*/ 0 h 467"/>
                <a:gd name="T44" fmla="*/ 245 w 365"/>
                <a:gd name="T45" fmla="*/ 9 h 467"/>
                <a:gd name="T46" fmla="*/ 297 w 365"/>
                <a:gd name="T47" fmla="*/ 33 h 467"/>
                <a:gd name="T48" fmla="*/ 322 w 365"/>
                <a:gd name="T49" fmla="*/ 58 h 467"/>
                <a:gd name="T50" fmla="*/ 349 w 365"/>
                <a:gd name="T51" fmla="*/ 117 h 467"/>
                <a:gd name="T52" fmla="*/ 280 w 365"/>
                <a:gd name="T53" fmla="*/ 138 h 467"/>
                <a:gd name="T54" fmla="*/ 270 w 365"/>
                <a:gd name="T55" fmla="*/ 104 h 467"/>
                <a:gd name="T56" fmla="*/ 255 w 365"/>
                <a:gd name="T57" fmla="*/ 86 h 467"/>
                <a:gd name="T58" fmla="*/ 226 w 365"/>
                <a:gd name="T59" fmla="*/ 71 h 467"/>
                <a:gd name="T60" fmla="*/ 172 w 365"/>
                <a:gd name="T61" fmla="*/ 65 h 467"/>
                <a:gd name="T62" fmla="*/ 120 w 365"/>
                <a:gd name="T63" fmla="*/ 73 h 467"/>
                <a:gd name="T64" fmla="*/ 98 w 365"/>
                <a:gd name="T65" fmla="*/ 90 h 467"/>
                <a:gd name="T66" fmla="*/ 85 w 365"/>
                <a:gd name="T67" fmla="*/ 123 h 467"/>
                <a:gd name="T68" fmla="*/ 93 w 365"/>
                <a:gd name="T69" fmla="*/ 148 h 467"/>
                <a:gd name="T70" fmla="*/ 114 w 365"/>
                <a:gd name="T71" fmla="*/ 167 h 467"/>
                <a:gd name="T72" fmla="*/ 214 w 365"/>
                <a:gd name="T73" fmla="*/ 198 h 467"/>
                <a:gd name="T74" fmla="*/ 280 w 365"/>
                <a:gd name="T75" fmla="*/ 216 h 467"/>
                <a:gd name="T76" fmla="*/ 322 w 365"/>
                <a:gd name="T77" fmla="*/ 235 h 467"/>
                <a:gd name="T78" fmla="*/ 347 w 365"/>
                <a:gd name="T79" fmla="*/ 260 h 467"/>
                <a:gd name="T80" fmla="*/ 361 w 365"/>
                <a:gd name="T81" fmla="*/ 296 h 467"/>
                <a:gd name="T82" fmla="*/ 364 w 365"/>
                <a:gd name="T83" fmla="*/ 323 h 467"/>
                <a:gd name="T84" fmla="*/ 357 w 365"/>
                <a:gd name="T85" fmla="*/ 364 h 467"/>
                <a:gd name="T86" fmla="*/ 339 w 365"/>
                <a:gd name="T87" fmla="*/ 401 h 467"/>
                <a:gd name="T88" fmla="*/ 320 w 365"/>
                <a:gd name="T89" fmla="*/ 424 h 467"/>
                <a:gd name="T90" fmla="*/ 278 w 365"/>
                <a:gd name="T91" fmla="*/ 449 h 467"/>
                <a:gd name="T92" fmla="*/ 226 w 365"/>
                <a:gd name="T93" fmla="*/ 464 h 467"/>
                <a:gd name="T94" fmla="*/ 183 w 365"/>
                <a:gd name="T95" fmla="*/ 466 h 467"/>
                <a:gd name="T96" fmla="*/ 116 w 365"/>
                <a:gd name="T97" fmla="*/ 460 h 467"/>
                <a:gd name="T98" fmla="*/ 66 w 365"/>
                <a:gd name="T99" fmla="*/ 441 h 467"/>
                <a:gd name="T100" fmla="*/ 44 w 365"/>
                <a:gd name="T101" fmla="*/ 422 h 467"/>
                <a:gd name="T102" fmla="*/ 19 w 365"/>
                <a:gd name="T103" fmla="*/ 385 h 467"/>
                <a:gd name="T104" fmla="*/ 2 w 365"/>
                <a:gd name="T105" fmla="*/ 343 h 467"/>
                <a:gd name="T106" fmla="*/ 70 w 365"/>
                <a:gd name="T107" fmla="*/ 312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5" h="467">
                  <a:moveTo>
                    <a:pt x="70" y="312"/>
                  </a:moveTo>
                  <a:lnTo>
                    <a:pt x="70" y="312"/>
                  </a:lnTo>
                  <a:lnTo>
                    <a:pt x="73" y="329"/>
                  </a:lnTo>
                  <a:lnTo>
                    <a:pt x="77" y="345"/>
                  </a:lnTo>
                  <a:lnTo>
                    <a:pt x="81" y="358"/>
                  </a:lnTo>
                  <a:lnTo>
                    <a:pt x="89" y="368"/>
                  </a:lnTo>
                  <a:lnTo>
                    <a:pt x="89" y="368"/>
                  </a:lnTo>
                  <a:lnTo>
                    <a:pt x="95" y="377"/>
                  </a:lnTo>
                  <a:lnTo>
                    <a:pt x="106" y="385"/>
                  </a:lnTo>
                  <a:lnTo>
                    <a:pt x="116" y="391"/>
                  </a:lnTo>
                  <a:lnTo>
                    <a:pt x="127" y="395"/>
                  </a:lnTo>
                  <a:lnTo>
                    <a:pt x="139" y="399"/>
                  </a:lnTo>
                  <a:lnTo>
                    <a:pt x="154" y="401"/>
                  </a:lnTo>
                  <a:lnTo>
                    <a:pt x="187" y="404"/>
                  </a:lnTo>
                  <a:lnTo>
                    <a:pt x="187" y="404"/>
                  </a:lnTo>
                  <a:lnTo>
                    <a:pt x="208" y="404"/>
                  </a:lnTo>
                  <a:lnTo>
                    <a:pt x="226" y="399"/>
                  </a:lnTo>
                  <a:lnTo>
                    <a:pt x="243" y="395"/>
                  </a:lnTo>
                  <a:lnTo>
                    <a:pt x="260" y="387"/>
                  </a:lnTo>
                  <a:lnTo>
                    <a:pt x="260" y="387"/>
                  </a:lnTo>
                  <a:lnTo>
                    <a:pt x="274" y="377"/>
                  </a:lnTo>
                  <a:lnTo>
                    <a:pt x="285" y="364"/>
                  </a:lnTo>
                  <a:lnTo>
                    <a:pt x="289" y="349"/>
                  </a:lnTo>
                  <a:lnTo>
                    <a:pt x="291" y="331"/>
                  </a:lnTo>
                  <a:lnTo>
                    <a:pt x="291" y="331"/>
                  </a:lnTo>
                  <a:lnTo>
                    <a:pt x="291" y="318"/>
                  </a:lnTo>
                  <a:lnTo>
                    <a:pt x="285" y="306"/>
                  </a:lnTo>
                  <a:lnTo>
                    <a:pt x="276" y="298"/>
                  </a:lnTo>
                  <a:lnTo>
                    <a:pt x="266" y="289"/>
                  </a:lnTo>
                  <a:lnTo>
                    <a:pt x="266" y="289"/>
                  </a:lnTo>
                  <a:lnTo>
                    <a:pt x="243" y="279"/>
                  </a:lnTo>
                  <a:lnTo>
                    <a:pt x="201" y="268"/>
                  </a:lnTo>
                  <a:lnTo>
                    <a:pt x="143" y="254"/>
                  </a:lnTo>
                  <a:lnTo>
                    <a:pt x="143" y="254"/>
                  </a:lnTo>
                  <a:lnTo>
                    <a:pt x="116" y="246"/>
                  </a:lnTo>
                  <a:lnTo>
                    <a:pt x="93" y="239"/>
                  </a:lnTo>
                  <a:lnTo>
                    <a:pt x="75" y="231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48" y="215"/>
                  </a:lnTo>
                  <a:lnTo>
                    <a:pt x="37" y="206"/>
                  </a:lnTo>
                  <a:lnTo>
                    <a:pt x="31" y="196"/>
                  </a:lnTo>
                  <a:lnTo>
                    <a:pt x="23" y="187"/>
                  </a:lnTo>
                  <a:lnTo>
                    <a:pt x="19" y="177"/>
                  </a:lnTo>
                  <a:lnTo>
                    <a:pt x="14" y="165"/>
                  </a:lnTo>
                  <a:lnTo>
                    <a:pt x="12" y="152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2" y="125"/>
                  </a:lnTo>
                  <a:lnTo>
                    <a:pt x="14" y="110"/>
                  </a:lnTo>
                  <a:lnTo>
                    <a:pt x="19" y="96"/>
                  </a:lnTo>
                  <a:lnTo>
                    <a:pt x="23" y="83"/>
                  </a:lnTo>
                  <a:lnTo>
                    <a:pt x="29" y="71"/>
                  </a:lnTo>
                  <a:lnTo>
                    <a:pt x="37" y="61"/>
                  </a:lnTo>
                  <a:lnTo>
                    <a:pt x="46" y="5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69" y="31"/>
                  </a:lnTo>
                  <a:lnTo>
                    <a:pt x="81" y="23"/>
                  </a:lnTo>
                  <a:lnTo>
                    <a:pt x="95" y="17"/>
                  </a:lnTo>
                  <a:lnTo>
                    <a:pt x="110" y="11"/>
                  </a:lnTo>
                  <a:lnTo>
                    <a:pt x="125" y="7"/>
                  </a:lnTo>
                  <a:lnTo>
                    <a:pt x="141" y="5"/>
                  </a:lnTo>
                  <a:lnTo>
                    <a:pt x="160" y="2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201" y="2"/>
                  </a:lnTo>
                  <a:lnTo>
                    <a:pt x="224" y="5"/>
                  </a:lnTo>
                  <a:lnTo>
                    <a:pt x="245" y="9"/>
                  </a:lnTo>
                  <a:lnTo>
                    <a:pt x="264" y="15"/>
                  </a:lnTo>
                  <a:lnTo>
                    <a:pt x="282" y="23"/>
                  </a:lnTo>
                  <a:lnTo>
                    <a:pt x="297" y="33"/>
                  </a:lnTo>
                  <a:lnTo>
                    <a:pt x="312" y="46"/>
                  </a:lnTo>
                  <a:lnTo>
                    <a:pt x="322" y="58"/>
                  </a:lnTo>
                  <a:lnTo>
                    <a:pt x="322" y="58"/>
                  </a:lnTo>
                  <a:lnTo>
                    <a:pt x="335" y="77"/>
                  </a:lnTo>
                  <a:lnTo>
                    <a:pt x="343" y="98"/>
                  </a:lnTo>
                  <a:lnTo>
                    <a:pt x="349" y="117"/>
                  </a:lnTo>
                  <a:lnTo>
                    <a:pt x="349" y="138"/>
                  </a:lnTo>
                  <a:lnTo>
                    <a:pt x="280" y="138"/>
                  </a:lnTo>
                  <a:lnTo>
                    <a:pt x="280" y="138"/>
                  </a:lnTo>
                  <a:lnTo>
                    <a:pt x="278" y="127"/>
                  </a:lnTo>
                  <a:lnTo>
                    <a:pt x="274" y="115"/>
                  </a:lnTo>
                  <a:lnTo>
                    <a:pt x="270" y="104"/>
                  </a:lnTo>
                  <a:lnTo>
                    <a:pt x="262" y="94"/>
                  </a:lnTo>
                  <a:lnTo>
                    <a:pt x="262" y="94"/>
                  </a:lnTo>
                  <a:lnTo>
                    <a:pt x="255" y="86"/>
                  </a:lnTo>
                  <a:lnTo>
                    <a:pt x="247" y="81"/>
                  </a:lnTo>
                  <a:lnTo>
                    <a:pt x="237" y="75"/>
                  </a:lnTo>
                  <a:lnTo>
                    <a:pt x="226" y="71"/>
                  </a:lnTo>
                  <a:lnTo>
                    <a:pt x="201" y="67"/>
                  </a:lnTo>
                  <a:lnTo>
                    <a:pt x="172" y="65"/>
                  </a:lnTo>
                  <a:lnTo>
                    <a:pt x="172" y="65"/>
                  </a:lnTo>
                  <a:lnTo>
                    <a:pt x="152" y="65"/>
                  </a:lnTo>
                  <a:lnTo>
                    <a:pt x="135" y="69"/>
                  </a:lnTo>
                  <a:lnTo>
                    <a:pt x="120" y="73"/>
                  </a:lnTo>
                  <a:lnTo>
                    <a:pt x="108" y="79"/>
                  </a:lnTo>
                  <a:lnTo>
                    <a:pt x="108" y="79"/>
                  </a:lnTo>
                  <a:lnTo>
                    <a:pt x="98" y="90"/>
                  </a:lnTo>
                  <a:lnTo>
                    <a:pt x="91" y="98"/>
                  </a:lnTo>
                  <a:lnTo>
                    <a:pt x="87" y="110"/>
                  </a:lnTo>
                  <a:lnTo>
                    <a:pt x="85" y="123"/>
                  </a:lnTo>
                  <a:lnTo>
                    <a:pt x="85" y="123"/>
                  </a:lnTo>
                  <a:lnTo>
                    <a:pt x="87" y="135"/>
                  </a:lnTo>
                  <a:lnTo>
                    <a:pt x="93" y="148"/>
                  </a:lnTo>
                  <a:lnTo>
                    <a:pt x="102" y="158"/>
                  </a:lnTo>
                  <a:lnTo>
                    <a:pt x="114" y="167"/>
                  </a:lnTo>
                  <a:lnTo>
                    <a:pt x="114" y="167"/>
                  </a:lnTo>
                  <a:lnTo>
                    <a:pt x="135" y="177"/>
                  </a:lnTo>
                  <a:lnTo>
                    <a:pt x="164" y="185"/>
                  </a:lnTo>
                  <a:lnTo>
                    <a:pt x="214" y="198"/>
                  </a:lnTo>
                  <a:lnTo>
                    <a:pt x="214" y="198"/>
                  </a:lnTo>
                  <a:lnTo>
                    <a:pt x="249" y="206"/>
                  </a:lnTo>
                  <a:lnTo>
                    <a:pt x="280" y="216"/>
                  </a:lnTo>
                  <a:lnTo>
                    <a:pt x="303" y="225"/>
                  </a:lnTo>
                  <a:lnTo>
                    <a:pt x="322" y="235"/>
                  </a:lnTo>
                  <a:lnTo>
                    <a:pt x="322" y="235"/>
                  </a:lnTo>
                  <a:lnTo>
                    <a:pt x="330" y="241"/>
                  </a:lnTo>
                  <a:lnTo>
                    <a:pt x="341" y="250"/>
                  </a:lnTo>
                  <a:lnTo>
                    <a:pt x="347" y="260"/>
                  </a:lnTo>
                  <a:lnTo>
                    <a:pt x="353" y="271"/>
                  </a:lnTo>
                  <a:lnTo>
                    <a:pt x="357" y="283"/>
                  </a:lnTo>
                  <a:lnTo>
                    <a:pt x="361" y="296"/>
                  </a:lnTo>
                  <a:lnTo>
                    <a:pt x="364" y="308"/>
                  </a:lnTo>
                  <a:lnTo>
                    <a:pt x="364" y="323"/>
                  </a:lnTo>
                  <a:lnTo>
                    <a:pt x="364" y="323"/>
                  </a:lnTo>
                  <a:lnTo>
                    <a:pt x="364" y="337"/>
                  </a:lnTo>
                  <a:lnTo>
                    <a:pt x="361" y="352"/>
                  </a:lnTo>
                  <a:lnTo>
                    <a:pt x="357" y="364"/>
                  </a:lnTo>
                  <a:lnTo>
                    <a:pt x="353" y="377"/>
                  </a:lnTo>
                  <a:lnTo>
                    <a:pt x="347" y="389"/>
                  </a:lnTo>
                  <a:lnTo>
                    <a:pt x="339" y="401"/>
                  </a:lnTo>
                  <a:lnTo>
                    <a:pt x="330" y="414"/>
                  </a:lnTo>
                  <a:lnTo>
                    <a:pt x="320" y="424"/>
                  </a:lnTo>
                  <a:lnTo>
                    <a:pt x="320" y="424"/>
                  </a:lnTo>
                  <a:lnTo>
                    <a:pt x="307" y="435"/>
                  </a:lnTo>
                  <a:lnTo>
                    <a:pt x="295" y="443"/>
                  </a:lnTo>
                  <a:lnTo>
                    <a:pt x="278" y="449"/>
                  </a:lnTo>
                  <a:lnTo>
                    <a:pt x="264" y="456"/>
                  </a:lnTo>
                  <a:lnTo>
                    <a:pt x="245" y="460"/>
                  </a:lnTo>
                  <a:lnTo>
                    <a:pt x="226" y="464"/>
                  </a:lnTo>
                  <a:lnTo>
                    <a:pt x="206" y="466"/>
                  </a:lnTo>
                  <a:lnTo>
                    <a:pt x="183" y="466"/>
                  </a:lnTo>
                  <a:lnTo>
                    <a:pt x="183" y="466"/>
                  </a:lnTo>
                  <a:lnTo>
                    <a:pt x="160" y="466"/>
                  </a:lnTo>
                  <a:lnTo>
                    <a:pt x="137" y="464"/>
                  </a:lnTo>
                  <a:lnTo>
                    <a:pt x="116" y="460"/>
                  </a:lnTo>
                  <a:lnTo>
                    <a:pt x="98" y="456"/>
                  </a:lnTo>
                  <a:lnTo>
                    <a:pt x="81" y="449"/>
                  </a:lnTo>
                  <a:lnTo>
                    <a:pt x="66" y="441"/>
                  </a:lnTo>
                  <a:lnTo>
                    <a:pt x="54" y="433"/>
                  </a:lnTo>
                  <a:lnTo>
                    <a:pt x="44" y="422"/>
                  </a:lnTo>
                  <a:lnTo>
                    <a:pt x="44" y="422"/>
                  </a:lnTo>
                  <a:lnTo>
                    <a:pt x="33" y="410"/>
                  </a:lnTo>
                  <a:lnTo>
                    <a:pt x="25" y="399"/>
                  </a:lnTo>
                  <a:lnTo>
                    <a:pt x="19" y="385"/>
                  </a:lnTo>
                  <a:lnTo>
                    <a:pt x="12" y="373"/>
                  </a:lnTo>
                  <a:lnTo>
                    <a:pt x="6" y="358"/>
                  </a:lnTo>
                  <a:lnTo>
                    <a:pt x="2" y="343"/>
                  </a:lnTo>
                  <a:lnTo>
                    <a:pt x="0" y="329"/>
                  </a:lnTo>
                  <a:lnTo>
                    <a:pt x="0" y="312"/>
                  </a:lnTo>
                  <a:lnTo>
                    <a:pt x="70" y="312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5" name="Freeform 62">
              <a:extLst>
                <a:ext uri="{FF2B5EF4-FFF2-40B4-BE49-F238E27FC236}">
                  <a16:creationId xmlns:a16="http://schemas.microsoft.com/office/drawing/2014/main" id="{C8E74933-7317-404C-93D5-8F7E8BC0C7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1363" y="3884613"/>
              <a:ext cx="146050" cy="168275"/>
            </a:xfrm>
            <a:custGeom>
              <a:avLst/>
              <a:gdLst>
                <a:gd name="T0" fmla="*/ 360 w 407"/>
                <a:gd name="T1" fmla="*/ 71 h 467"/>
                <a:gd name="T2" fmla="*/ 391 w 407"/>
                <a:gd name="T3" fmla="*/ 125 h 467"/>
                <a:gd name="T4" fmla="*/ 403 w 407"/>
                <a:gd name="T5" fmla="*/ 196 h 467"/>
                <a:gd name="T6" fmla="*/ 403 w 407"/>
                <a:gd name="T7" fmla="*/ 248 h 467"/>
                <a:gd name="T8" fmla="*/ 393 w 407"/>
                <a:gd name="T9" fmla="*/ 318 h 467"/>
                <a:gd name="T10" fmla="*/ 366 w 407"/>
                <a:gd name="T11" fmla="*/ 379 h 467"/>
                <a:gd name="T12" fmla="*/ 341 w 407"/>
                <a:gd name="T13" fmla="*/ 412 h 467"/>
                <a:gd name="T14" fmla="*/ 289 w 407"/>
                <a:gd name="T15" fmla="*/ 447 h 467"/>
                <a:gd name="T16" fmla="*/ 221 w 407"/>
                <a:gd name="T17" fmla="*/ 464 h 467"/>
                <a:gd name="T18" fmla="*/ 173 w 407"/>
                <a:gd name="T19" fmla="*/ 464 h 467"/>
                <a:gd name="T20" fmla="*/ 115 w 407"/>
                <a:gd name="T21" fmla="*/ 449 h 467"/>
                <a:gd name="T22" fmla="*/ 67 w 407"/>
                <a:gd name="T23" fmla="*/ 418 h 467"/>
                <a:gd name="T24" fmla="*/ 42 w 407"/>
                <a:gd name="T25" fmla="*/ 389 h 467"/>
                <a:gd name="T26" fmla="*/ 15 w 407"/>
                <a:gd name="T27" fmla="*/ 333 h 467"/>
                <a:gd name="T28" fmla="*/ 3 w 407"/>
                <a:gd name="T29" fmla="*/ 266 h 467"/>
                <a:gd name="T30" fmla="*/ 3 w 407"/>
                <a:gd name="T31" fmla="*/ 215 h 467"/>
                <a:gd name="T32" fmla="*/ 15 w 407"/>
                <a:gd name="T33" fmla="*/ 142 h 467"/>
                <a:gd name="T34" fmla="*/ 44 w 407"/>
                <a:gd name="T35" fmla="*/ 81 h 467"/>
                <a:gd name="T36" fmla="*/ 71 w 407"/>
                <a:gd name="T37" fmla="*/ 50 h 467"/>
                <a:gd name="T38" fmla="*/ 121 w 407"/>
                <a:gd name="T39" fmla="*/ 17 h 467"/>
                <a:gd name="T40" fmla="*/ 183 w 407"/>
                <a:gd name="T41" fmla="*/ 0 h 467"/>
                <a:gd name="T42" fmla="*/ 227 w 407"/>
                <a:gd name="T43" fmla="*/ 0 h 467"/>
                <a:gd name="T44" fmla="*/ 283 w 407"/>
                <a:gd name="T45" fmla="*/ 15 h 467"/>
                <a:gd name="T46" fmla="*/ 333 w 407"/>
                <a:gd name="T47" fmla="*/ 44 h 467"/>
                <a:gd name="T48" fmla="*/ 302 w 407"/>
                <a:gd name="T49" fmla="*/ 348 h 467"/>
                <a:gd name="T50" fmla="*/ 326 w 407"/>
                <a:gd name="T51" fmla="*/ 256 h 467"/>
                <a:gd name="T52" fmla="*/ 326 w 407"/>
                <a:gd name="T53" fmla="*/ 194 h 467"/>
                <a:gd name="T54" fmla="*/ 310 w 407"/>
                <a:gd name="T55" fmla="*/ 125 h 467"/>
                <a:gd name="T56" fmla="*/ 291 w 407"/>
                <a:gd name="T57" fmla="*/ 98 h 467"/>
                <a:gd name="T58" fmla="*/ 254 w 407"/>
                <a:gd name="T59" fmla="*/ 73 h 467"/>
                <a:gd name="T60" fmla="*/ 204 w 407"/>
                <a:gd name="T61" fmla="*/ 65 h 467"/>
                <a:gd name="T62" fmla="*/ 173 w 407"/>
                <a:gd name="T63" fmla="*/ 67 h 467"/>
                <a:gd name="T64" fmla="*/ 133 w 407"/>
                <a:gd name="T65" fmla="*/ 83 h 467"/>
                <a:gd name="T66" fmla="*/ 106 w 407"/>
                <a:gd name="T67" fmla="*/ 115 h 467"/>
                <a:gd name="T68" fmla="*/ 84 w 407"/>
                <a:gd name="T69" fmla="*/ 173 h 467"/>
                <a:gd name="T70" fmla="*/ 77 w 407"/>
                <a:gd name="T71" fmla="*/ 239 h 467"/>
                <a:gd name="T72" fmla="*/ 94 w 407"/>
                <a:gd name="T73" fmla="*/ 331 h 467"/>
                <a:gd name="T74" fmla="*/ 115 w 407"/>
                <a:gd name="T75" fmla="*/ 366 h 467"/>
                <a:gd name="T76" fmla="*/ 146 w 407"/>
                <a:gd name="T77" fmla="*/ 391 h 467"/>
                <a:gd name="T78" fmla="*/ 187 w 407"/>
                <a:gd name="T79" fmla="*/ 401 h 467"/>
                <a:gd name="T80" fmla="*/ 221 w 407"/>
                <a:gd name="T81" fmla="*/ 401 h 467"/>
                <a:gd name="T82" fmla="*/ 264 w 407"/>
                <a:gd name="T83" fmla="*/ 389 h 467"/>
                <a:gd name="T84" fmla="*/ 293 w 407"/>
                <a:gd name="T85" fmla="*/ 36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7" h="467">
                  <a:moveTo>
                    <a:pt x="347" y="56"/>
                  </a:moveTo>
                  <a:lnTo>
                    <a:pt x="347" y="56"/>
                  </a:lnTo>
                  <a:lnTo>
                    <a:pt x="360" y="71"/>
                  </a:lnTo>
                  <a:lnTo>
                    <a:pt x="372" y="88"/>
                  </a:lnTo>
                  <a:lnTo>
                    <a:pt x="383" y="106"/>
                  </a:lnTo>
                  <a:lnTo>
                    <a:pt x="391" y="125"/>
                  </a:lnTo>
                  <a:lnTo>
                    <a:pt x="397" y="148"/>
                  </a:lnTo>
                  <a:lnTo>
                    <a:pt x="401" y="171"/>
                  </a:lnTo>
                  <a:lnTo>
                    <a:pt x="403" y="196"/>
                  </a:lnTo>
                  <a:lnTo>
                    <a:pt x="406" y="221"/>
                  </a:lnTo>
                  <a:lnTo>
                    <a:pt x="406" y="221"/>
                  </a:lnTo>
                  <a:lnTo>
                    <a:pt x="403" y="248"/>
                  </a:lnTo>
                  <a:lnTo>
                    <a:pt x="401" y="273"/>
                  </a:lnTo>
                  <a:lnTo>
                    <a:pt x="397" y="296"/>
                  </a:lnTo>
                  <a:lnTo>
                    <a:pt x="393" y="318"/>
                  </a:lnTo>
                  <a:lnTo>
                    <a:pt x="385" y="339"/>
                  </a:lnTo>
                  <a:lnTo>
                    <a:pt x="376" y="360"/>
                  </a:lnTo>
                  <a:lnTo>
                    <a:pt x="366" y="379"/>
                  </a:lnTo>
                  <a:lnTo>
                    <a:pt x="354" y="395"/>
                  </a:lnTo>
                  <a:lnTo>
                    <a:pt x="354" y="395"/>
                  </a:lnTo>
                  <a:lnTo>
                    <a:pt x="341" y="412"/>
                  </a:lnTo>
                  <a:lnTo>
                    <a:pt x="325" y="426"/>
                  </a:lnTo>
                  <a:lnTo>
                    <a:pt x="308" y="439"/>
                  </a:lnTo>
                  <a:lnTo>
                    <a:pt x="289" y="447"/>
                  </a:lnTo>
                  <a:lnTo>
                    <a:pt x="268" y="456"/>
                  </a:lnTo>
                  <a:lnTo>
                    <a:pt x="245" y="460"/>
                  </a:lnTo>
                  <a:lnTo>
                    <a:pt x="221" y="464"/>
                  </a:lnTo>
                  <a:lnTo>
                    <a:pt x="196" y="466"/>
                  </a:lnTo>
                  <a:lnTo>
                    <a:pt x="196" y="466"/>
                  </a:lnTo>
                  <a:lnTo>
                    <a:pt x="173" y="464"/>
                  </a:lnTo>
                  <a:lnTo>
                    <a:pt x="154" y="462"/>
                  </a:lnTo>
                  <a:lnTo>
                    <a:pt x="133" y="456"/>
                  </a:lnTo>
                  <a:lnTo>
                    <a:pt x="115" y="449"/>
                  </a:lnTo>
                  <a:lnTo>
                    <a:pt x="98" y="441"/>
                  </a:lnTo>
                  <a:lnTo>
                    <a:pt x="81" y="431"/>
                  </a:lnTo>
                  <a:lnTo>
                    <a:pt x="67" y="418"/>
                  </a:lnTo>
                  <a:lnTo>
                    <a:pt x="54" y="404"/>
                  </a:lnTo>
                  <a:lnTo>
                    <a:pt x="54" y="404"/>
                  </a:lnTo>
                  <a:lnTo>
                    <a:pt x="42" y="389"/>
                  </a:lnTo>
                  <a:lnTo>
                    <a:pt x="29" y="370"/>
                  </a:lnTo>
                  <a:lnTo>
                    <a:pt x="21" y="352"/>
                  </a:lnTo>
                  <a:lnTo>
                    <a:pt x="15" y="333"/>
                  </a:lnTo>
                  <a:lnTo>
                    <a:pt x="9" y="312"/>
                  </a:lnTo>
                  <a:lnTo>
                    <a:pt x="4" y="289"/>
                  </a:lnTo>
                  <a:lnTo>
                    <a:pt x="3" y="266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3" y="215"/>
                  </a:lnTo>
                  <a:lnTo>
                    <a:pt x="4" y="187"/>
                  </a:lnTo>
                  <a:lnTo>
                    <a:pt x="9" y="165"/>
                  </a:lnTo>
                  <a:lnTo>
                    <a:pt x="15" y="142"/>
                  </a:lnTo>
                  <a:lnTo>
                    <a:pt x="23" y="121"/>
                  </a:lnTo>
                  <a:lnTo>
                    <a:pt x="32" y="100"/>
                  </a:lnTo>
                  <a:lnTo>
                    <a:pt x="44" y="81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71" y="50"/>
                  </a:lnTo>
                  <a:lnTo>
                    <a:pt x="85" y="36"/>
                  </a:lnTo>
                  <a:lnTo>
                    <a:pt x="104" y="25"/>
                  </a:lnTo>
                  <a:lnTo>
                    <a:pt x="121" y="17"/>
                  </a:lnTo>
                  <a:lnTo>
                    <a:pt x="140" y="9"/>
                  </a:lnTo>
                  <a:lnTo>
                    <a:pt x="160" y="5"/>
                  </a:lnTo>
                  <a:lnTo>
                    <a:pt x="183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227" y="0"/>
                  </a:lnTo>
                  <a:lnTo>
                    <a:pt x="245" y="2"/>
                  </a:lnTo>
                  <a:lnTo>
                    <a:pt x="264" y="9"/>
                  </a:lnTo>
                  <a:lnTo>
                    <a:pt x="283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33" y="44"/>
                  </a:lnTo>
                  <a:lnTo>
                    <a:pt x="347" y="56"/>
                  </a:lnTo>
                  <a:close/>
                  <a:moveTo>
                    <a:pt x="302" y="348"/>
                  </a:moveTo>
                  <a:lnTo>
                    <a:pt x="302" y="348"/>
                  </a:lnTo>
                  <a:lnTo>
                    <a:pt x="314" y="318"/>
                  </a:lnTo>
                  <a:lnTo>
                    <a:pt x="322" y="289"/>
                  </a:lnTo>
                  <a:lnTo>
                    <a:pt x="326" y="256"/>
                  </a:lnTo>
                  <a:lnTo>
                    <a:pt x="329" y="223"/>
                  </a:lnTo>
                  <a:lnTo>
                    <a:pt x="329" y="223"/>
                  </a:lnTo>
                  <a:lnTo>
                    <a:pt x="326" y="194"/>
                  </a:lnTo>
                  <a:lnTo>
                    <a:pt x="325" y="169"/>
                  </a:lnTo>
                  <a:lnTo>
                    <a:pt x="318" y="146"/>
                  </a:lnTo>
                  <a:lnTo>
                    <a:pt x="310" y="125"/>
                  </a:lnTo>
                  <a:lnTo>
                    <a:pt x="310" y="125"/>
                  </a:lnTo>
                  <a:lnTo>
                    <a:pt x="302" y="110"/>
                  </a:lnTo>
                  <a:lnTo>
                    <a:pt x="291" y="98"/>
                  </a:lnTo>
                  <a:lnTo>
                    <a:pt x="279" y="88"/>
                  </a:lnTo>
                  <a:lnTo>
                    <a:pt x="266" y="79"/>
                  </a:lnTo>
                  <a:lnTo>
                    <a:pt x="254" y="73"/>
                  </a:lnTo>
                  <a:lnTo>
                    <a:pt x="237" y="67"/>
                  </a:lnTo>
                  <a:lnTo>
                    <a:pt x="221" y="65"/>
                  </a:lnTo>
                  <a:lnTo>
                    <a:pt x="204" y="65"/>
                  </a:lnTo>
                  <a:lnTo>
                    <a:pt x="204" y="65"/>
                  </a:lnTo>
                  <a:lnTo>
                    <a:pt x="187" y="65"/>
                  </a:lnTo>
                  <a:lnTo>
                    <a:pt x="173" y="67"/>
                  </a:lnTo>
                  <a:lnTo>
                    <a:pt x="158" y="71"/>
                  </a:lnTo>
                  <a:lnTo>
                    <a:pt x="146" y="77"/>
                  </a:lnTo>
                  <a:lnTo>
                    <a:pt x="133" y="83"/>
                  </a:lnTo>
                  <a:lnTo>
                    <a:pt x="123" y="94"/>
                  </a:lnTo>
                  <a:lnTo>
                    <a:pt x="115" y="104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94" y="142"/>
                  </a:lnTo>
                  <a:lnTo>
                    <a:pt x="84" y="173"/>
                  </a:lnTo>
                  <a:lnTo>
                    <a:pt x="77" y="204"/>
                  </a:lnTo>
                  <a:lnTo>
                    <a:pt x="77" y="239"/>
                  </a:lnTo>
                  <a:lnTo>
                    <a:pt x="77" y="239"/>
                  </a:lnTo>
                  <a:lnTo>
                    <a:pt x="77" y="273"/>
                  </a:lnTo>
                  <a:lnTo>
                    <a:pt x="84" y="304"/>
                  </a:lnTo>
                  <a:lnTo>
                    <a:pt x="94" y="331"/>
                  </a:lnTo>
                  <a:lnTo>
                    <a:pt x="106" y="356"/>
                  </a:lnTo>
                  <a:lnTo>
                    <a:pt x="106" y="356"/>
                  </a:lnTo>
                  <a:lnTo>
                    <a:pt x="115" y="366"/>
                  </a:lnTo>
                  <a:lnTo>
                    <a:pt x="123" y="377"/>
                  </a:lnTo>
                  <a:lnTo>
                    <a:pt x="133" y="383"/>
                  </a:lnTo>
                  <a:lnTo>
                    <a:pt x="146" y="391"/>
                  </a:lnTo>
                  <a:lnTo>
                    <a:pt x="158" y="395"/>
                  </a:lnTo>
                  <a:lnTo>
                    <a:pt x="173" y="399"/>
                  </a:lnTo>
                  <a:lnTo>
                    <a:pt x="187" y="401"/>
                  </a:lnTo>
                  <a:lnTo>
                    <a:pt x="202" y="401"/>
                  </a:lnTo>
                  <a:lnTo>
                    <a:pt x="202" y="401"/>
                  </a:lnTo>
                  <a:lnTo>
                    <a:pt x="221" y="401"/>
                  </a:lnTo>
                  <a:lnTo>
                    <a:pt x="235" y="397"/>
                  </a:lnTo>
                  <a:lnTo>
                    <a:pt x="250" y="393"/>
                  </a:lnTo>
                  <a:lnTo>
                    <a:pt x="264" y="389"/>
                  </a:lnTo>
                  <a:lnTo>
                    <a:pt x="275" y="381"/>
                  </a:lnTo>
                  <a:lnTo>
                    <a:pt x="285" y="370"/>
                  </a:lnTo>
                  <a:lnTo>
                    <a:pt x="293" y="360"/>
                  </a:lnTo>
                  <a:lnTo>
                    <a:pt x="302" y="3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" name="Freeform 63">
              <a:extLst>
                <a:ext uri="{FF2B5EF4-FFF2-40B4-BE49-F238E27FC236}">
                  <a16:creationId xmlns:a16="http://schemas.microsoft.com/office/drawing/2014/main" id="{3E6351F6-6A61-1B40-ACEA-4894D812C6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8050" y="3884613"/>
              <a:ext cx="134938" cy="166687"/>
            </a:xfrm>
            <a:custGeom>
              <a:avLst/>
              <a:gdLst>
                <a:gd name="T0" fmla="*/ 318 w 375"/>
                <a:gd name="T1" fmla="*/ 36 h 463"/>
                <a:gd name="T2" fmla="*/ 338 w 375"/>
                <a:gd name="T3" fmla="*/ 56 h 463"/>
                <a:gd name="T4" fmla="*/ 355 w 375"/>
                <a:gd name="T5" fmla="*/ 86 h 463"/>
                <a:gd name="T6" fmla="*/ 366 w 375"/>
                <a:gd name="T7" fmla="*/ 119 h 463"/>
                <a:gd name="T8" fmla="*/ 374 w 375"/>
                <a:gd name="T9" fmla="*/ 160 h 463"/>
                <a:gd name="T10" fmla="*/ 301 w 375"/>
                <a:gd name="T11" fmla="*/ 160 h 463"/>
                <a:gd name="T12" fmla="*/ 291 w 375"/>
                <a:gd name="T13" fmla="*/ 123 h 463"/>
                <a:gd name="T14" fmla="*/ 272 w 375"/>
                <a:gd name="T15" fmla="*/ 92 h 463"/>
                <a:gd name="T16" fmla="*/ 260 w 375"/>
                <a:gd name="T17" fmla="*/ 81 h 463"/>
                <a:gd name="T18" fmla="*/ 222 w 375"/>
                <a:gd name="T19" fmla="*/ 67 h 463"/>
                <a:gd name="T20" fmla="*/ 197 w 375"/>
                <a:gd name="T21" fmla="*/ 65 h 463"/>
                <a:gd name="T22" fmla="*/ 166 w 375"/>
                <a:gd name="T23" fmla="*/ 69 h 463"/>
                <a:gd name="T24" fmla="*/ 137 w 375"/>
                <a:gd name="T25" fmla="*/ 83 h 463"/>
                <a:gd name="T26" fmla="*/ 114 w 375"/>
                <a:gd name="T27" fmla="*/ 104 h 463"/>
                <a:gd name="T28" fmla="*/ 97 w 375"/>
                <a:gd name="T29" fmla="*/ 133 h 463"/>
                <a:gd name="T30" fmla="*/ 89 w 375"/>
                <a:gd name="T31" fmla="*/ 158 h 463"/>
                <a:gd name="T32" fmla="*/ 79 w 375"/>
                <a:gd name="T33" fmla="*/ 212 h 463"/>
                <a:gd name="T34" fmla="*/ 77 w 375"/>
                <a:gd name="T35" fmla="*/ 244 h 463"/>
                <a:gd name="T36" fmla="*/ 85 w 375"/>
                <a:gd name="T37" fmla="*/ 304 h 463"/>
                <a:gd name="T38" fmla="*/ 106 w 375"/>
                <a:gd name="T39" fmla="*/ 354 h 463"/>
                <a:gd name="T40" fmla="*/ 112 w 375"/>
                <a:gd name="T41" fmla="*/ 364 h 463"/>
                <a:gd name="T42" fmla="*/ 131 w 375"/>
                <a:gd name="T43" fmla="*/ 381 h 463"/>
                <a:gd name="T44" fmla="*/ 151 w 375"/>
                <a:gd name="T45" fmla="*/ 393 h 463"/>
                <a:gd name="T46" fmla="*/ 178 w 375"/>
                <a:gd name="T47" fmla="*/ 397 h 463"/>
                <a:gd name="T48" fmla="*/ 193 w 375"/>
                <a:gd name="T49" fmla="*/ 399 h 463"/>
                <a:gd name="T50" fmla="*/ 235 w 375"/>
                <a:gd name="T51" fmla="*/ 391 h 463"/>
                <a:gd name="T52" fmla="*/ 266 w 375"/>
                <a:gd name="T53" fmla="*/ 370 h 463"/>
                <a:gd name="T54" fmla="*/ 278 w 375"/>
                <a:gd name="T55" fmla="*/ 356 h 463"/>
                <a:gd name="T56" fmla="*/ 295 w 375"/>
                <a:gd name="T57" fmla="*/ 318 h 463"/>
                <a:gd name="T58" fmla="*/ 374 w 375"/>
                <a:gd name="T59" fmla="*/ 296 h 463"/>
                <a:gd name="T60" fmla="*/ 370 w 375"/>
                <a:gd name="T61" fmla="*/ 316 h 463"/>
                <a:gd name="T62" fmla="*/ 359 w 375"/>
                <a:gd name="T63" fmla="*/ 354 h 463"/>
                <a:gd name="T64" fmla="*/ 345 w 375"/>
                <a:gd name="T65" fmla="*/ 385 h 463"/>
                <a:gd name="T66" fmla="*/ 324 w 375"/>
                <a:gd name="T67" fmla="*/ 412 h 463"/>
                <a:gd name="T68" fmla="*/ 311 w 375"/>
                <a:gd name="T69" fmla="*/ 422 h 463"/>
                <a:gd name="T70" fmla="*/ 287 w 375"/>
                <a:gd name="T71" fmla="*/ 439 h 463"/>
                <a:gd name="T72" fmla="*/ 257 w 375"/>
                <a:gd name="T73" fmla="*/ 451 h 463"/>
                <a:gd name="T74" fmla="*/ 224 w 375"/>
                <a:gd name="T75" fmla="*/ 460 h 463"/>
                <a:gd name="T76" fmla="*/ 187 w 375"/>
                <a:gd name="T77" fmla="*/ 462 h 463"/>
                <a:gd name="T78" fmla="*/ 166 w 375"/>
                <a:gd name="T79" fmla="*/ 462 h 463"/>
                <a:gd name="T80" fmla="*/ 129 w 375"/>
                <a:gd name="T81" fmla="*/ 454 h 463"/>
                <a:gd name="T82" fmla="*/ 93 w 375"/>
                <a:gd name="T83" fmla="*/ 437 h 463"/>
                <a:gd name="T84" fmla="*/ 64 w 375"/>
                <a:gd name="T85" fmla="*/ 414 h 463"/>
                <a:gd name="T86" fmla="*/ 50 w 375"/>
                <a:gd name="T87" fmla="*/ 399 h 463"/>
                <a:gd name="T88" fmla="*/ 29 w 375"/>
                <a:gd name="T89" fmla="*/ 366 h 463"/>
                <a:gd name="T90" fmla="*/ 12 w 375"/>
                <a:gd name="T91" fmla="*/ 329 h 463"/>
                <a:gd name="T92" fmla="*/ 2 w 375"/>
                <a:gd name="T93" fmla="*/ 287 h 463"/>
                <a:gd name="T94" fmla="*/ 0 w 375"/>
                <a:gd name="T95" fmla="*/ 244 h 463"/>
                <a:gd name="T96" fmla="*/ 0 w 375"/>
                <a:gd name="T97" fmla="*/ 215 h 463"/>
                <a:gd name="T98" fmla="*/ 8 w 375"/>
                <a:gd name="T99" fmla="*/ 165 h 463"/>
                <a:gd name="T100" fmla="*/ 21 w 375"/>
                <a:gd name="T101" fmla="*/ 119 h 463"/>
                <a:gd name="T102" fmla="*/ 41 w 375"/>
                <a:gd name="T103" fmla="*/ 81 h 463"/>
                <a:gd name="T104" fmla="*/ 56 w 375"/>
                <a:gd name="T105" fmla="*/ 65 h 463"/>
                <a:gd name="T106" fmla="*/ 85 w 375"/>
                <a:gd name="T107" fmla="*/ 36 h 463"/>
                <a:gd name="T108" fmla="*/ 118 w 375"/>
                <a:gd name="T109" fmla="*/ 15 h 463"/>
                <a:gd name="T110" fmla="*/ 156 w 375"/>
                <a:gd name="T111" fmla="*/ 5 h 463"/>
                <a:gd name="T112" fmla="*/ 197 w 375"/>
                <a:gd name="T113" fmla="*/ 0 h 463"/>
                <a:gd name="T114" fmla="*/ 232 w 375"/>
                <a:gd name="T115" fmla="*/ 2 h 463"/>
                <a:gd name="T116" fmla="*/ 264 w 375"/>
                <a:gd name="T117" fmla="*/ 9 h 463"/>
                <a:gd name="T118" fmla="*/ 293 w 375"/>
                <a:gd name="T119" fmla="*/ 21 h 463"/>
                <a:gd name="T120" fmla="*/ 318 w 375"/>
                <a:gd name="T121" fmla="*/ 36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5" h="463">
                  <a:moveTo>
                    <a:pt x="318" y="36"/>
                  </a:moveTo>
                  <a:lnTo>
                    <a:pt x="318" y="36"/>
                  </a:lnTo>
                  <a:lnTo>
                    <a:pt x="328" y="46"/>
                  </a:lnTo>
                  <a:lnTo>
                    <a:pt x="338" y="56"/>
                  </a:lnTo>
                  <a:lnTo>
                    <a:pt x="347" y="71"/>
                  </a:lnTo>
                  <a:lnTo>
                    <a:pt x="355" y="86"/>
                  </a:lnTo>
                  <a:lnTo>
                    <a:pt x="361" y="100"/>
                  </a:lnTo>
                  <a:lnTo>
                    <a:pt x="366" y="119"/>
                  </a:lnTo>
                  <a:lnTo>
                    <a:pt x="370" y="138"/>
                  </a:lnTo>
                  <a:lnTo>
                    <a:pt x="374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297" y="140"/>
                  </a:lnTo>
                  <a:lnTo>
                    <a:pt x="291" y="123"/>
                  </a:lnTo>
                  <a:lnTo>
                    <a:pt x="282" y="106"/>
                  </a:lnTo>
                  <a:lnTo>
                    <a:pt x="272" y="92"/>
                  </a:lnTo>
                  <a:lnTo>
                    <a:pt x="272" y="92"/>
                  </a:lnTo>
                  <a:lnTo>
                    <a:pt x="260" y="81"/>
                  </a:lnTo>
                  <a:lnTo>
                    <a:pt x="243" y="73"/>
                  </a:lnTo>
                  <a:lnTo>
                    <a:pt x="222" y="67"/>
                  </a:lnTo>
                  <a:lnTo>
                    <a:pt x="197" y="65"/>
                  </a:lnTo>
                  <a:lnTo>
                    <a:pt x="197" y="65"/>
                  </a:lnTo>
                  <a:lnTo>
                    <a:pt x="181" y="67"/>
                  </a:lnTo>
                  <a:lnTo>
                    <a:pt x="166" y="69"/>
                  </a:lnTo>
                  <a:lnTo>
                    <a:pt x="151" y="75"/>
                  </a:lnTo>
                  <a:lnTo>
                    <a:pt x="137" y="83"/>
                  </a:lnTo>
                  <a:lnTo>
                    <a:pt x="126" y="92"/>
                  </a:lnTo>
                  <a:lnTo>
                    <a:pt x="114" y="104"/>
                  </a:lnTo>
                  <a:lnTo>
                    <a:pt x="106" y="119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89" y="158"/>
                  </a:lnTo>
                  <a:lnTo>
                    <a:pt x="83" y="183"/>
                  </a:lnTo>
                  <a:lnTo>
                    <a:pt x="79" y="212"/>
                  </a:lnTo>
                  <a:lnTo>
                    <a:pt x="77" y="244"/>
                  </a:lnTo>
                  <a:lnTo>
                    <a:pt x="77" y="244"/>
                  </a:lnTo>
                  <a:lnTo>
                    <a:pt x="79" y="275"/>
                  </a:lnTo>
                  <a:lnTo>
                    <a:pt x="85" y="304"/>
                  </a:lnTo>
                  <a:lnTo>
                    <a:pt x="93" y="331"/>
                  </a:lnTo>
                  <a:lnTo>
                    <a:pt x="106" y="354"/>
                  </a:lnTo>
                  <a:lnTo>
                    <a:pt x="106" y="354"/>
                  </a:lnTo>
                  <a:lnTo>
                    <a:pt x="112" y="364"/>
                  </a:lnTo>
                  <a:lnTo>
                    <a:pt x="120" y="374"/>
                  </a:lnTo>
                  <a:lnTo>
                    <a:pt x="131" y="381"/>
                  </a:lnTo>
                  <a:lnTo>
                    <a:pt x="141" y="387"/>
                  </a:lnTo>
                  <a:lnTo>
                    <a:pt x="151" y="393"/>
                  </a:lnTo>
                  <a:lnTo>
                    <a:pt x="164" y="395"/>
                  </a:lnTo>
                  <a:lnTo>
                    <a:pt x="178" y="397"/>
                  </a:lnTo>
                  <a:lnTo>
                    <a:pt x="193" y="399"/>
                  </a:lnTo>
                  <a:lnTo>
                    <a:pt x="193" y="399"/>
                  </a:lnTo>
                  <a:lnTo>
                    <a:pt x="214" y="397"/>
                  </a:lnTo>
                  <a:lnTo>
                    <a:pt x="235" y="391"/>
                  </a:lnTo>
                  <a:lnTo>
                    <a:pt x="251" y="383"/>
                  </a:lnTo>
                  <a:lnTo>
                    <a:pt x="266" y="370"/>
                  </a:lnTo>
                  <a:lnTo>
                    <a:pt x="266" y="370"/>
                  </a:lnTo>
                  <a:lnTo>
                    <a:pt x="278" y="356"/>
                  </a:lnTo>
                  <a:lnTo>
                    <a:pt x="288" y="339"/>
                  </a:lnTo>
                  <a:lnTo>
                    <a:pt x="295" y="318"/>
                  </a:lnTo>
                  <a:lnTo>
                    <a:pt x="301" y="296"/>
                  </a:lnTo>
                  <a:lnTo>
                    <a:pt x="374" y="296"/>
                  </a:lnTo>
                  <a:lnTo>
                    <a:pt x="374" y="296"/>
                  </a:lnTo>
                  <a:lnTo>
                    <a:pt x="370" y="316"/>
                  </a:lnTo>
                  <a:lnTo>
                    <a:pt x="366" y="335"/>
                  </a:lnTo>
                  <a:lnTo>
                    <a:pt x="359" y="354"/>
                  </a:lnTo>
                  <a:lnTo>
                    <a:pt x="351" y="370"/>
                  </a:lnTo>
                  <a:lnTo>
                    <a:pt x="345" y="385"/>
                  </a:lnTo>
                  <a:lnTo>
                    <a:pt x="334" y="399"/>
                  </a:lnTo>
                  <a:lnTo>
                    <a:pt x="324" y="412"/>
                  </a:lnTo>
                  <a:lnTo>
                    <a:pt x="311" y="422"/>
                  </a:lnTo>
                  <a:lnTo>
                    <a:pt x="311" y="422"/>
                  </a:lnTo>
                  <a:lnTo>
                    <a:pt x="299" y="431"/>
                  </a:lnTo>
                  <a:lnTo>
                    <a:pt x="287" y="439"/>
                  </a:lnTo>
                  <a:lnTo>
                    <a:pt x="272" y="447"/>
                  </a:lnTo>
                  <a:lnTo>
                    <a:pt x="257" y="451"/>
                  </a:lnTo>
                  <a:lnTo>
                    <a:pt x="241" y="456"/>
                  </a:lnTo>
                  <a:lnTo>
                    <a:pt x="224" y="460"/>
                  </a:lnTo>
                  <a:lnTo>
                    <a:pt x="206" y="462"/>
                  </a:lnTo>
                  <a:lnTo>
                    <a:pt x="187" y="462"/>
                  </a:lnTo>
                  <a:lnTo>
                    <a:pt x="187" y="462"/>
                  </a:lnTo>
                  <a:lnTo>
                    <a:pt x="166" y="462"/>
                  </a:lnTo>
                  <a:lnTo>
                    <a:pt x="147" y="458"/>
                  </a:lnTo>
                  <a:lnTo>
                    <a:pt x="129" y="454"/>
                  </a:lnTo>
                  <a:lnTo>
                    <a:pt x="110" y="447"/>
                  </a:lnTo>
                  <a:lnTo>
                    <a:pt x="93" y="437"/>
                  </a:lnTo>
                  <a:lnTo>
                    <a:pt x="79" y="426"/>
                  </a:lnTo>
                  <a:lnTo>
                    <a:pt x="64" y="414"/>
                  </a:lnTo>
                  <a:lnTo>
                    <a:pt x="50" y="399"/>
                  </a:lnTo>
                  <a:lnTo>
                    <a:pt x="50" y="399"/>
                  </a:lnTo>
                  <a:lnTo>
                    <a:pt x="39" y="383"/>
                  </a:lnTo>
                  <a:lnTo>
                    <a:pt x="29" y="366"/>
                  </a:lnTo>
                  <a:lnTo>
                    <a:pt x="19" y="348"/>
                  </a:lnTo>
                  <a:lnTo>
                    <a:pt x="12" y="329"/>
                  </a:lnTo>
                  <a:lnTo>
                    <a:pt x="6" y="310"/>
                  </a:lnTo>
                  <a:lnTo>
                    <a:pt x="2" y="287"/>
                  </a:lnTo>
                  <a:lnTo>
                    <a:pt x="0" y="266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0" y="215"/>
                  </a:lnTo>
                  <a:lnTo>
                    <a:pt x="2" y="190"/>
                  </a:lnTo>
                  <a:lnTo>
                    <a:pt x="8" y="165"/>
                  </a:lnTo>
                  <a:lnTo>
                    <a:pt x="14" y="142"/>
                  </a:lnTo>
                  <a:lnTo>
                    <a:pt x="21" y="119"/>
                  </a:lnTo>
                  <a:lnTo>
                    <a:pt x="31" y="100"/>
                  </a:lnTo>
                  <a:lnTo>
                    <a:pt x="41" y="81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70" y="48"/>
                  </a:lnTo>
                  <a:lnTo>
                    <a:pt x="85" y="36"/>
                  </a:lnTo>
                  <a:lnTo>
                    <a:pt x="102" y="25"/>
                  </a:lnTo>
                  <a:lnTo>
                    <a:pt x="118" y="15"/>
                  </a:lnTo>
                  <a:lnTo>
                    <a:pt x="137" y="9"/>
                  </a:lnTo>
                  <a:lnTo>
                    <a:pt x="156" y="5"/>
                  </a:lnTo>
                  <a:lnTo>
                    <a:pt x="176" y="0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232" y="2"/>
                  </a:lnTo>
                  <a:lnTo>
                    <a:pt x="249" y="5"/>
                  </a:lnTo>
                  <a:lnTo>
                    <a:pt x="264" y="9"/>
                  </a:lnTo>
                  <a:lnTo>
                    <a:pt x="278" y="15"/>
                  </a:lnTo>
                  <a:lnTo>
                    <a:pt x="293" y="21"/>
                  </a:lnTo>
                  <a:lnTo>
                    <a:pt x="305" y="27"/>
                  </a:lnTo>
                  <a:lnTo>
                    <a:pt x="318" y="36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" name="Freeform 64">
              <a:extLst>
                <a:ext uri="{FF2B5EF4-FFF2-40B4-BE49-F238E27FC236}">
                  <a16:creationId xmlns:a16="http://schemas.microsoft.com/office/drawing/2014/main" id="{96273A18-D575-684E-AF55-74E538F5E5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89975" y="3830638"/>
              <a:ext cx="26988" cy="215900"/>
            </a:xfrm>
            <a:custGeom>
              <a:avLst/>
              <a:gdLst>
                <a:gd name="T0" fmla="*/ 0 w 75"/>
                <a:gd name="T1" fmla="*/ 0 h 599"/>
                <a:gd name="T2" fmla="*/ 74 w 75"/>
                <a:gd name="T3" fmla="*/ 0 h 599"/>
                <a:gd name="T4" fmla="*/ 74 w 75"/>
                <a:gd name="T5" fmla="*/ 83 h 599"/>
                <a:gd name="T6" fmla="*/ 0 w 75"/>
                <a:gd name="T7" fmla="*/ 83 h 599"/>
                <a:gd name="T8" fmla="*/ 0 w 75"/>
                <a:gd name="T9" fmla="*/ 0 h 599"/>
                <a:gd name="T10" fmla="*/ 0 w 75"/>
                <a:gd name="T11" fmla="*/ 164 h 599"/>
                <a:gd name="T12" fmla="*/ 74 w 75"/>
                <a:gd name="T13" fmla="*/ 164 h 599"/>
                <a:gd name="T14" fmla="*/ 74 w 75"/>
                <a:gd name="T15" fmla="*/ 598 h 599"/>
                <a:gd name="T16" fmla="*/ 0 w 75"/>
                <a:gd name="T17" fmla="*/ 598 h 599"/>
                <a:gd name="T18" fmla="*/ 0 w 75"/>
                <a:gd name="T19" fmla="*/ 164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599">
                  <a:moveTo>
                    <a:pt x="0" y="0"/>
                  </a:moveTo>
                  <a:lnTo>
                    <a:pt x="74" y="0"/>
                  </a:lnTo>
                  <a:lnTo>
                    <a:pt x="74" y="83"/>
                  </a:lnTo>
                  <a:lnTo>
                    <a:pt x="0" y="83"/>
                  </a:lnTo>
                  <a:lnTo>
                    <a:pt x="0" y="0"/>
                  </a:lnTo>
                  <a:close/>
                  <a:moveTo>
                    <a:pt x="0" y="164"/>
                  </a:moveTo>
                  <a:lnTo>
                    <a:pt x="74" y="164"/>
                  </a:lnTo>
                  <a:lnTo>
                    <a:pt x="74" y="598"/>
                  </a:lnTo>
                  <a:lnTo>
                    <a:pt x="0" y="598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8" name="Freeform 65">
              <a:extLst>
                <a:ext uri="{FF2B5EF4-FFF2-40B4-BE49-F238E27FC236}">
                  <a16:creationId xmlns:a16="http://schemas.microsoft.com/office/drawing/2014/main" id="{17652818-AE61-F945-899B-DD13229E14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8713" y="3884613"/>
              <a:ext cx="147637" cy="166687"/>
            </a:xfrm>
            <a:custGeom>
              <a:avLst/>
              <a:gdLst>
                <a:gd name="T0" fmla="*/ 266 w 412"/>
                <a:gd name="T1" fmla="*/ 181 h 463"/>
                <a:gd name="T2" fmla="*/ 286 w 412"/>
                <a:gd name="T3" fmla="*/ 163 h 463"/>
                <a:gd name="T4" fmla="*/ 293 w 412"/>
                <a:gd name="T5" fmla="*/ 133 h 463"/>
                <a:gd name="T6" fmla="*/ 286 w 412"/>
                <a:gd name="T7" fmla="*/ 100 h 463"/>
                <a:gd name="T8" fmla="*/ 266 w 412"/>
                <a:gd name="T9" fmla="*/ 79 h 463"/>
                <a:gd name="T10" fmla="*/ 212 w 412"/>
                <a:gd name="T11" fmla="*/ 63 h 463"/>
                <a:gd name="T12" fmla="*/ 162 w 412"/>
                <a:gd name="T13" fmla="*/ 65 h 463"/>
                <a:gd name="T14" fmla="*/ 122 w 412"/>
                <a:gd name="T15" fmla="*/ 79 h 463"/>
                <a:gd name="T16" fmla="*/ 108 w 412"/>
                <a:gd name="T17" fmla="*/ 94 h 463"/>
                <a:gd name="T18" fmla="*/ 93 w 412"/>
                <a:gd name="T19" fmla="*/ 129 h 463"/>
                <a:gd name="T20" fmla="*/ 22 w 412"/>
                <a:gd name="T21" fmla="*/ 144 h 463"/>
                <a:gd name="T22" fmla="*/ 31 w 412"/>
                <a:gd name="T23" fmla="*/ 90 h 463"/>
                <a:gd name="T24" fmla="*/ 52 w 412"/>
                <a:gd name="T25" fmla="*/ 50 h 463"/>
                <a:gd name="T26" fmla="*/ 75 w 412"/>
                <a:gd name="T27" fmla="*/ 31 h 463"/>
                <a:gd name="T28" fmla="*/ 158 w 412"/>
                <a:gd name="T29" fmla="*/ 3 h 463"/>
                <a:gd name="T30" fmla="*/ 228 w 412"/>
                <a:gd name="T31" fmla="*/ 3 h 463"/>
                <a:gd name="T32" fmla="*/ 315 w 412"/>
                <a:gd name="T33" fmla="*/ 29 h 463"/>
                <a:gd name="T34" fmla="*/ 336 w 412"/>
                <a:gd name="T35" fmla="*/ 46 h 463"/>
                <a:gd name="T36" fmla="*/ 357 w 412"/>
                <a:gd name="T37" fmla="*/ 79 h 463"/>
                <a:gd name="T38" fmla="*/ 363 w 412"/>
                <a:gd name="T39" fmla="*/ 121 h 463"/>
                <a:gd name="T40" fmla="*/ 365 w 412"/>
                <a:gd name="T41" fmla="*/ 383 h 463"/>
                <a:gd name="T42" fmla="*/ 372 w 412"/>
                <a:gd name="T43" fmla="*/ 393 h 463"/>
                <a:gd name="T44" fmla="*/ 388 w 412"/>
                <a:gd name="T45" fmla="*/ 397 h 463"/>
                <a:gd name="T46" fmla="*/ 411 w 412"/>
                <a:gd name="T47" fmla="*/ 395 h 463"/>
                <a:gd name="T48" fmla="*/ 386 w 412"/>
                <a:gd name="T49" fmla="*/ 456 h 463"/>
                <a:gd name="T50" fmla="*/ 361 w 412"/>
                <a:gd name="T51" fmla="*/ 458 h 463"/>
                <a:gd name="T52" fmla="*/ 315 w 412"/>
                <a:gd name="T53" fmla="*/ 441 h 463"/>
                <a:gd name="T54" fmla="*/ 299 w 412"/>
                <a:gd name="T55" fmla="*/ 412 h 463"/>
                <a:gd name="T56" fmla="*/ 282 w 412"/>
                <a:gd name="T57" fmla="*/ 404 h 463"/>
                <a:gd name="T58" fmla="*/ 230 w 412"/>
                <a:gd name="T59" fmla="*/ 441 h 463"/>
                <a:gd name="T60" fmla="*/ 185 w 412"/>
                <a:gd name="T61" fmla="*/ 458 h 463"/>
                <a:gd name="T62" fmla="*/ 137 w 412"/>
                <a:gd name="T63" fmla="*/ 462 h 463"/>
                <a:gd name="T64" fmla="*/ 81 w 412"/>
                <a:gd name="T65" fmla="*/ 454 h 463"/>
                <a:gd name="T66" fmla="*/ 47 w 412"/>
                <a:gd name="T67" fmla="*/ 435 h 463"/>
                <a:gd name="T68" fmla="*/ 29 w 412"/>
                <a:gd name="T69" fmla="*/ 416 h 463"/>
                <a:gd name="T70" fmla="*/ 8 w 412"/>
                <a:gd name="T71" fmla="*/ 383 h 463"/>
                <a:gd name="T72" fmla="*/ 0 w 412"/>
                <a:gd name="T73" fmla="*/ 347 h 463"/>
                <a:gd name="T74" fmla="*/ 0 w 412"/>
                <a:gd name="T75" fmla="*/ 319 h 463"/>
                <a:gd name="T76" fmla="*/ 8 w 412"/>
                <a:gd name="T77" fmla="*/ 279 h 463"/>
                <a:gd name="T78" fmla="*/ 29 w 412"/>
                <a:gd name="T79" fmla="*/ 248 h 463"/>
                <a:gd name="T80" fmla="*/ 58 w 412"/>
                <a:gd name="T81" fmla="*/ 223 h 463"/>
                <a:gd name="T82" fmla="*/ 137 w 412"/>
                <a:gd name="T83" fmla="*/ 198 h 463"/>
                <a:gd name="T84" fmla="*/ 99 w 412"/>
                <a:gd name="T85" fmla="*/ 381 h 463"/>
                <a:gd name="T86" fmla="*/ 139 w 412"/>
                <a:gd name="T87" fmla="*/ 399 h 463"/>
                <a:gd name="T88" fmla="*/ 172 w 412"/>
                <a:gd name="T89" fmla="*/ 399 h 463"/>
                <a:gd name="T90" fmla="*/ 228 w 412"/>
                <a:gd name="T91" fmla="*/ 383 h 463"/>
                <a:gd name="T92" fmla="*/ 255 w 412"/>
                <a:gd name="T93" fmla="*/ 364 h 463"/>
                <a:gd name="T94" fmla="*/ 282 w 412"/>
                <a:gd name="T95" fmla="*/ 331 h 463"/>
                <a:gd name="T96" fmla="*/ 291 w 412"/>
                <a:gd name="T97" fmla="*/ 285 h 463"/>
                <a:gd name="T98" fmla="*/ 274 w 412"/>
                <a:gd name="T99" fmla="*/ 233 h 463"/>
                <a:gd name="T100" fmla="*/ 234 w 412"/>
                <a:gd name="T101" fmla="*/ 246 h 463"/>
                <a:gd name="T102" fmla="*/ 170 w 412"/>
                <a:gd name="T103" fmla="*/ 254 h 463"/>
                <a:gd name="T104" fmla="*/ 110 w 412"/>
                <a:gd name="T105" fmla="*/ 271 h 463"/>
                <a:gd name="T106" fmla="*/ 89 w 412"/>
                <a:gd name="T107" fmla="*/ 287 h 463"/>
                <a:gd name="T108" fmla="*/ 79 w 412"/>
                <a:gd name="T109" fmla="*/ 312 h 463"/>
                <a:gd name="T110" fmla="*/ 77 w 412"/>
                <a:gd name="T111" fmla="*/ 346 h 463"/>
                <a:gd name="T112" fmla="*/ 99 w 412"/>
                <a:gd name="T113" fmla="*/ 381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2" h="463">
                  <a:moveTo>
                    <a:pt x="253" y="183"/>
                  </a:moveTo>
                  <a:lnTo>
                    <a:pt x="253" y="183"/>
                  </a:lnTo>
                  <a:lnTo>
                    <a:pt x="266" y="181"/>
                  </a:lnTo>
                  <a:lnTo>
                    <a:pt x="274" y="177"/>
                  </a:lnTo>
                  <a:lnTo>
                    <a:pt x="282" y="171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91" y="150"/>
                  </a:lnTo>
                  <a:lnTo>
                    <a:pt x="293" y="133"/>
                  </a:lnTo>
                  <a:lnTo>
                    <a:pt x="293" y="133"/>
                  </a:lnTo>
                  <a:lnTo>
                    <a:pt x="291" y="117"/>
                  </a:lnTo>
                  <a:lnTo>
                    <a:pt x="286" y="100"/>
                  </a:lnTo>
                  <a:lnTo>
                    <a:pt x="278" y="90"/>
                  </a:lnTo>
                  <a:lnTo>
                    <a:pt x="266" y="79"/>
                  </a:lnTo>
                  <a:lnTo>
                    <a:pt x="266" y="79"/>
                  </a:lnTo>
                  <a:lnTo>
                    <a:pt x="251" y="71"/>
                  </a:lnTo>
                  <a:lnTo>
                    <a:pt x="232" y="67"/>
                  </a:lnTo>
                  <a:lnTo>
                    <a:pt x="212" y="63"/>
                  </a:lnTo>
                  <a:lnTo>
                    <a:pt x="189" y="63"/>
                  </a:lnTo>
                  <a:lnTo>
                    <a:pt x="189" y="63"/>
                  </a:lnTo>
                  <a:lnTo>
                    <a:pt x="162" y="65"/>
                  </a:lnTo>
                  <a:lnTo>
                    <a:pt x="141" y="69"/>
                  </a:lnTo>
                  <a:lnTo>
                    <a:pt x="131" y="73"/>
                  </a:lnTo>
                  <a:lnTo>
                    <a:pt x="122" y="79"/>
                  </a:lnTo>
                  <a:lnTo>
                    <a:pt x="114" y="86"/>
                  </a:lnTo>
                  <a:lnTo>
                    <a:pt x="108" y="94"/>
                  </a:lnTo>
                  <a:lnTo>
                    <a:pt x="108" y="94"/>
                  </a:lnTo>
                  <a:lnTo>
                    <a:pt x="102" y="102"/>
                  </a:lnTo>
                  <a:lnTo>
                    <a:pt x="97" y="115"/>
                  </a:lnTo>
                  <a:lnTo>
                    <a:pt x="93" y="129"/>
                  </a:lnTo>
                  <a:lnTo>
                    <a:pt x="91" y="144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2" y="125"/>
                  </a:lnTo>
                  <a:lnTo>
                    <a:pt x="27" y="106"/>
                  </a:lnTo>
                  <a:lnTo>
                    <a:pt x="31" y="90"/>
                  </a:lnTo>
                  <a:lnTo>
                    <a:pt x="35" y="75"/>
                  </a:lnTo>
                  <a:lnTo>
                    <a:pt x="43" y="63"/>
                  </a:lnTo>
                  <a:lnTo>
                    <a:pt x="52" y="50"/>
                  </a:lnTo>
                  <a:lnTo>
                    <a:pt x="62" y="4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99" y="17"/>
                  </a:lnTo>
                  <a:lnTo>
                    <a:pt x="128" y="9"/>
                  </a:lnTo>
                  <a:lnTo>
                    <a:pt x="158" y="3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228" y="3"/>
                  </a:lnTo>
                  <a:lnTo>
                    <a:pt x="262" y="7"/>
                  </a:lnTo>
                  <a:lnTo>
                    <a:pt x="291" y="17"/>
                  </a:lnTo>
                  <a:lnTo>
                    <a:pt x="315" y="29"/>
                  </a:lnTo>
                  <a:lnTo>
                    <a:pt x="315" y="29"/>
                  </a:lnTo>
                  <a:lnTo>
                    <a:pt x="328" y="38"/>
                  </a:lnTo>
                  <a:lnTo>
                    <a:pt x="336" y="46"/>
                  </a:lnTo>
                  <a:lnTo>
                    <a:pt x="344" y="56"/>
                  </a:lnTo>
                  <a:lnTo>
                    <a:pt x="351" y="67"/>
                  </a:lnTo>
                  <a:lnTo>
                    <a:pt x="357" y="79"/>
                  </a:lnTo>
                  <a:lnTo>
                    <a:pt x="361" y="92"/>
                  </a:lnTo>
                  <a:lnTo>
                    <a:pt x="363" y="106"/>
                  </a:lnTo>
                  <a:lnTo>
                    <a:pt x="363" y="121"/>
                  </a:lnTo>
                  <a:lnTo>
                    <a:pt x="363" y="372"/>
                  </a:lnTo>
                  <a:lnTo>
                    <a:pt x="363" y="372"/>
                  </a:lnTo>
                  <a:lnTo>
                    <a:pt x="365" y="383"/>
                  </a:lnTo>
                  <a:lnTo>
                    <a:pt x="367" y="391"/>
                  </a:lnTo>
                  <a:lnTo>
                    <a:pt x="367" y="391"/>
                  </a:lnTo>
                  <a:lnTo>
                    <a:pt x="372" y="393"/>
                  </a:lnTo>
                  <a:lnTo>
                    <a:pt x="376" y="395"/>
                  </a:lnTo>
                  <a:lnTo>
                    <a:pt x="388" y="397"/>
                  </a:lnTo>
                  <a:lnTo>
                    <a:pt x="388" y="397"/>
                  </a:lnTo>
                  <a:lnTo>
                    <a:pt x="399" y="397"/>
                  </a:lnTo>
                  <a:lnTo>
                    <a:pt x="399" y="397"/>
                  </a:lnTo>
                  <a:lnTo>
                    <a:pt x="411" y="395"/>
                  </a:lnTo>
                  <a:lnTo>
                    <a:pt x="411" y="449"/>
                  </a:lnTo>
                  <a:lnTo>
                    <a:pt x="411" y="449"/>
                  </a:lnTo>
                  <a:lnTo>
                    <a:pt x="386" y="456"/>
                  </a:lnTo>
                  <a:lnTo>
                    <a:pt x="386" y="456"/>
                  </a:lnTo>
                  <a:lnTo>
                    <a:pt x="361" y="458"/>
                  </a:lnTo>
                  <a:lnTo>
                    <a:pt x="361" y="458"/>
                  </a:lnTo>
                  <a:lnTo>
                    <a:pt x="344" y="456"/>
                  </a:lnTo>
                  <a:lnTo>
                    <a:pt x="328" y="449"/>
                  </a:lnTo>
                  <a:lnTo>
                    <a:pt x="315" y="441"/>
                  </a:lnTo>
                  <a:lnTo>
                    <a:pt x="307" y="431"/>
                  </a:lnTo>
                  <a:lnTo>
                    <a:pt x="307" y="431"/>
                  </a:lnTo>
                  <a:lnTo>
                    <a:pt x="299" y="412"/>
                  </a:lnTo>
                  <a:lnTo>
                    <a:pt x="295" y="389"/>
                  </a:lnTo>
                  <a:lnTo>
                    <a:pt x="295" y="389"/>
                  </a:lnTo>
                  <a:lnTo>
                    <a:pt x="282" y="404"/>
                  </a:lnTo>
                  <a:lnTo>
                    <a:pt x="266" y="416"/>
                  </a:lnTo>
                  <a:lnTo>
                    <a:pt x="249" y="429"/>
                  </a:lnTo>
                  <a:lnTo>
                    <a:pt x="230" y="441"/>
                  </a:lnTo>
                  <a:lnTo>
                    <a:pt x="230" y="441"/>
                  </a:lnTo>
                  <a:lnTo>
                    <a:pt x="207" y="449"/>
                  </a:lnTo>
                  <a:lnTo>
                    <a:pt x="185" y="458"/>
                  </a:lnTo>
                  <a:lnTo>
                    <a:pt x="162" y="462"/>
                  </a:lnTo>
                  <a:lnTo>
                    <a:pt x="137" y="462"/>
                  </a:lnTo>
                  <a:lnTo>
                    <a:pt x="137" y="462"/>
                  </a:lnTo>
                  <a:lnTo>
                    <a:pt x="108" y="460"/>
                  </a:lnTo>
                  <a:lnTo>
                    <a:pt x="95" y="458"/>
                  </a:lnTo>
                  <a:lnTo>
                    <a:pt x="81" y="454"/>
                  </a:lnTo>
                  <a:lnTo>
                    <a:pt x="70" y="447"/>
                  </a:lnTo>
                  <a:lnTo>
                    <a:pt x="58" y="441"/>
                  </a:lnTo>
                  <a:lnTo>
                    <a:pt x="47" y="435"/>
                  </a:lnTo>
                  <a:lnTo>
                    <a:pt x="37" y="424"/>
                  </a:lnTo>
                  <a:lnTo>
                    <a:pt x="37" y="424"/>
                  </a:lnTo>
                  <a:lnTo>
                    <a:pt x="29" y="416"/>
                  </a:lnTo>
                  <a:lnTo>
                    <a:pt x="21" y="406"/>
                  </a:lnTo>
                  <a:lnTo>
                    <a:pt x="14" y="395"/>
                  </a:lnTo>
                  <a:lnTo>
                    <a:pt x="8" y="383"/>
                  </a:lnTo>
                  <a:lnTo>
                    <a:pt x="4" y="372"/>
                  </a:lnTo>
                  <a:lnTo>
                    <a:pt x="2" y="360"/>
                  </a:lnTo>
                  <a:lnTo>
                    <a:pt x="0" y="347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0" y="319"/>
                  </a:lnTo>
                  <a:lnTo>
                    <a:pt x="2" y="304"/>
                  </a:lnTo>
                  <a:lnTo>
                    <a:pt x="4" y="291"/>
                  </a:lnTo>
                  <a:lnTo>
                    <a:pt x="8" y="279"/>
                  </a:lnTo>
                  <a:lnTo>
                    <a:pt x="14" y="269"/>
                  </a:lnTo>
                  <a:lnTo>
                    <a:pt x="21" y="258"/>
                  </a:lnTo>
                  <a:lnTo>
                    <a:pt x="29" y="248"/>
                  </a:lnTo>
                  <a:lnTo>
                    <a:pt x="37" y="239"/>
                  </a:lnTo>
                  <a:lnTo>
                    <a:pt x="37" y="239"/>
                  </a:lnTo>
                  <a:lnTo>
                    <a:pt x="58" y="223"/>
                  </a:lnTo>
                  <a:lnTo>
                    <a:pt x="81" y="213"/>
                  </a:lnTo>
                  <a:lnTo>
                    <a:pt x="108" y="204"/>
                  </a:lnTo>
                  <a:lnTo>
                    <a:pt x="137" y="198"/>
                  </a:lnTo>
                  <a:lnTo>
                    <a:pt x="253" y="183"/>
                  </a:lnTo>
                  <a:close/>
                  <a:moveTo>
                    <a:pt x="99" y="381"/>
                  </a:moveTo>
                  <a:lnTo>
                    <a:pt x="99" y="381"/>
                  </a:lnTo>
                  <a:lnTo>
                    <a:pt x="112" y="389"/>
                  </a:lnTo>
                  <a:lnTo>
                    <a:pt x="124" y="395"/>
                  </a:lnTo>
                  <a:lnTo>
                    <a:pt x="139" y="399"/>
                  </a:lnTo>
                  <a:lnTo>
                    <a:pt x="153" y="399"/>
                  </a:lnTo>
                  <a:lnTo>
                    <a:pt x="153" y="399"/>
                  </a:lnTo>
                  <a:lnTo>
                    <a:pt x="172" y="399"/>
                  </a:lnTo>
                  <a:lnTo>
                    <a:pt x="193" y="395"/>
                  </a:lnTo>
                  <a:lnTo>
                    <a:pt x="212" y="389"/>
                  </a:lnTo>
                  <a:lnTo>
                    <a:pt x="228" y="383"/>
                  </a:lnTo>
                  <a:lnTo>
                    <a:pt x="228" y="383"/>
                  </a:lnTo>
                  <a:lnTo>
                    <a:pt x="243" y="375"/>
                  </a:lnTo>
                  <a:lnTo>
                    <a:pt x="255" y="364"/>
                  </a:lnTo>
                  <a:lnTo>
                    <a:pt x="266" y="354"/>
                  </a:lnTo>
                  <a:lnTo>
                    <a:pt x="274" y="343"/>
                  </a:lnTo>
                  <a:lnTo>
                    <a:pt x="282" y="331"/>
                  </a:lnTo>
                  <a:lnTo>
                    <a:pt x="286" y="316"/>
                  </a:lnTo>
                  <a:lnTo>
                    <a:pt x="288" y="302"/>
                  </a:lnTo>
                  <a:lnTo>
                    <a:pt x="291" y="285"/>
                  </a:lnTo>
                  <a:lnTo>
                    <a:pt x="291" y="225"/>
                  </a:lnTo>
                  <a:lnTo>
                    <a:pt x="291" y="225"/>
                  </a:lnTo>
                  <a:lnTo>
                    <a:pt x="274" y="233"/>
                  </a:lnTo>
                  <a:lnTo>
                    <a:pt x="255" y="239"/>
                  </a:lnTo>
                  <a:lnTo>
                    <a:pt x="255" y="239"/>
                  </a:lnTo>
                  <a:lnTo>
                    <a:pt x="234" y="246"/>
                  </a:lnTo>
                  <a:lnTo>
                    <a:pt x="214" y="248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35" y="260"/>
                  </a:lnTo>
                  <a:lnTo>
                    <a:pt x="120" y="264"/>
                  </a:lnTo>
                  <a:lnTo>
                    <a:pt x="110" y="271"/>
                  </a:lnTo>
                  <a:lnTo>
                    <a:pt x="110" y="271"/>
                  </a:lnTo>
                  <a:lnTo>
                    <a:pt x="95" y="281"/>
                  </a:lnTo>
                  <a:lnTo>
                    <a:pt x="89" y="287"/>
                  </a:lnTo>
                  <a:lnTo>
                    <a:pt x="85" y="296"/>
                  </a:lnTo>
                  <a:lnTo>
                    <a:pt x="81" y="304"/>
                  </a:lnTo>
                  <a:lnTo>
                    <a:pt x="79" y="312"/>
                  </a:lnTo>
                  <a:lnTo>
                    <a:pt x="77" y="331"/>
                  </a:lnTo>
                  <a:lnTo>
                    <a:pt x="77" y="331"/>
                  </a:lnTo>
                  <a:lnTo>
                    <a:pt x="77" y="346"/>
                  </a:lnTo>
                  <a:lnTo>
                    <a:pt x="81" y="360"/>
                  </a:lnTo>
                  <a:lnTo>
                    <a:pt x="89" y="372"/>
                  </a:lnTo>
                  <a:lnTo>
                    <a:pt x="99" y="3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9" name="Freeform 66">
              <a:extLst>
                <a:ext uri="{FF2B5EF4-FFF2-40B4-BE49-F238E27FC236}">
                  <a16:creationId xmlns:a16="http://schemas.microsoft.com/office/drawing/2014/main" id="{4647E65F-26DB-7D47-8BFF-99C444F1BE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24925" y="3830638"/>
              <a:ext cx="26988" cy="215900"/>
            </a:xfrm>
            <a:custGeom>
              <a:avLst/>
              <a:gdLst>
                <a:gd name="T0" fmla="*/ 0 w 74"/>
                <a:gd name="T1" fmla="*/ 0 h 599"/>
                <a:gd name="T2" fmla="*/ 73 w 74"/>
                <a:gd name="T3" fmla="*/ 0 h 599"/>
                <a:gd name="T4" fmla="*/ 73 w 74"/>
                <a:gd name="T5" fmla="*/ 598 h 599"/>
                <a:gd name="T6" fmla="*/ 0 w 74"/>
                <a:gd name="T7" fmla="*/ 598 h 599"/>
                <a:gd name="T8" fmla="*/ 0 w 74"/>
                <a:gd name="T9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599">
                  <a:moveTo>
                    <a:pt x="0" y="0"/>
                  </a:moveTo>
                  <a:lnTo>
                    <a:pt x="73" y="0"/>
                  </a:lnTo>
                  <a:lnTo>
                    <a:pt x="73" y="598"/>
                  </a:lnTo>
                  <a:lnTo>
                    <a:pt x="0" y="598"/>
                  </a:ln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0" name="Freeform 67">
              <a:extLst>
                <a:ext uri="{FF2B5EF4-FFF2-40B4-BE49-F238E27FC236}">
                  <a16:creationId xmlns:a16="http://schemas.microsoft.com/office/drawing/2014/main" id="{A26C9721-0C81-8B4E-9E34-12FB24C799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7800" y="3824288"/>
              <a:ext cx="188913" cy="228600"/>
            </a:xfrm>
            <a:custGeom>
              <a:avLst/>
              <a:gdLst>
                <a:gd name="T0" fmla="*/ 465 w 526"/>
                <a:gd name="T1" fmla="*/ 75 h 633"/>
                <a:gd name="T2" fmla="*/ 498 w 526"/>
                <a:gd name="T3" fmla="*/ 125 h 633"/>
                <a:gd name="T4" fmla="*/ 517 w 526"/>
                <a:gd name="T5" fmla="*/ 177 h 633"/>
                <a:gd name="T6" fmla="*/ 440 w 526"/>
                <a:gd name="T7" fmla="*/ 195 h 633"/>
                <a:gd name="T8" fmla="*/ 405 w 526"/>
                <a:gd name="T9" fmla="*/ 123 h 633"/>
                <a:gd name="T10" fmla="*/ 376 w 526"/>
                <a:gd name="T11" fmla="*/ 96 h 633"/>
                <a:gd name="T12" fmla="*/ 340 w 526"/>
                <a:gd name="T13" fmla="*/ 79 h 633"/>
                <a:gd name="T14" fmla="*/ 276 w 526"/>
                <a:gd name="T15" fmla="*/ 71 h 633"/>
                <a:gd name="T16" fmla="*/ 216 w 526"/>
                <a:gd name="T17" fmla="*/ 79 h 633"/>
                <a:gd name="T18" fmla="*/ 164 w 526"/>
                <a:gd name="T19" fmla="*/ 106 h 633"/>
                <a:gd name="T20" fmla="*/ 137 w 526"/>
                <a:gd name="T21" fmla="*/ 133 h 633"/>
                <a:gd name="T22" fmla="*/ 104 w 526"/>
                <a:gd name="T23" fmla="*/ 189 h 633"/>
                <a:gd name="T24" fmla="*/ 85 w 526"/>
                <a:gd name="T25" fmla="*/ 264 h 633"/>
                <a:gd name="T26" fmla="*/ 83 w 526"/>
                <a:gd name="T27" fmla="*/ 324 h 633"/>
                <a:gd name="T28" fmla="*/ 89 w 526"/>
                <a:gd name="T29" fmla="*/ 397 h 633"/>
                <a:gd name="T30" fmla="*/ 110 w 526"/>
                <a:gd name="T31" fmla="*/ 459 h 633"/>
                <a:gd name="T32" fmla="*/ 131 w 526"/>
                <a:gd name="T33" fmla="*/ 495 h 633"/>
                <a:gd name="T34" fmla="*/ 174 w 526"/>
                <a:gd name="T35" fmla="*/ 534 h 633"/>
                <a:gd name="T36" fmla="*/ 230 w 526"/>
                <a:gd name="T37" fmla="*/ 555 h 633"/>
                <a:gd name="T38" fmla="*/ 274 w 526"/>
                <a:gd name="T39" fmla="*/ 559 h 633"/>
                <a:gd name="T40" fmla="*/ 334 w 526"/>
                <a:gd name="T41" fmla="*/ 551 h 633"/>
                <a:gd name="T42" fmla="*/ 384 w 526"/>
                <a:gd name="T43" fmla="*/ 522 h 633"/>
                <a:gd name="T44" fmla="*/ 409 w 526"/>
                <a:gd name="T45" fmla="*/ 491 h 633"/>
                <a:gd name="T46" fmla="*/ 438 w 526"/>
                <a:gd name="T47" fmla="*/ 424 h 633"/>
                <a:gd name="T48" fmla="*/ 525 w 526"/>
                <a:gd name="T49" fmla="*/ 395 h 633"/>
                <a:gd name="T50" fmla="*/ 511 w 526"/>
                <a:gd name="T51" fmla="*/ 462 h 633"/>
                <a:gd name="T52" fmla="*/ 482 w 526"/>
                <a:gd name="T53" fmla="*/ 520 h 633"/>
                <a:gd name="T54" fmla="*/ 455 w 526"/>
                <a:gd name="T55" fmla="*/ 555 h 633"/>
                <a:gd name="T56" fmla="*/ 394 w 526"/>
                <a:gd name="T57" fmla="*/ 601 h 633"/>
                <a:gd name="T58" fmla="*/ 322 w 526"/>
                <a:gd name="T59" fmla="*/ 626 h 633"/>
                <a:gd name="T60" fmla="*/ 266 w 526"/>
                <a:gd name="T61" fmla="*/ 632 h 633"/>
                <a:gd name="T62" fmla="*/ 193 w 526"/>
                <a:gd name="T63" fmla="*/ 622 h 633"/>
                <a:gd name="T64" fmla="*/ 129 w 526"/>
                <a:gd name="T65" fmla="*/ 597 h 633"/>
                <a:gd name="T66" fmla="*/ 91 w 526"/>
                <a:gd name="T67" fmla="*/ 567 h 633"/>
                <a:gd name="T68" fmla="*/ 35 w 526"/>
                <a:gd name="T69" fmla="*/ 493 h 633"/>
                <a:gd name="T70" fmla="*/ 6 w 526"/>
                <a:gd name="T71" fmla="*/ 391 h 633"/>
                <a:gd name="T72" fmla="*/ 0 w 526"/>
                <a:gd name="T73" fmla="*/ 310 h 633"/>
                <a:gd name="T74" fmla="*/ 8 w 526"/>
                <a:gd name="T75" fmla="*/ 216 h 633"/>
                <a:gd name="T76" fmla="*/ 39 w 526"/>
                <a:gd name="T77" fmla="*/ 137 h 633"/>
                <a:gd name="T78" fmla="*/ 68 w 526"/>
                <a:gd name="T79" fmla="*/ 91 h 633"/>
                <a:gd name="T80" fmla="*/ 133 w 526"/>
                <a:gd name="T81" fmla="*/ 35 h 633"/>
                <a:gd name="T82" fmla="*/ 214 w 526"/>
                <a:gd name="T83" fmla="*/ 6 h 633"/>
                <a:gd name="T84" fmla="*/ 276 w 526"/>
                <a:gd name="T85" fmla="*/ 0 h 633"/>
                <a:gd name="T86" fmla="*/ 353 w 526"/>
                <a:gd name="T87" fmla="*/ 8 h 633"/>
                <a:gd name="T88" fmla="*/ 415 w 526"/>
                <a:gd name="T89" fmla="*/ 33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6" h="633">
                  <a:moveTo>
                    <a:pt x="451" y="60"/>
                  </a:moveTo>
                  <a:lnTo>
                    <a:pt x="451" y="60"/>
                  </a:lnTo>
                  <a:lnTo>
                    <a:pt x="465" y="75"/>
                  </a:lnTo>
                  <a:lnTo>
                    <a:pt x="478" y="91"/>
                  </a:lnTo>
                  <a:lnTo>
                    <a:pt x="488" y="108"/>
                  </a:lnTo>
                  <a:lnTo>
                    <a:pt x="498" y="125"/>
                  </a:lnTo>
                  <a:lnTo>
                    <a:pt x="507" y="141"/>
                  </a:lnTo>
                  <a:lnTo>
                    <a:pt x="513" y="158"/>
                  </a:lnTo>
                  <a:lnTo>
                    <a:pt x="517" y="177"/>
                  </a:lnTo>
                  <a:lnTo>
                    <a:pt x="519" y="195"/>
                  </a:lnTo>
                  <a:lnTo>
                    <a:pt x="440" y="195"/>
                  </a:lnTo>
                  <a:lnTo>
                    <a:pt x="440" y="195"/>
                  </a:lnTo>
                  <a:lnTo>
                    <a:pt x="432" y="168"/>
                  </a:lnTo>
                  <a:lnTo>
                    <a:pt x="419" y="143"/>
                  </a:lnTo>
                  <a:lnTo>
                    <a:pt x="405" y="123"/>
                  </a:lnTo>
                  <a:lnTo>
                    <a:pt x="386" y="104"/>
                  </a:lnTo>
                  <a:lnTo>
                    <a:pt x="386" y="104"/>
                  </a:lnTo>
                  <a:lnTo>
                    <a:pt x="376" y="96"/>
                  </a:lnTo>
                  <a:lnTo>
                    <a:pt x="365" y="89"/>
                  </a:lnTo>
                  <a:lnTo>
                    <a:pt x="353" y="83"/>
                  </a:lnTo>
                  <a:lnTo>
                    <a:pt x="340" y="79"/>
                  </a:lnTo>
                  <a:lnTo>
                    <a:pt x="309" y="73"/>
                  </a:lnTo>
                  <a:lnTo>
                    <a:pt x="276" y="71"/>
                  </a:lnTo>
                  <a:lnTo>
                    <a:pt x="276" y="71"/>
                  </a:lnTo>
                  <a:lnTo>
                    <a:pt x="255" y="71"/>
                  </a:lnTo>
                  <a:lnTo>
                    <a:pt x="234" y="75"/>
                  </a:lnTo>
                  <a:lnTo>
                    <a:pt x="216" y="79"/>
                  </a:lnTo>
                  <a:lnTo>
                    <a:pt x="197" y="85"/>
                  </a:lnTo>
                  <a:lnTo>
                    <a:pt x="180" y="96"/>
                  </a:lnTo>
                  <a:lnTo>
                    <a:pt x="164" y="106"/>
                  </a:lnTo>
                  <a:lnTo>
                    <a:pt x="149" y="118"/>
                  </a:lnTo>
                  <a:lnTo>
                    <a:pt x="137" y="133"/>
                  </a:lnTo>
                  <a:lnTo>
                    <a:pt x="137" y="133"/>
                  </a:lnTo>
                  <a:lnTo>
                    <a:pt x="124" y="150"/>
                  </a:lnTo>
                  <a:lnTo>
                    <a:pt x="112" y="168"/>
                  </a:lnTo>
                  <a:lnTo>
                    <a:pt x="104" y="189"/>
                  </a:lnTo>
                  <a:lnTo>
                    <a:pt x="95" y="212"/>
                  </a:lnTo>
                  <a:lnTo>
                    <a:pt x="89" y="237"/>
                  </a:lnTo>
                  <a:lnTo>
                    <a:pt x="85" y="264"/>
                  </a:lnTo>
                  <a:lnTo>
                    <a:pt x="83" y="293"/>
                  </a:lnTo>
                  <a:lnTo>
                    <a:pt x="83" y="324"/>
                  </a:lnTo>
                  <a:lnTo>
                    <a:pt x="83" y="324"/>
                  </a:lnTo>
                  <a:lnTo>
                    <a:pt x="83" y="349"/>
                  </a:lnTo>
                  <a:lnTo>
                    <a:pt x="85" y="374"/>
                  </a:lnTo>
                  <a:lnTo>
                    <a:pt x="89" y="397"/>
                  </a:lnTo>
                  <a:lnTo>
                    <a:pt x="95" y="420"/>
                  </a:lnTo>
                  <a:lnTo>
                    <a:pt x="102" y="441"/>
                  </a:lnTo>
                  <a:lnTo>
                    <a:pt x="110" y="459"/>
                  </a:lnTo>
                  <a:lnTo>
                    <a:pt x="120" y="478"/>
                  </a:lnTo>
                  <a:lnTo>
                    <a:pt x="131" y="495"/>
                  </a:lnTo>
                  <a:lnTo>
                    <a:pt x="131" y="495"/>
                  </a:lnTo>
                  <a:lnTo>
                    <a:pt x="143" y="509"/>
                  </a:lnTo>
                  <a:lnTo>
                    <a:pt x="158" y="524"/>
                  </a:lnTo>
                  <a:lnTo>
                    <a:pt x="174" y="534"/>
                  </a:lnTo>
                  <a:lnTo>
                    <a:pt x="191" y="545"/>
                  </a:lnTo>
                  <a:lnTo>
                    <a:pt x="209" y="551"/>
                  </a:lnTo>
                  <a:lnTo>
                    <a:pt x="230" y="555"/>
                  </a:lnTo>
                  <a:lnTo>
                    <a:pt x="251" y="559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97" y="559"/>
                  </a:lnTo>
                  <a:lnTo>
                    <a:pt x="315" y="555"/>
                  </a:lnTo>
                  <a:lnTo>
                    <a:pt x="334" y="551"/>
                  </a:lnTo>
                  <a:lnTo>
                    <a:pt x="353" y="543"/>
                  </a:lnTo>
                  <a:lnTo>
                    <a:pt x="368" y="532"/>
                  </a:lnTo>
                  <a:lnTo>
                    <a:pt x="384" y="522"/>
                  </a:lnTo>
                  <a:lnTo>
                    <a:pt x="396" y="507"/>
                  </a:lnTo>
                  <a:lnTo>
                    <a:pt x="409" y="491"/>
                  </a:lnTo>
                  <a:lnTo>
                    <a:pt x="409" y="491"/>
                  </a:lnTo>
                  <a:lnTo>
                    <a:pt x="419" y="472"/>
                  </a:lnTo>
                  <a:lnTo>
                    <a:pt x="430" y="449"/>
                  </a:lnTo>
                  <a:lnTo>
                    <a:pt x="438" y="424"/>
                  </a:lnTo>
                  <a:lnTo>
                    <a:pt x="446" y="395"/>
                  </a:lnTo>
                  <a:lnTo>
                    <a:pt x="525" y="395"/>
                  </a:lnTo>
                  <a:lnTo>
                    <a:pt x="525" y="395"/>
                  </a:lnTo>
                  <a:lnTo>
                    <a:pt x="521" y="418"/>
                  </a:lnTo>
                  <a:lnTo>
                    <a:pt x="517" y="441"/>
                  </a:lnTo>
                  <a:lnTo>
                    <a:pt x="511" y="462"/>
                  </a:lnTo>
                  <a:lnTo>
                    <a:pt x="502" y="482"/>
                  </a:lnTo>
                  <a:lnTo>
                    <a:pt x="492" y="501"/>
                  </a:lnTo>
                  <a:lnTo>
                    <a:pt x="482" y="520"/>
                  </a:lnTo>
                  <a:lnTo>
                    <a:pt x="469" y="539"/>
                  </a:lnTo>
                  <a:lnTo>
                    <a:pt x="455" y="555"/>
                  </a:lnTo>
                  <a:lnTo>
                    <a:pt x="455" y="555"/>
                  </a:lnTo>
                  <a:lnTo>
                    <a:pt x="436" y="572"/>
                  </a:lnTo>
                  <a:lnTo>
                    <a:pt x="417" y="588"/>
                  </a:lnTo>
                  <a:lnTo>
                    <a:pt x="394" y="601"/>
                  </a:lnTo>
                  <a:lnTo>
                    <a:pt x="372" y="611"/>
                  </a:lnTo>
                  <a:lnTo>
                    <a:pt x="349" y="622"/>
                  </a:lnTo>
                  <a:lnTo>
                    <a:pt x="322" y="626"/>
                  </a:lnTo>
                  <a:lnTo>
                    <a:pt x="295" y="630"/>
                  </a:lnTo>
                  <a:lnTo>
                    <a:pt x="266" y="632"/>
                  </a:lnTo>
                  <a:lnTo>
                    <a:pt x="266" y="632"/>
                  </a:lnTo>
                  <a:lnTo>
                    <a:pt x="239" y="630"/>
                  </a:lnTo>
                  <a:lnTo>
                    <a:pt x="216" y="628"/>
                  </a:lnTo>
                  <a:lnTo>
                    <a:pt x="193" y="622"/>
                  </a:lnTo>
                  <a:lnTo>
                    <a:pt x="170" y="615"/>
                  </a:lnTo>
                  <a:lnTo>
                    <a:pt x="149" y="607"/>
                  </a:lnTo>
                  <a:lnTo>
                    <a:pt x="129" y="597"/>
                  </a:lnTo>
                  <a:lnTo>
                    <a:pt x="110" y="582"/>
                  </a:lnTo>
                  <a:lnTo>
                    <a:pt x="91" y="567"/>
                  </a:lnTo>
                  <a:lnTo>
                    <a:pt x="91" y="567"/>
                  </a:lnTo>
                  <a:lnTo>
                    <a:pt x="70" y="547"/>
                  </a:lnTo>
                  <a:lnTo>
                    <a:pt x="52" y="520"/>
                  </a:lnTo>
                  <a:lnTo>
                    <a:pt x="35" y="493"/>
                  </a:lnTo>
                  <a:lnTo>
                    <a:pt x="23" y="462"/>
                  </a:lnTo>
                  <a:lnTo>
                    <a:pt x="12" y="428"/>
                  </a:lnTo>
                  <a:lnTo>
                    <a:pt x="6" y="391"/>
                  </a:lnTo>
                  <a:lnTo>
                    <a:pt x="0" y="351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276"/>
                  </a:lnTo>
                  <a:lnTo>
                    <a:pt x="4" y="247"/>
                  </a:lnTo>
                  <a:lnTo>
                    <a:pt x="8" y="216"/>
                  </a:lnTo>
                  <a:lnTo>
                    <a:pt x="16" y="189"/>
                  </a:lnTo>
                  <a:lnTo>
                    <a:pt x="27" y="162"/>
                  </a:lnTo>
                  <a:lnTo>
                    <a:pt x="39" y="137"/>
                  </a:lnTo>
                  <a:lnTo>
                    <a:pt x="52" y="114"/>
                  </a:lnTo>
                  <a:lnTo>
                    <a:pt x="68" y="91"/>
                  </a:lnTo>
                  <a:lnTo>
                    <a:pt x="68" y="91"/>
                  </a:lnTo>
                  <a:lnTo>
                    <a:pt x="89" y="71"/>
                  </a:lnTo>
                  <a:lnTo>
                    <a:pt x="110" y="52"/>
                  </a:lnTo>
                  <a:lnTo>
                    <a:pt x="133" y="35"/>
                  </a:lnTo>
                  <a:lnTo>
                    <a:pt x="158" y="23"/>
                  </a:lnTo>
                  <a:lnTo>
                    <a:pt x="185" y="13"/>
                  </a:lnTo>
                  <a:lnTo>
                    <a:pt x="214" y="6"/>
                  </a:lnTo>
                  <a:lnTo>
                    <a:pt x="243" y="2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303" y="0"/>
                  </a:lnTo>
                  <a:lnTo>
                    <a:pt x="328" y="4"/>
                  </a:lnTo>
                  <a:lnTo>
                    <a:pt x="353" y="8"/>
                  </a:lnTo>
                  <a:lnTo>
                    <a:pt x="376" y="14"/>
                  </a:lnTo>
                  <a:lnTo>
                    <a:pt x="396" y="23"/>
                  </a:lnTo>
                  <a:lnTo>
                    <a:pt x="415" y="33"/>
                  </a:lnTo>
                  <a:lnTo>
                    <a:pt x="434" y="46"/>
                  </a:lnTo>
                  <a:lnTo>
                    <a:pt x="451" y="6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1" name="Freeform 68">
              <a:extLst>
                <a:ext uri="{FF2B5EF4-FFF2-40B4-BE49-F238E27FC236}">
                  <a16:creationId xmlns:a16="http://schemas.microsoft.com/office/drawing/2014/main" id="{39719848-A116-7A44-99B8-B7E3363512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83700" y="3884613"/>
              <a:ext cx="149225" cy="166687"/>
            </a:xfrm>
            <a:custGeom>
              <a:avLst/>
              <a:gdLst>
                <a:gd name="T0" fmla="*/ 266 w 413"/>
                <a:gd name="T1" fmla="*/ 181 h 463"/>
                <a:gd name="T2" fmla="*/ 287 w 413"/>
                <a:gd name="T3" fmla="*/ 163 h 463"/>
                <a:gd name="T4" fmla="*/ 293 w 413"/>
                <a:gd name="T5" fmla="*/ 133 h 463"/>
                <a:gd name="T6" fmla="*/ 285 w 413"/>
                <a:gd name="T7" fmla="*/ 100 h 463"/>
                <a:gd name="T8" fmla="*/ 266 w 413"/>
                <a:gd name="T9" fmla="*/ 79 h 463"/>
                <a:gd name="T10" fmla="*/ 212 w 413"/>
                <a:gd name="T11" fmla="*/ 63 h 463"/>
                <a:gd name="T12" fmla="*/ 162 w 413"/>
                <a:gd name="T13" fmla="*/ 65 h 463"/>
                <a:gd name="T14" fmla="*/ 123 w 413"/>
                <a:gd name="T15" fmla="*/ 79 h 463"/>
                <a:gd name="T16" fmla="*/ 108 w 413"/>
                <a:gd name="T17" fmla="*/ 94 h 463"/>
                <a:gd name="T18" fmla="*/ 94 w 413"/>
                <a:gd name="T19" fmla="*/ 129 h 463"/>
                <a:gd name="T20" fmla="*/ 23 w 413"/>
                <a:gd name="T21" fmla="*/ 144 h 463"/>
                <a:gd name="T22" fmla="*/ 31 w 413"/>
                <a:gd name="T23" fmla="*/ 90 h 463"/>
                <a:gd name="T24" fmla="*/ 52 w 413"/>
                <a:gd name="T25" fmla="*/ 50 h 463"/>
                <a:gd name="T26" fmla="*/ 75 w 413"/>
                <a:gd name="T27" fmla="*/ 31 h 463"/>
                <a:gd name="T28" fmla="*/ 158 w 413"/>
                <a:gd name="T29" fmla="*/ 3 h 463"/>
                <a:gd name="T30" fmla="*/ 229 w 413"/>
                <a:gd name="T31" fmla="*/ 3 h 463"/>
                <a:gd name="T32" fmla="*/ 316 w 413"/>
                <a:gd name="T33" fmla="*/ 29 h 463"/>
                <a:gd name="T34" fmla="*/ 337 w 413"/>
                <a:gd name="T35" fmla="*/ 46 h 463"/>
                <a:gd name="T36" fmla="*/ 358 w 413"/>
                <a:gd name="T37" fmla="*/ 79 h 463"/>
                <a:gd name="T38" fmla="*/ 364 w 413"/>
                <a:gd name="T39" fmla="*/ 121 h 463"/>
                <a:gd name="T40" fmla="*/ 366 w 413"/>
                <a:gd name="T41" fmla="*/ 383 h 463"/>
                <a:gd name="T42" fmla="*/ 372 w 413"/>
                <a:gd name="T43" fmla="*/ 393 h 463"/>
                <a:gd name="T44" fmla="*/ 389 w 413"/>
                <a:gd name="T45" fmla="*/ 397 h 463"/>
                <a:gd name="T46" fmla="*/ 412 w 413"/>
                <a:gd name="T47" fmla="*/ 395 h 463"/>
                <a:gd name="T48" fmla="*/ 387 w 413"/>
                <a:gd name="T49" fmla="*/ 456 h 463"/>
                <a:gd name="T50" fmla="*/ 362 w 413"/>
                <a:gd name="T51" fmla="*/ 458 h 463"/>
                <a:gd name="T52" fmla="*/ 316 w 413"/>
                <a:gd name="T53" fmla="*/ 441 h 463"/>
                <a:gd name="T54" fmla="*/ 299 w 413"/>
                <a:gd name="T55" fmla="*/ 412 h 463"/>
                <a:gd name="T56" fmla="*/ 281 w 413"/>
                <a:gd name="T57" fmla="*/ 404 h 463"/>
                <a:gd name="T58" fmla="*/ 229 w 413"/>
                <a:gd name="T59" fmla="*/ 441 h 463"/>
                <a:gd name="T60" fmla="*/ 185 w 413"/>
                <a:gd name="T61" fmla="*/ 458 h 463"/>
                <a:gd name="T62" fmla="*/ 137 w 413"/>
                <a:gd name="T63" fmla="*/ 462 h 463"/>
                <a:gd name="T64" fmla="*/ 81 w 413"/>
                <a:gd name="T65" fmla="*/ 454 h 463"/>
                <a:gd name="T66" fmla="*/ 48 w 413"/>
                <a:gd name="T67" fmla="*/ 435 h 463"/>
                <a:gd name="T68" fmla="*/ 29 w 413"/>
                <a:gd name="T69" fmla="*/ 416 h 463"/>
                <a:gd name="T70" fmla="*/ 8 w 413"/>
                <a:gd name="T71" fmla="*/ 383 h 463"/>
                <a:gd name="T72" fmla="*/ 0 w 413"/>
                <a:gd name="T73" fmla="*/ 347 h 463"/>
                <a:gd name="T74" fmla="*/ 0 w 413"/>
                <a:gd name="T75" fmla="*/ 319 h 463"/>
                <a:gd name="T76" fmla="*/ 8 w 413"/>
                <a:gd name="T77" fmla="*/ 279 h 463"/>
                <a:gd name="T78" fmla="*/ 29 w 413"/>
                <a:gd name="T79" fmla="*/ 248 h 463"/>
                <a:gd name="T80" fmla="*/ 58 w 413"/>
                <a:gd name="T81" fmla="*/ 223 h 463"/>
                <a:gd name="T82" fmla="*/ 137 w 413"/>
                <a:gd name="T83" fmla="*/ 198 h 463"/>
                <a:gd name="T84" fmla="*/ 100 w 413"/>
                <a:gd name="T85" fmla="*/ 381 h 463"/>
                <a:gd name="T86" fmla="*/ 139 w 413"/>
                <a:gd name="T87" fmla="*/ 399 h 463"/>
                <a:gd name="T88" fmla="*/ 173 w 413"/>
                <a:gd name="T89" fmla="*/ 399 h 463"/>
                <a:gd name="T90" fmla="*/ 229 w 413"/>
                <a:gd name="T91" fmla="*/ 383 h 463"/>
                <a:gd name="T92" fmla="*/ 256 w 413"/>
                <a:gd name="T93" fmla="*/ 364 h 463"/>
                <a:gd name="T94" fmla="*/ 283 w 413"/>
                <a:gd name="T95" fmla="*/ 331 h 463"/>
                <a:gd name="T96" fmla="*/ 291 w 413"/>
                <a:gd name="T97" fmla="*/ 285 h 463"/>
                <a:gd name="T98" fmla="*/ 274 w 413"/>
                <a:gd name="T99" fmla="*/ 233 h 463"/>
                <a:gd name="T100" fmla="*/ 235 w 413"/>
                <a:gd name="T101" fmla="*/ 246 h 463"/>
                <a:gd name="T102" fmla="*/ 171 w 413"/>
                <a:gd name="T103" fmla="*/ 254 h 463"/>
                <a:gd name="T104" fmla="*/ 110 w 413"/>
                <a:gd name="T105" fmla="*/ 271 h 463"/>
                <a:gd name="T106" fmla="*/ 90 w 413"/>
                <a:gd name="T107" fmla="*/ 287 h 463"/>
                <a:gd name="T108" fmla="*/ 77 w 413"/>
                <a:gd name="T109" fmla="*/ 312 h 463"/>
                <a:gd name="T110" fmla="*/ 77 w 413"/>
                <a:gd name="T111" fmla="*/ 346 h 463"/>
                <a:gd name="T112" fmla="*/ 100 w 413"/>
                <a:gd name="T113" fmla="*/ 381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3" h="463">
                  <a:moveTo>
                    <a:pt x="254" y="183"/>
                  </a:moveTo>
                  <a:lnTo>
                    <a:pt x="254" y="183"/>
                  </a:lnTo>
                  <a:lnTo>
                    <a:pt x="266" y="181"/>
                  </a:lnTo>
                  <a:lnTo>
                    <a:pt x="274" y="177"/>
                  </a:lnTo>
                  <a:lnTo>
                    <a:pt x="283" y="171"/>
                  </a:lnTo>
                  <a:lnTo>
                    <a:pt x="287" y="163"/>
                  </a:lnTo>
                  <a:lnTo>
                    <a:pt x="287" y="163"/>
                  </a:lnTo>
                  <a:lnTo>
                    <a:pt x="291" y="150"/>
                  </a:lnTo>
                  <a:lnTo>
                    <a:pt x="293" y="133"/>
                  </a:lnTo>
                  <a:lnTo>
                    <a:pt x="293" y="133"/>
                  </a:lnTo>
                  <a:lnTo>
                    <a:pt x="291" y="117"/>
                  </a:lnTo>
                  <a:lnTo>
                    <a:pt x="285" y="100"/>
                  </a:lnTo>
                  <a:lnTo>
                    <a:pt x="277" y="90"/>
                  </a:lnTo>
                  <a:lnTo>
                    <a:pt x="266" y="79"/>
                  </a:lnTo>
                  <a:lnTo>
                    <a:pt x="266" y="79"/>
                  </a:lnTo>
                  <a:lnTo>
                    <a:pt x="252" y="71"/>
                  </a:lnTo>
                  <a:lnTo>
                    <a:pt x="233" y="67"/>
                  </a:lnTo>
                  <a:lnTo>
                    <a:pt x="212" y="63"/>
                  </a:lnTo>
                  <a:lnTo>
                    <a:pt x="189" y="63"/>
                  </a:lnTo>
                  <a:lnTo>
                    <a:pt x="189" y="63"/>
                  </a:lnTo>
                  <a:lnTo>
                    <a:pt x="162" y="65"/>
                  </a:lnTo>
                  <a:lnTo>
                    <a:pt x="139" y="69"/>
                  </a:lnTo>
                  <a:lnTo>
                    <a:pt x="131" y="73"/>
                  </a:lnTo>
                  <a:lnTo>
                    <a:pt x="123" y="79"/>
                  </a:lnTo>
                  <a:lnTo>
                    <a:pt x="114" y="86"/>
                  </a:lnTo>
                  <a:lnTo>
                    <a:pt x="108" y="94"/>
                  </a:lnTo>
                  <a:lnTo>
                    <a:pt x="108" y="94"/>
                  </a:lnTo>
                  <a:lnTo>
                    <a:pt x="102" y="102"/>
                  </a:lnTo>
                  <a:lnTo>
                    <a:pt x="98" y="115"/>
                  </a:lnTo>
                  <a:lnTo>
                    <a:pt x="94" y="129"/>
                  </a:lnTo>
                  <a:lnTo>
                    <a:pt x="90" y="144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3" y="125"/>
                  </a:lnTo>
                  <a:lnTo>
                    <a:pt x="25" y="106"/>
                  </a:lnTo>
                  <a:lnTo>
                    <a:pt x="31" y="90"/>
                  </a:lnTo>
                  <a:lnTo>
                    <a:pt x="36" y="75"/>
                  </a:lnTo>
                  <a:lnTo>
                    <a:pt x="44" y="63"/>
                  </a:lnTo>
                  <a:lnTo>
                    <a:pt x="52" y="50"/>
                  </a:lnTo>
                  <a:lnTo>
                    <a:pt x="62" y="4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100" y="17"/>
                  </a:lnTo>
                  <a:lnTo>
                    <a:pt x="129" y="9"/>
                  </a:lnTo>
                  <a:lnTo>
                    <a:pt x="158" y="3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229" y="3"/>
                  </a:lnTo>
                  <a:lnTo>
                    <a:pt x="260" y="7"/>
                  </a:lnTo>
                  <a:lnTo>
                    <a:pt x="291" y="17"/>
                  </a:lnTo>
                  <a:lnTo>
                    <a:pt x="316" y="29"/>
                  </a:lnTo>
                  <a:lnTo>
                    <a:pt x="316" y="29"/>
                  </a:lnTo>
                  <a:lnTo>
                    <a:pt x="326" y="38"/>
                  </a:lnTo>
                  <a:lnTo>
                    <a:pt x="337" y="46"/>
                  </a:lnTo>
                  <a:lnTo>
                    <a:pt x="345" y="56"/>
                  </a:lnTo>
                  <a:lnTo>
                    <a:pt x="351" y="67"/>
                  </a:lnTo>
                  <a:lnTo>
                    <a:pt x="358" y="79"/>
                  </a:lnTo>
                  <a:lnTo>
                    <a:pt x="362" y="92"/>
                  </a:lnTo>
                  <a:lnTo>
                    <a:pt x="364" y="106"/>
                  </a:lnTo>
                  <a:lnTo>
                    <a:pt x="364" y="121"/>
                  </a:lnTo>
                  <a:lnTo>
                    <a:pt x="364" y="372"/>
                  </a:lnTo>
                  <a:lnTo>
                    <a:pt x="364" y="372"/>
                  </a:lnTo>
                  <a:lnTo>
                    <a:pt x="366" y="383"/>
                  </a:lnTo>
                  <a:lnTo>
                    <a:pt x="368" y="391"/>
                  </a:lnTo>
                  <a:lnTo>
                    <a:pt x="368" y="391"/>
                  </a:lnTo>
                  <a:lnTo>
                    <a:pt x="372" y="393"/>
                  </a:lnTo>
                  <a:lnTo>
                    <a:pt x="376" y="395"/>
                  </a:lnTo>
                  <a:lnTo>
                    <a:pt x="389" y="397"/>
                  </a:lnTo>
                  <a:lnTo>
                    <a:pt x="389" y="397"/>
                  </a:lnTo>
                  <a:lnTo>
                    <a:pt x="399" y="397"/>
                  </a:lnTo>
                  <a:lnTo>
                    <a:pt x="399" y="397"/>
                  </a:lnTo>
                  <a:lnTo>
                    <a:pt x="412" y="395"/>
                  </a:lnTo>
                  <a:lnTo>
                    <a:pt x="412" y="449"/>
                  </a:lnTo>
                  <a:lnTo>
                    <a:pt x="412" y="449"/>
                  </a:lnTo>
                  <a:lnTo>
                    <a:pt x="387" y="456"/>
                  </a:lnTo>
                  <a:lnTo>
                    <a:pt x="387" y="456"/>
                  </a:lnTo>
                  <a:lnTo>
                    <a:pt x="362" y="458"/>
                  </a:lnTo>
                  <a:lnTo>
                    <a:pt x="362" y="458"/>
                  </a:lnTo>
                  <a:lnTo>
                    <a:pt x="345" y="456"/>
                  </a:lnTo>
                  <a:lnTo>
                    <a:pt x="328" y="449"/>
                  </a:lnTo>
                  <a:lnTo>
                    <a:pt x="316" y="441"/>
                  </a:lnTo>
                  <a:lnTo>
                    <a:pt x="308" y="431"/>
                  </a:lnTo>
                  <a:lnTo>
                    <a:pt x="308" y="431"/>
                  </a:lnTo>
                  <a:lnTo>
                    <a:pt x="299" y="412"/>
                  </a:lnTo>
                  <a:lnTo>
                    <a:pt x="293" y="389"/>
                  </a:lnTo>
                  <a:lnTo>
                    <a:pt x="293" y="389"/>
                  </a:lnTo>
                  <a:lnTo>
                    <a:pt x="281" y="404"/>
                  </a:lnTo>
                  <a:lnTo>
                    <a:pt x="266" y="416"/>
                  </a:lnTo>
                  <a:lnTo>
                    <a:pt x="249" y="429"/>
                  </a:lnTo>
                  <a:lnTo>
                    <a:pt x="229" y="441"/>
                  </a:lnTo>
                  <a:lnTo>
                    <a:pt x="229" y="441"/>
                  </a:lnTo>
                  <a:lnTo>
                    <a:pt x="208" y="449"/>
                  </a:lnTo>
                  <a:lnTo>
                    <a:pt x="185" y="458"/>
                  </a:lnTo>
                  <a:lnTo>
                    <a:pt x="162" y="462"/>
                  </a:lnTo>
                  <a:lnTo>
                    <a:pt x="137" y="462"/>
                  </a:lnTo>
                  <a:lnTo>
                    <a:pt x="137" y="462"/>
                  </a:lnTo>
                  <a:lnTo>
                    <a:pt x="108" y="460"/>
                  </a:lnTo>
                  <a:lnTo>
                    <a:pt x="94" y="458"/>
                  </a:lnTo>
                  <a:lnTo>
                    <a:pt x="81" y="454"/>
                  </a:lnTo>
                  <a:lnTo>
                    <a:pt x="69" y="447"/>
                  </a:lnTo>
                  <a:lnTo>
                    <a:pt x="58" y="441"/>
                  </a:lnTo>
                  <a:lnTo>
                    <a:pt x="48" y="435"/>
                  </a:lnTo>
                  <a:lnTo>
                    <a:pt x="37" y="424"/>
                  </a:lnTo>
                  <a:lnTo>
                    <a:pt x="37" y="424"/>
                  </a:lnTo>
                  <a:lnTo>
                    <a:pt x="29" y="416"/>
                  </a:lnTo>
                  <a:lnTo>
                    <a:pt x="21" y="406"/>
                  </a:lnTo>
                  <a:lnTo>
                    <a:pt x="15" y="395"/>
                  </a:lnTo>
                  <a:lnTo>
                    <a:pt x="8" y="383"/>
                  </a:lnTo>
                  <a:lnTo>
                    <a:pt x="4" y="372"/>
                  </a:lnTo>
                  <a:lnTo>
                    <a:pt x="2" y="360"/>
                  </a:lnTo>
                  <a:lnTo>
                    <a:pt x="0" y="347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0" y="319"/>
                  </a:lnTo>
                  <a:lnTo>
                    <a:pt x="2" y="304"/>
                  </a:lnTo>
                  <a:lnTo>
                    <a:pt x="4" y="291"/>
                  </a:lnTo>
                  <a:lnTo>
                    <a:pt x="8" y="279"/>
                  </a:lnTo>
                  <a:lnTo>
                    <a:pt x="15" y="269"/>
                  </a:lnTo>
                  <a:lnTo>
                    <a:pt x="21" y="258"/>
                  </a:lnTo>
                  <a:lnTo>
                    <a:pt x="29" y="248"/>
                  </a:lnTo>
                  <a:lnTo>
                    <a:pt x="37" y="239"/>
                  </a:lnTo>
                  <a:lnTo>
                    <a:pt x="37" y="239"/>
                  </a:lnTo>
                  <a:lnTo>
                    <a:pt x="58" y="223"/>
                  </a:lnTo>
                  <a:lnTo>
                    <a:pt x="81" y="213"/>
                  </a:lnTo>
                  <a:lnTo>
                    <a:pt x="108" y="204"/>
                  </a:lnTo>
                  <a:lnTo>
                    <a:pt x="137" y="198"/>
                  </a:lnTo>
                  <a:lnTo>
                    <a:pt x="254" y="183"/>
                  </a:lnTo>
                  <a:close/>
                  <a:moveTo>
                    <a:pt x="100" y="381"/>
                  </a:moveTo>
                  <a:lnTo>
                    <a:pt x="100" y="381"/>
                  </a:lnTo>
                  <a:lnTo>
                    <a:pt x="110" y="389"/>
                  </a:lnTo>
                  <a:lnTo>
                    <a:pt x="125" y="395"/>
                  </a:lnTo>
                  <a:lnTo>
                    <a:pt x="139" y="399"/>
                  </a:lnTo>
                  <a:lnTo>
                    <a:pt x="154" y="399"/>
                  </a:lnTo>
                  <a:lnTo>
                    <a:pt x="154" y="399"/>
                  </a:lnTo>
                  <a:lnTo>
                    <a:pt x="173" y="399"/>
                  </a:lnTo>
                  <a:lnTo>
                    <a:pt x="191" y="395"/>
                  </a:lnTo>
                  <a:lnTo>
                    <a:pt x="210" y="389"/>
                  </a:lnTo>
                  <a:lnTo>
                    <a:pt x="229" y="383"/>
                  </a:lnTo>
                  <a:lnTo>
                    <a:pt x="229" y="383"/>
                  </a:lnTo>
                  <a:lnTo>
                    <a:pt x="243" y="375"/>
                  </a:lnTo>
                  <a:lnTo>
                    <a:pt x="256" y="364"/>
                  </a:lnTo>
                  <a:lnTo>
                    <a:pt x="266" y="354"/>
                  </a:lnTo>
                  <a:lnTo>
                    <a:pt x="274" y="343"/>
                  </a:lnTo>
                  <a:lnTo>
                    <a:pt x="283" y="331"/>
                  </a:lnTo>
                  <a:lnTo>
                    <a:pt x="287" y="316"/>
                  </a:lnTo>
                  <a:lnTo>
                    <a:pt x="289" y="302"/>
                  </a:lnTo>
                  <a:lnTo>
                    <a:pt x="291" y="285"/>
                  </a:lnTo>
                  <a:lnTo>
                    <a:pt x="291" y="225"/>
                  </a:lnTo>
                  <a:lnTo>
                    <a:pt x="291" y="225"/>
                  </a:lnTo>
                  <a:lnTo>
                    <a:pt x="274" y="233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35" y="246"/>
                  </a:lnTo>
                  <a:lnTo>
                    <a:pt x="214" y="248"/>
                  </a:lnTo>
                  <a:lnTo>
                    <a:pt x="171" y="254"/>
                  </a:lnTo>
                  <a:lnTo>
                    <a:pt x="171" y="254"/>
                  </a:lnTo>
                  <a:lnTo>
                    <a:pt x="135" y="260"/>
                  </a:lnTo>
                  <a:lnTo>
                    <a:pt x="121" y="264"/>
                  </a:lnTo>
                  <a:lnTo>
                    <a:pt x="110" y="271"/>
                  </a:lnTo>
                  <a:lnTo>
                    <a:pt x="110" y="271"/>
                  </a:lnTo>
                  <a:lnTo>
                    <a:pt x="96" y="281"/>
                  </a:lnTo>
                  <a:lnTo>
                    <a:pt x="90" y="287"/>
                  </a:lnTo>
                  <a:lnTo>
                    <a:pt x="85" y="296"/>
                  </a:lnTo>
                  <a:lnTo>
                    <a:pt x="81" y="304"/>
                  </a:lnTo>
                  <a:lnTo>
                    <a:pt x="77" y="312"/>
                  </a:lnTo>
                  <a:lnTo>
                    <a:pt x="75" y="331"/>
                  </a:lnTo>
                  <a:lnTo>
                    <a:pt x="75" y="331"/>
                  </a:lnTo>
                  <a:lnTo>
                    <a:pt x="77" y="346"/>
                  </a:lnTo>
                  <a:lnTo>
                    <a:pt x="81" y="360"/>
                  </a:lnTo>
                  <a:lnTo>
                    <a:pt x="90" y="372"/>
                  </a:lnTo>
                  <a:lnTo>
                    <a:pt x="100" y="3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2" name="Freeform 69">
              <a:extLst>
                <a:ext uri="{FF2B5EF4-FFF2-40B4-BE49-F238E27FC236}">
                  <a16:creationId xmlns:a16="http://schemas.microsoft.com/office/drawing/2014/main" id="{D58827BE-A87D-E045-973D-9B3C2521BF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58325" y="3884613"/>
              <a:ext cx="128588" cy="161925"/>
            </a:xfrm>
            <a:custGeom>
              <a:avLst/>
              <a:gdLst>
                <a:gd name="T0" fmla="*/ 0 w 357"/>
                <a:gd name="T1" fmla="*/ 11 h 448"/>
                <a:gd name="T2" fmla="*/ 69 w 357"/>
                <a:gd name="T3" fmla="*/ 11 h 448"/>
                <a:gd name="T4" fmla="*/ 69 w 357"/>
                <a:gd name="T5" fmla="*/ 73 h 448"/>
                <a:gd name="T6" fmla="*/ 69 w 357"/>
                <a:gd name="T7" fmla="*/ 73 h 448"/>
                <a:gd name="T8" fmla="*/ 85 w 357"/>
                <a:gd name="T9" fmla="*/ 54 h 448"/>
                <a:gd name="T10" fmla="*/ 102 w 357"/>
                <a:gd name="T11" fmla="*/ 40 h 448"/>
                <a:gd name="T12" fmla="*/ 119 w 357"/>
                <a:gd name="T13" fmla="*/ 27 h 448"/>
                <a:gd name="T14" fmla="*/ 135 w 357"/>
                <a:gd name="T15" fmla="*/ 17 h 448"/>
                <a:gd name="T16" fmla="*/ 135 w 357"/>
                <a:gd name="T17" fmla="*/ 17 h 448"/>
                <a:gd name="T18" fmla="*/ 154 w 357"/>
                <a:gd name="T19" fmla="*/ 11 h 448"/>
                <a:gd name="T20" fmla="*/ 173 w 357"/>
                <a:gd name="T21" fmla="*/ 5 h 448"/>
                <a:gd name="T22" fmla="*/ 191 w 357"/>
                <a:gd name="T23" fmla="*/ 3 h 448"/>
                <a:gd name="T24" fmla="*/ 212 w 357"/>
                <a:gd name="T25" fmla="*/ 0 h 448"/>
                <a:gd name="T26" fmla="*/ 212 w 357"/>
                <a:gd name="T27" fmla="*/ 0 h 448"/>
                <a:gd name="T28" fmla="*/ 235 w 357"/>
                <a:gd name="T29" fmla="*/ 3 h 448"/>
                <a:gd name="T30" fmla="*/ 256 w 357"/>
                <a:gd name="T31" fmla="*/ 5 h 448"/>
                <a:gd name="T32" fmla="*/ 274 w 357"/>
                <a:gd name="T33" fmla="*/ 11 h 448"/>
                <a:gd name="T34" fmla="*/ 291 w 357"/>
                <a:gd name="T35" fmla="*/ 17 h 448"/>
                <a:gd name="T36" fmla="*/ 306 w 357"/>
                <a:gd name="T37" fmla="*/ 25 h 448"/>
                <a:gd name="T38" fmla="*/ 318 w 357"/>
                <a:gd name="T39" fmla="*/ 38 h 448"/>
                <a:gd name="T40" fmla="*/ 328 w 357"/>
                <a:gd name="T41" fmla="*/ 50 h 448"/>
                <a:gd name="T42" fmla="*/ 339 w 357"/>
                <a:gd name="T43" fmla="*/ 65 h 448"/>
                <a:gd name="T44" fmla="*/ 339 w 357"/>
                <a:gd name="T45" fmla="*/ 65 h 448"/>
                <a:gd name="T46" fmla="*/ 345 w 357"/>
                <a:gd name="T47" fmla="*/ 86 h 448"/>
                <a:gd name="T48" fmla="*/ 351 w 357"/>
                <a:gd name="T49" fmla="*/ 108 h 448"/>
                <a:gd name="T50" fmla="*/ 356 w 357"/>
                <a:gd name="T51" fmla="*/ 136 h 448"/>
                <a:gd name="T52" fmla="*/ 356 w 357"/>
                <a:gd name="T53" fmla="*/ 167 h 448"/>
                <a:gd name="T54" fmla="*/ 356 w 357"/>
                <a:gd name="T55" fmla="*/ 447 h 448"/>
                <a:gd name="T56" fmla="*/ 281 w 357"/>
                <a:gd name="T57" fmla="*/ 447 h 448"/>
                <a:gd name="T58" fmla="*/ 281 w 357"/>
                <a:gd name="T59" fmla="*/ 173 h 448"/>
                <a:gd name="T60" fmla="*/ 281 w 357"/>
                <a:gd name="T61" fmla="*/ 173 h 448"/>
                <a:gd name="T62" fmla="*/ 281 w 357"/>
                <a:gd name="T63" fmla="*/ 152 h 448"/>
                <a:gd name="T64" fmla="*/ 279 w 357"/>
                <a:gd name="T65" fmla="*/ 136 h 448"/>
                <a:gd name="T66" fmla="*/ 274 w 357"/>
                <a:gd name="T67" fmla="*/ 121 h 448"/>
                <a:gd name="T68" fmla="*/ 270 w 357"/>
                <a:gd name="T69" fmla="*/ 108 h 448"/>
                <a:gd name="T70" fmla="*/ 270 w 357"/>
                <a:gd name="T71" fmla="*/ 108 h 448"/>
                <a:gd name="T72" fmla="*/ 264 w 357"/>
                <a:gd name="T73" fmla="*/ 98 h 448"/>
                <a:gd name="T74" fmla="*/ 258 w 357"/>
                <a:gd name="T75" fmla="*/ 90 h 448"/>
                <a:gd name="T76" fmla="*/ 250 w 357"/>
                <a:gd name="T77" fmla="*/ 84 h 448"/>
                <a:gd name="T78" fmla="*/ 241 w 357"/>
                <a:gd name="T79" fmla="*/ 77 h 448"/>
                <a:gd name="T80" fmla="*/ 233 w 357"/>
                <a:gd name="T81" fmla="*/ 73 h 448"/>
                <a:gd name="T82" fmla="*/ 222 w 357"/>
                <a:gd name="T83" fmla="*/ 69 h 448"/>
                <a:gd name="T84" fmla="*/ 210 w 357"/>
                <a:gd name="T85" fmla="*/ 67 h 448"/>
                <a:gd name="T86" fmla="*/ 200 w 357"/>
                <a:gd name="T87" fmla="*/ 67 h 448"/>
                <a:gd name="T88" fmla="*/ 200 w 357"/>
                <a:gd name="T89" fmla="*/ 67 h 448"/>
                <a:gd name="T90" fmla="*/ 175 w 357"/>
                <a:gd name="T91" fmla="*/ 69 h 448"/>
                <a:gd name="T92" fmla="*/ 156 w 357"/>
                <a:gd name="T93" fmla="*/ 73 h 448"/>
                <a:gd name="T94" fmla="*/ 156 w 357"/>
                <a:gd name="T95" fmla="*/ 73 h 448"/>
                <a:gd name="T96" fmla="*/ 142 w 357"/>
                <a:gd name="T97" fmla="*/ 77 h 448"/>
                <a:gd name="T98" fmla="*/ 127 w 357"/>
                <a:gd name="T99" fmla="*/ 86 h 448"/>
                <a:gd name="T100" fmla="*/ 115 w 357"/>
                <a:gd name="T101" fmla="*/ 96 h 448"/>
                <a:gd name="T102" fmla="*/ 102 w 357"/>
                <a:gd name="T103" fmla="*/ 108 h 448"/>
                <a:gd name="T104" fmla="*/ 102 w 357"/>
                <a:gd name="T105" fmla="*/ 108 h 448"/>
                <a:gd name="T106" fmla="*/ 94 w 357"/>
                <a:gd name="T107" fmla="*/ 119 h 448"/>
                <a:gd name="T108" fmla="*/ 87 w 357"/>
                <a:gd name="T109" fmla="*/ 129 h 448"/>
                <a:gd name="T110" fmla="*/ 83 w 357"/>
                <a:gd name="T111" fmla="*/ 142 h 448"/>
                <a:gd name="T112" fmla="*/ 79 w 357"/>
                <a:gd name="T113" fmla="*/ 152 h 448"/>
                <a:gd name="T114" fmla="*/ 79 w 357"/>
                <a:gd name="T115" fmla="*/ 152 h 448"/>
                <a:gd name="T116" fmla="*/ 75 w 357"/>
                <a:gd name="T117" fmla="*/ 181 h 448"/>
                <a:gd name="T118" fmla="*/ 73 w 357"/>
                <a:gd name="T119" fmla="*/ 219 h 448"/>
                <a:gd name="T120" fmla="*/ 73 w 357"/>
                <a:gd name="T121" fmla="*/ 447 h 448"/>
                <a:gd name="T122" fmla="*/ 0 w 357"/>
                <a:gd name="T123" fmla="*/ 447 h 448"/>
                <a:gd name="T124" fmla="*/ 0 w 357"/>
                <a:gd name="T125" fmla="*/ 1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" h="448">
                  <a:moveTo>
                    <a:pt x="0" y="11"/>
                  </a:moveTo>
                  <a:lnTo>
                    <a:pt x="69" y="11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85" y="54"/>
                  </a:lnTo>
                  <a:lnTo>
                    <a:pt x="102" y="40"/>
                  </a:lnTo>
                  <a:lnTo>
                    <a:pt x="119" y="2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54" y="11"/>
                  </a:lnTo>
                  <a:lnTo>
                    <a:pt x="173" y="5"/>
                  </a:lnTo>
                  <a:lnTo>
                    <a:pt x="191" y="3"/>
                  </a:lnTo>
                  <a:lnTo>
                    <a:pt x="212" y="0"/>
                  </a:lnTo>
                  <a:lnTo>
                    <a:pt x="212" y="0"/>
                  </a:lnTo>
                  <a:lnTo>
                    <a:pt x="235" y="3"/>
                  </a:lnTo>
                  <a:lnTo>
                    <a:pt x="256" y="5"/>
                  </a:lnTo>
                  <a:lnTo>
                    <a:pt x="274" y="11"/>
                  </a:lnTo>
                  <a:lnTo>
                    <a:pt x="291" y="17"/>
                  </a:lnTo>
                  <a:lnTo>
                    <a:pt x="306" y="25"/>
                  </a:lnTo>
                  <a:lnTo>
                    <a:pt x="318" y="38"/>
                  </a:lnTo>
                  <a:lnTo>
                    <a:pt x="328" y="50"/>
                  </a:lnTo>
                  <a:lnTo>
                    <a:pt x="339" y="65"/>
                  </a:lnTo>
                  <a:lnTo>
                    <a:pt x="339" y="65"/>
                  </a:lnTo>
                  <a:lnTo>
                    <a:pt x="345" y="86"/>
                  </a:lnTo>
                  <a:lnTo>
                    <a:pt x="351" y="108"/>
                  </a:lnTo>
                  <a:lnTo>
                    <a:pt x="356" y="136"/>
                  </a:lnTo>
                  <a:lnTo>
                    <a:pt x="356" y="167"/>
                  </a:lnTo>
                  <a:lnTo>
                    <a:pt x="356" y="447"/>
                  </a:lnTo>
                  <a:lnTo>
                    <a:pt x="281" y="447"/>
                  </a:lnTo>
                  <a:lnTo>
                    <a:pt x="281" y="173"/>
                  </a:lnTo>
                  <a:lnTo>
                    <a:pt x="281" y="173"/>
                  </a:lnTo>
                  <a:lnTo>
                    <a:pt x="281" y="152"/>
                  </a:lnTo>
                  <a:lnTo>
                    <a:pt x="279" y="136"/>
                  </a:lnTo>
                  <a:lnTo>
                    <a:pt x="274" y="121"/>
                  </a:lnTo>
                  <a:lnTo>
                    <a:pt x="270" y="108"/>
                  </a:lnTo>
                  <a:lnTo>
                    <a:pt x="270" y="108"/>
                  </a:lnTo>
                  <a:lnTo>
                    <a:pt x="264" y="98"/>
                  </a:lnTo>
                  <a:lnTo>
                    <a:pt x="258" y="90"/>
                  </a:lnTo>
                  <a:lnTo>
                    <a:pt x="250" y="84"/>
                  </a:lnTo>
                  <a:lnTo>
                    <a:pt x="241" y="77"/>
                  </a:lnTo>
                  <a:lnTo>
                    <a:pt x="233" y="73"/>
                  </a:lnTo>
                  <a:lnTo>
                    <a:pt x="222" y="69"/>
                  </a:lnTo>
                  <a:lnTo>
                    <a:pt x="210" y="67"/>
                  </a:lnTo>
                  <a:lnTo>
                    <a:pt x="200" y="67"/>
                  </a:lnTo>
                  <a:lnTo>
                    <a:pt x="200" y="67"/>
                  </a:lnTo>
                  <a:lnTo>
                    <a:pt x="175" y="69"/>
                  </a:lnTo>
                  <a:lnTo>
                    <a:pt x="156" y="73"/>
                  </a:lnTo>
                  <a:lnTo>
                    <a:pt x="156" y="73"/>
                  </a:lnTo>
                  <a:lnTo>
                    <a:pt x="142" y="77"/>
                  </a:lnTo>
                  <a:lnTo>
                    <a:pt x="127" y="86"/>
                  </a:lnTo>
                  <a:lnTo>
                    <a:pt x="115" y="96"/>
                  </a:lnTo>
                  <a:lnTo>
                    <a:pt x="102" y="108"/>
                  </a:lnTo>
                  <a:lnTo>
                    <a:pt x="102" y="108"/>
                  </a:lnTo>
                  <a:lnTo>
                    <a:pt x="94" y="119"/>
                  </a:lnTo>
                  <a:lnTo>
                    <a:pt x="87" y="129"/>
                  </a:lnTo>
                  <a:lnTo>
                    <a:pt x="83" y="142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75" y="181"/>
                  </a:lnTo>
                  <a:lnTo>
                    <a:pt x="73" y="219"/>
                  </a:lnTo>
                  <a:lnTo>
                    <a:pt x="73" y="447"/>
                  </a:lnTo>
                  <a:lnTo>
                    <a:pt x="0" y="447"/>
                  </a:lnTo>
                  <a:lnTo>
                    <a:pt x="0" y="1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3" name="Freeform 70">
              <a:extLst>
                <a:ext uri="{FF2B5EF4-FFF2-40B4-BE49-F238E27FC236}">
                  <a16:creationId xmlns:a16="http://schemas.microsoft.com/office/drawing/2014/main" id="{2E1E0CC4-4DFB-F845-B666-D66E5967A8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18663" y="3884613"/>
              <a:ext cx="149225" cy="166687"/>
            </a:xfrm>
            <a:custGeom>
              <a:avLst/>
              <a:gdLst>
                <a:gd name="T0" fmla="*/ 266 w 414"/>
                <a:gd name="T1" fmla="*/ 181 h 463"/>
                <a:gd name="T2" fmla="*/ 286 w 414"/>
                <a:gd name="T3" fmla="*/ 163 h 463"/>
                <a:gd name="T4" fmla="*/ 293 w 414"/>
                <a:gd name="T5" fmla="*/ 133 h 463"/>
                <a:gd name="T6" fmla="*/ 286 w 414"/>
                <a:gd name="T7" fmla="*/ 100 h 463"/>
                <a:gd name="T8" fmla="*/ 266 w 414"/>
                <a:gd name="T9" fmla="*/ 79 h 463"/>
                <a:gd name="T10" fmla="*/ 214 w 414"/>
                <a:gd name="T11" fmla="*/ 63 h 463"/>
                <a:gd name="T12" fmla="*/ 162 w 414"/>
                <a:gd name="T13" fmla="*/ 65 h 463"/>
                <a:gd name="T14" fmla="*/ 123 w 414"/>
                <a:gd name="T15" fmla="*/ 79 h 463"/>
                <a:gd name="T16" fmla="*/ 108 w 414"/>
                <a:gd name="T17" fmla="*/ 94 h 463"/>
                <a:gd name="T18" fmla="*/ 93 w 414"/>
                <a:gd name="T19" fmla="*/ 129 h 463"/>
                <a:gd name="T20" fmla="*/ 23 w 414"/>
                <a:gd name="T21" fmla="*/ 144 h 463"/>
                <a:gd name="T22" fmla="*/ 31 w 414"/>
                <a:gd name="T23" fmla="*/ 90 h 463"/>
                <a:gd name="T24" fmla="*/ 52 w 414"/>
                <a:gd name="T25" fmla="*/ 50 h 463"/>
                <a:gd name="T26" fmla="*/ 75 w 414"/>
                <a:gd name="T27" fmla="*/ 31 h 463"/>
                <a:gd name="T28" fmla="*/ 160 w 414"/>
                <a:gd name="T29" fmla="*/ 3 h 463"/>
                <a:gd name="T30" fmla="*/ 228 w 414"/>
                <a:gd name="T31" fmla="*/ 3 h 463"/>
                <a:gd name="T32" fmla="*/ 316 w 414"/>
                <a:gd name="T33" fmla="*/ 29 h 463"/>
                <a:gd name="T34" fmla="*/ 336 w 414"/>
                <a:gd name="T35" fmla="*/ 46 h 463"/>
                <a:gd name="T36" fmla="*/ 357 w 414"/>
                <a:gd name="T37" fmla="*/ 79 h 463"/>
                <a:gd name="T38" fmla="*/ 364 w 414"/>
                <a:gd name="T39" fmla="*/ 121 h 463"/>
                <a:gd name="T40" fmla="*/ 366 w 414"/>
                <a:gd name="T41" fmla="*/ 383 h 463"/>
                <a:gd name="T42" fmla="*/ 372 w 414"/>
                <a:gd name="T43" fmla="*/ 393 h 463"/>
                <a:gd name="T44" fmla="*/ 388 w 414"/>
                <a:gd name="T45" fmla="*/ 397 h 463"/>
                <a:gd name="T46" fmla="*/ 413 w 414"/>
                <a:gd name="T47" fmla="*/ 395 h 463"/>
                <a:gd name="T48" fmla="*/ 386 w 414"/>
                <a:gd name="T49" fmla="*/ 456 h 463"/>
                <a:gd name="T50" fmla="*/ 361 w 414"/>
                <a:gd name="T51" fmla="*/ 458 h 463"/>
                <a:gd name="T52" fmla="*/ 316 w 414"/>
                <a:gd name="T53" fmla="*/ 441 h 463"/>
                <a:gd name="T54" fmla="*/ 299 w 414"/>
                <a:gd name="T55" fmla="*/ 412 h 463"/>
                <a:gd name="T56" fmla="*/ 282 w 414"/>
                <a:gd name="T57" fmla="*/ 404 h 463"/>
                <a:gd name="T58" fmla="*/ 230 w 414"/>
                <a:gd name="T59" fmla="*/ 441 h 463"/>
                <a:gd name="T60" fmla="*/ 185 w 414"/>
                <a:gd name="T61" fmla="*/ 458 h 463"/>
                <a:gd name="T62" fmla="*/ 137 w 414"/>
                <a:gd name="T63" fmla="*/ 462 h 463"/>
                <a:gd name="T64" fmla="*/ 81 w 414"/>
                <a:gd name="T65" fmla="*/ 454 h 463"/>
                <a:gd name="T66" fmla="*/ 48 w 414"/>
                <a:gd name="T67" fmla="*/ 435 h 463"/>
                <a:gd name="T68" fmla="*/ 29 w 414"/>
                <a:gd name="T69" fmla="*/ 416 h 463"/>
                <a:gd name="T70" fmla="*/ 8 w 414"/>
                <a:gd name="T71" fmla="*/ 383 h 463"/>
                <a:gd name="T72" fmla="*/ 0 w 414"/>
                <a:gd name="T73" fmla="*/ 347 h 463"/>
                <a:gd name="T74" fmla="*/ 0 w 414"/>
                <a:gd name="T75" fmla="*/ 319 h 463"/>
                <a:gd name="T76" fmla="*/ 8 w 414"/>
                <a:gd name="T77" fmla="*/ 279 h 463"/>
                <a:gd name="T78" fmla="*/ 29 w 414"/>
                <a:gd name="T79" fmla="*/ 248 h 463"/>
                <a:gd name="T80" fmla="*/ 58 w 414"/>
                <a:gd name="T81" fmla="*/ 223 h 463"/>
                <a:gd name="T82" fmla="*/ 137 w 414"/>
                <a:gd name="T83" fmla="*/ 198 h 463"/>
                <a:gd name="T84" fmla="*/ 100 w 414"/>
                <a:gd name="T85" fmla="*/ 381 h 463"/>
                <a:gd name="T86" fmla="*/ 139 w 414"/>
                <a:gd name="T87" fmla="*/ 399 h 463"/>
                <a:gd name="T88" fmla="*/ 174 w 414"/>
                <a:gd name="T89" fmla="*/ 399 h 463"/>
                <a:gd name="T90" fmla="*/ 228 w 414"/>
                <a:gd name="T91" fmla="*/ 383 h 463"/>
                <a:gd name="T92" fmla="*/ 255 w 414"/>
                <a:gd name="T93" fmla="*/ 364 h 463"/>
                <a:gd name="T94" fmla="*/ 282 w 414"/>
                <a:gd name="T95" fmla="*/ 331 h 463"/>
                <a:gd name="T96" fmla="*/ 291 w 414"/>
                <a:gd name="T97" fmla="*/ 285 h 463"/>
                <a:gd name="T98" fmla="*/ 274 w 414"/>
                <a:gd name="T99" fmla="*/ 233 h 463"/>
                <a:gd name="T100" fmla="*/ 235 w 414"/>
                <a:gd name="T101" fmla="*/ 246 h 463"/>
                <a:gd name="T102" fmla="*/ 170 w 414"/>
                <a:gd name="T103" fmla="*/ 254 h 463"/>
                <a:gd name="T104" fmla="*/ 110 w 414"/>
                <a:gd name="T105" fmla="*/ 271 h 463"/>
                <a:gd name="T106" fmla="*/ 89 w 414"/>
                <a:gd name="T107" fmla="*/ 287 h 463"/>
                <a:gd name="T108" fmla="*/ 79 w 414"/>
                <a:gd name="T109" fmla="*/ 312 h 463"/>
                <a:gd name="T110" fmla="*/ 77 w 414"/>
                <a:gd name="T111" fmla="*/ 346 h 463"/>
                <a:gd name="T112" fmla="*/ 100 w 414"/>
                <a:gd name="T113" fmla="*/ 381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4" h="463">
                  <a:moveTo>
                    <a:pt x="253" y="183"/>
                  </a:moveTo>
                  <a:lnTo>
                    <a:pt x="253" y="183"/>
                  </a:lnTo>
                  <a:lnTo>
                    <a:pt x="266" y="181"/>
                  </a:lnTo>
                  <a:lnTo>
                    <a:pt x="274" y="177"/>
                  </a:lnTo>
                  <a:lnTo>
                    <a:pt x="282" y="171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91" y="150"/>
                  </a:lnTo>
                  <a:lnTo>
                    <a:pt x="293" y="133"/>
                  </a:lnTo>
                  <a:lnTo>
                    <a:pt x="293" y="133"/>
                  </a:lnTo>
                  <a:lnTo>
                    <a:pt x="291" y="117"/>
                  </a:lnTo>
                  <a:lnTo>
                    <a:pt x="286" y="100"/>
                  </a:lnTo>
                  <a:lnTo>
                    <a:pt x="278" y="90"/>
                  </a:lnTo>
                  <a:lnTo>
                    <a:pt x="266" y="79"/>
                  </a:lnTo>
                  <a:lnTo>
                    <a:pt x="266" y="79"/>
                  </a:lnTo>
                  <a:lnTo>
                    <a:pt x="251" y="71"/>
                  </a:lnTo>
                  <a:lnTo>
                    <a:pt x="233" y="67"/>
                  </a:lnTo>
                  <a:lnTo>
                    <a:pt x="214" y="63"/>
                  </a:lnTo>
                  <a:lnTo>
                    <a:pt x="189" y="63"/>
                  </a:lnTo>
                  <a:lnTo>
                    <a:pt x="189" y="63"/>
                  </a:lnTo>
                  <a:lnTo>
                    <a:pt x="162" y="65"/>
                  </a:lnTo>
                  <a:lnTo>
                    <a:pt x="141" y="69"/>
                  </a:lnTo>
                  <a:lnTo>
                    <a:pt x="131" y="73"/>
                  </a:lnTo>
                  <a:lnTo>
                    <a:pt x="123" y="79"/>
                  </a:lnTo>
                  <a:lnTo>
                    <a:pt x="114" y="86"/>
                  </a:lnTo>
                  <a:lnTo>
                    <a:pt x="108" y="94"/>
                  </a:lnTo>
                  <a:lnTo>
                    <a:pt x="108" y="94"/>
                  </a:lnTo>
                  <a:lnTo>
                    <a:pt x="102" y="102"/>
                  </a:lnTo>
                  <a:lnTo>
                    <a:pt x="98" y="115"/>
                  </a:lnTo>
                  <a:lnTo>
                    <a:pt x="93" y="129"/>
                  </a:lnTo>
                  <a:lnTo>
                    <a:pt x="91" y="144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3" y="125"/>
                  </a:lnTo>
                  <a:lnTo>
                    <a:pt x="27" y="106"/>
                  </a:lnTo>
                  <a:lnTo>
                    <a:pt x="31" y="90"/>
                  </a:lnTo>
                  <a:lnTo>
                    <a:pt x="35" y="75"/>
                  </a:lnTo>
                  <a:lnTo>
                    <a:pt x="43" y="63"/>
                  </a:lnTo>
                  <a:lnTo>
                    <a:pt x="52" y="50"/>
                  </a:lnTo>
                  <a:lnTo>
                    <a:pt x="62" y="4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100" y="17"/>
                  </a:lnTo>
                  <a:lnTo>
                    <a:pt x="129" y="9"/>
                  </a:lnTo>
                  <a:lnTo>
                    <a:pt x="160" y="3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228" y="3"/>
                  </a:lnTo>
                  <a:lnTo>
                    <a:pt x="262" y="7"/>
                  </a:lnTo>
                  <a:lnTo>
                    <a:pt x="291" y="17"/>
                  </a:lnTo>
                  <a:lnTo>
                    <a:pt x="316" y="29"/>
                  </a:lnTo>
                  <a:lnTo>
                    <a:pt x="316" y="29"/>
                  </a:lnTo>
                  <a:lnTo>
                    <a:pt x="328" y="38"/>
                  </a:lnTo>
                  <a:lnTo>
                    <a:pt x="336" y="46"/>
                  </a:lnTo>
                  <a:lnTo>
                    <a:pt x="345" y="56"/>
                  </a:lnTo>
                  <a:lnTo>
                    <a:pt x="351" y="67"/>
                  </a:lnTo>
                  <a:lnTo>
                    <a:pt x="357" y="79"/>
                  </a:lnTo>
                  <a:lnTo>
                    <a:pt x="361" y="92"/>
                  </a:lnTo>
                  <a:lnTo>
                    <a:pt x="364" y="106"/>
                  </a:lnTo>
                  <a:lnTo>
                    <a:pt x="364" y="121"/>
                  </a:lnTo>
                  <a:lnTo>
                    <a:pt x="364" y="372"/>
                  </a:lnTo>
                  <a:lnTo>
                    <a:pt x="364" y="372"/>
                  </a:lnTo>
                  <a:lnTo>
                    <a:pt x="366" y="383"/>
                  </a:lnTo>
                  <a:lnTo>
                    <a:pt x="368" y="391"/>
                  </a:lnTo>
                  <a:lnTo>
                    <a:pt x="368" y="391"/>
                  </a:lnTo>
                  <a:lnTo>
                    <a:pt x="372" y="393"/>
                  </a:lnTo>
                  <a:lnTo>
                    <a:pt x="376" y="395"/>
                  </a:lnTo>
                  <a:lnTo>
                    <a:pt x="388" y="397"/>
                  </a:lnTo>
                  <a:lnTo>
                    <a:pt x="388" y="397"/>
                  </a:lnTo>
                  <a:lnTo>
                    <a:pt x="399" y="397"/>
                  </a:lnTo>
                  <a:lnTo>
                    <a:pt x="399" y="397"/>
                  </a:lnTo>
                  <a:lnTo>
                    <a:pt x="413" y="395"/>
                  </a:lnTo>
                  <a:lnTo>
                    <a:pt x="413" y="449"/>
                  </a:lnTo>
                  <a:lnTo>
                    <a:pt x="413" y="449"/>
                  </a:lnTo>
                  <a:lnTo>
                    <a:pt x="386" y="456"/>
                  </a:lnTo>
                  <a:lnTo>
                    <a:pt x="386" y="456"/>
                  </a:lnTo>
                  <a:lnTo>
                    <a:pt x="361" y="458"/>
                  </a:lnTo>
                  <a:lnTo>
                    <a:pt x="361" y="458"/>
                  </a:lnTo>
                  <a:lnTo>
                    <a:pt x="345" y="456"/>
                  </a:lnTo>
                  <a:lnTo>
                    <a:pt x="328" y="449"/>
                  </a:lnTo>
                  <a:lnTo>
                    <a:pt x="316" y="441"/>
                  </a:lnTo>
                  <a:lnTo>
                    <a:pt x="307" y="431"/>
                  </a:lnTo>
                  <a:lnTo>
                    <a:pt x="307" y="431"/>
                  </a:lnTo>
                  <a:lnTo>
                    <a:pt x="299" y="412"/>
                  </a:lnTo>
                  <a:lnTo>
                    <a:pt x="295" y="389"/>
                  </a:lnTo>
                  <a:lnTo>
                    <a:pt x="295" y="389"/>
                  </a:lnTo>
                  <a:lnTo>
                    <a:pt x="282" y="404"/>
                  </a:lnTo>
                  <a:lnTo>
                    <a:pt x="266" y="416"/>
                  </a:lnTo>
                  <a:lnTo>
                    <a:pt x="249" y="429"/>
                  </a:lnTo>
                  <a:lnTo>
                    <a:pt x="230" y="441"/>
                  </a:lnTo>
                  <a:lnTo>
                    <a:pt x="230" y="441"/>
                  </a:lnTo>
                  <a:lnTo>
                    <a:pt x="208" y="449"/>
                  </a:lnTo>
                  <a:lnTo>
                    <a:pt x="185" y="458"/>
                  </a:lnTo>
                  <a:lnTo>
                    <a:pt x="162" y="462"/>
                  </a:lnTo>
                  <a:lnTo>
                    <a:pt x="137" y="462"/>
                  </a:lnTo>
                  <a:lnTo>
                    <a:pt x="137" y="462"/>
                  </a:lnTo>
                  <a:lnTo>
                    <a:pt x="108" y="460"/>
                  </a:lnTo>
                  <a:lnTo>
                    <a:pt x="95" y="458"/>
                  </a:lnTo>
                  <a:lnTo>
                    <a:pt x="81" y="454"/>
                  </a:lnTo>
                  <a:lnTo>
                    <a:pt x="70" y="447"/>
                  </a:lnTo>
                  <a:lnTo>
                    <a:pt x="58" y="441"/>
                  </a:lnTo>
                  <a:lnTo>
                    <a:pt x="48" y="435"/>
                  </a:lnTo>
                  <a:lnTo>
                    <a:pt x="37" y="424"/>
                  </a:lnTo>
                  <a:lnTo>
                    <a:pt x="37" y="424"/>
                  </a:lnTo>
                  <a:lnTo>
                    <a:pt x="29" y="416"/>
                  </a:lnTo>
                  <a:lnTo>
                    <a:pt x="21" y="406"/>
                  </a:lnTo>
                  <a:lnTo>
                    <a:pt x="14" y="395"/>
                  </a:lnTo>
                  <a:lnTo>
                    <a:pt x="8" y="383"/>
                  </a:lnTo>
                  <a:lnTo>
                    <a:pt x="4" y="372"/>
                  </a:lnTo>
                  <a:lnTo>
                    <a:pt x="2" y="360"/>
                  </a:lnTo>
                  <a:lnTo>
                    <a:pt x="0" y="347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0" y="319"/>
                  </a:lnTo>
                  <a:lnTo>
                    <a:pt x="2" y="304"/>
                  </a:lnTo>
                  <a:lnTo>
                    <a:pt x="4" y="291"/>
                  </a:lnTo>
                  <a:lnTo>
                    <a:pt x="8" y="279"/>
                  </a:lnTo>
                  <a:lnTo>
                    <a:pt x="14" y="269"/>
                  </a:lnTo>
                  <a:lnTo>
                    <a:pt x="21" y="258"/>
                  </a:lnTo>
                  <a:lnTo>
                    <a:pt x="29" y="248"/>
                  </a:lnTo>
                  <a:lnTo>
                    <a:pt x="37" y="239"/>
                  </a:lnTo>
                  <a:lnTo>
                    <a:pt x="37" y="239"/>
                  </a:lnTo>
                  <a:lnTo>
                    <a:pt x="58" y="223"/>
                  </a:lnTo>
                  <a:lnTo>
                    <a:pt x="81" y="213"/>
                  </a:lnTo>
                  <a:lnTo>
                    <a:pt x="108" y="204"/>
                  </a:lnTo>
                  <a:lnTo>
                    <a:pt x="137" y="198"/>
                  </a:lnTo>
                  <a:lnTo>
                    <a:pt x="253" y="183"/>
                  </a:lnTo>
                  <a:close/>
                  <a:moveTo>
                    <a:pt x="100" y="381"/>
                  </a:moveTo>
                  <a:lnTo>
                    <a:pt x="100" y="381"/>
                  </a:lnTo>
                  <a:lnTo>
                    <a:pt x="112" y="389"/>
                  </a:lnTo>
                  <a:lnTo>
                    <a:pt x="124" y="395"/>
                  </a:lnTo>
                  <a:lnTo>
                    <a:pt x="139" y="399"/>
                  </a:lnTo>
                  <a:lnTo>
                    <a:pt x="154" y="399"/>
                  </a:lnTo>
                  <a:lnTo>
                    <a:pt x="154" y="399"/>
                  </a:lnTo>
                  <a:lnTo>
                    <a:pt x="174" y="399"/>
                  </a:lnTo>
                  <a:lnTo>
                    <a:pt x="193" y="395"/>
                  </a:lnTo>
                  <a:lnTo>
                    <a:pt x="212" y="389"/>
                  </a:lnTo>
                  <a:lnTo>
                    <a:pt x="228" y="383"/>
                  </a:lnTo>
                  <a:lnTo>
                    <a:pt x="228" y="383"/>
                  </a:lnTo>
                  <a:lnTo>
                    <a:pt x="243" y="375"/>
                  </a:lnTo>
                  <a:lnTo>
                    <a:pt x="255" y="364"/>
                  </a:lnTo>
                  <a:lnTo>
                    <a:pt x="266" y="354"/>
                  </a:lnTo>
                  <a:lnTo>
                    <a:pt x="274" y="343"/>
                  </a:lnTo>
                  <a:lnTo>
                    <a:pt x="282" y="331"/>
                  </a:lnTo>
                  <a:lnTo>
                    <a:pt x="286" y="316"/>
                  </a:lnTo>
                  <a:lnTo>
                    <a:pt x="289" y="302"/>
                  </a:lnTo>
                  <a:lnTo>
                    <a:pt x="291" y="285"/>
                  </a:lnTo>
                  <a:lnTo>
                    <a:pt x="291" y="225"/>
                  </a:lnTo>
                  <a:lnTo>
                    <a:pt x="291" y="225"/>
                  </a:lnTo>
                  <a:lnTo>
                    <a:pt x="274" y="233"/>
                  </a:lnTo>
                  <a:lnTo>
                    <a:pt x="255" y="239"/>
                  </a:lnTo>
                  <a:lnTo>
                    <a:pt x="255" y="239"/>
                  </a:lnTo>
                  <a:lnTo>
                    <a:pt x="235" y="246"/>
                  </a:lnTo>
                  <a:lnTo>
                    <a:pt x="214" y="248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35" y="260"/>
                  </a:lnTo>
                  <a:lnTo>
                    <a:pt x="120" y="264"/>
                  </a:lnTo>
                  <a:lnTo>
                    <a:pt x="110" y="271"/>
                  </a:lnTo>
                  <a:lnTo>
                    <a:pt x="110" y="271"/>
                  </a:lnTo>
                  <a:lnTo>
                    <a:pt x="95" y="281"/>
                  </a:lnTo>
                  <a:lnTo>
                    <a:pt x="89" y="287"/>
                  </a:lnTo>
                  <a:lnTo>
                    <a:pt x="85" y="296"/>
                  </a:lnTo>
                  <a:lnTo>
                    <a:pt x="81" y="304"/>
                  </a:lnTo>
                  <a:lnTo>
                    <a:pt x="79" y="312"/>
                  </a:lnTo>
                  <a:lnTo>
                    <a:pt x="77" y="331"/>
                  </a:lnTo>
                  <a:lnTo>
                    <a:pt x="77" y="331"/>
                  </a:lnTo>
                  <a:lnTo>
                    <a:pt x="77" y="346"/>
                  </a:lnTo>
                  <a:lnTo>
                    <a:pt x="81" y="360"/>
                  </a:lnTo>
                  <a:lnTo>
                    <a:pt x="89" y="372"/>
                  </a:lnTo>
                  <a:lnTo>
                    <a:pt x="100" y="3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4" name="Freeform 71">
              <a:extLst>
                <a:ext uri="{FF2B5EF4-FFF2-40B4-BE49-F238E27FC236}">
                  <a16:creationId xmlns:a16="http://schemas.microsoft.com/office/drawing/2014/main" id="{39197F38-525F-1942-B2CF-8DBA0332DC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2175" y="3829050"/>
              <a:ext cx="139700" cy="222250"/>
            </a:xfrm>
            <a:custGeom>
              <a:avLst/>
              <a:gdLst>
                <a:gd name="T0" fmla="*/ 272 w 387"/>
                <a:gd name="T1" fmla="*/ 177 h 619"/>
                <a:gd name="T2" fmla="*/ 293 w 387"/>
                <a:gd name="T3" fmla="*/ 194 h 619"/>
                <a:gd name="T4" fmla="*/ 316 w 387"/>
                <a:gd name="T5" fmla="*/ 0 h 619"/>
                <a:gd name="T6" fmla="*/ 386 w 387"/>
                <a:gd name="T7" fmla="*/ 601 h 619"/>
                <a:gd name="T8" fmla="*/ 320 w 387"/>
                <a:gd name="T9" fmla="*/ 541 h 619"/>
                <a:gd name="T10" fmla="*/ 307 w 387"/>
                <a:gd name="T11" fmla="*/ 560 h 619"/>
                <a:gd name="T12" fmla="*/ 276 w 387"/>
                <a:gd name="T13" fmla="*/ 589 h 619"/>
                <a:gd name="T14" fmla="*/ 260 w 387"/>
                <a:gd name="T15" fmla="*/ 599 h 619"/>
                <a:gd name="T16" fmla="*/ 222 w 387"/>
                <a:gd name="T17" fmla="*/ 612 h 619"/>
                <a:gd name="T18" fmla="*/ 179 w 387"/>
                <a:gd name="T19" fmla="*/ 618 h 619"/>
                <a:gd name="T20" fmla="*/ 162 w 387"/>
                <a:gd name="T21" fmla="*/ 616 h 619"/>
                <a:gd name="T22" fmla="*/ 127 w 387"/>
                <a:gd name="T23" fmla="*/ 608 h 619"/>
                <a:gd name="T24" fmla="*/ 95 w 387"/>
                <a:gd name="T25" fmla="*/ 593 h 619"/>
                <a:gd name="T26" fmla="*/ 66 w 387"/>
                <a:gd name="T27" fmla="*/ 570 h 619"/>
                <a:gd name="T28" fmla="*/ 54 w 387"/>
                <a:gd name="T29" fmla="*/ 556 h 619"/>
                <a:gd name="T30" fmla="*/ 31 w 387"/>
                <a:gd name="T31" fmla="*/ 522 h 619"/>
                <a:gd name="T32" fmla="*/ 14 w 387"/>
                <a:gd name="T33" fmla="*/ 485 h 619"/>
                <a:gd name="T34" fmla="*/ 4 w 387"/>
                <a:gd name="T35" fmla="*/ 441 h 619"/>
                <a:gd name="T36" fmla="*/ 0 w 387"/>
                <a:gd name="T37" fmla="*/ 391 h 619"/>
                <a:gd name="T38" fmla="*/ 2 w 387"/>
                <a:gd name="T39" fmla="*/ 368 h 619"/>
                <a:gd name="T40" fmla="*/ 6 w 387"/>
                <a:gd name="T41" fmla="*/ 325 h 619"/>
                <a:gd name="T42" fmla="*/ 18 w 387"/>
                <a:gd name="T43" fmla="*/ 283 h 619"/>
                <a:gd name="T44" fmla="*/ 37 w 387"/>
                <a:gd name="T45" fmla="*/ 244 h 619"/>
                <a:gd name="T46" fmla="*/ 50 w 387"/>
                <a:gd name="T47" fmla="*/ 227 h 619"/>
                <a:gd name="T48" fmla="*/ 75 w 387"/>
                <a:gd name="T49" fmla="*/ 196 h 619"/>
                <a:gd name="T50" fmla="*/ 108 w 387"/>
                <a:gd name="T51" fmla="*/ 175 h 619"/>
                <a:gd name="T52" fmla="*/ 145 w 387"/>
                <a:gd name="T53" fmla="*/ 161 h 619"/>
                <a:gd name="T54" fmla="*/ 187 w 387"/>
                <a:gd name="T55" fmla="*/ 157 h 619"/>
                <a:gd name="T56" fmla="*/ 212 w 387"/>
                <a:gd name="T57" fmla="*/ 159 h 619"/>
                <a:gd name="T58" fmla="*/ 253 w 387"/>
                <a:gd name="T59" fmla="*/ 169 h 619"/>
                <a:gd name="T60" fmla="*/ 108 w 387"/>
                <a:gd name="T61" fmla="*/ 506 h 619"/>
                <a:gd name="T62" fmla="*/ 116 w 387"/>
                <a:gd name="T63" fmla="*/ 516 h 619"/>
                <a:gd name="T64" fmla="*/ 135 w 387"/>
                <a:gd name="T65" fmla="*/ 535 h 619"/>
                <a:gd name="T66" fmla="*/ 158 w 387"/>
                <a:gd name="T67" fmla="*/ 547 h 619"/>
                <a:gd name="T68" fmla="*/ 187 w 387"/>
                <a:gd name="T69" fmla="*/ 551 h 619"/>
                <a:gd name="T70" fmla="*/ 201 w 387"/>
                <a:gd name="T71" fmla="*/ 553 h 619"/>
                <a:gd name="T72" fmla="*/ 226 w 387"/>
                <a:gd name="T73" fmla="*/ 549 h 619"/>
                <a:gd name="T74" fmla="*/ 249 w 387"/>
                <a:gd name="T75" fmla="*/ 541 h 619"/>
                <a:gd name="T76" fmla="*/ 268 w 387"/>
                <a:gd name="T77" fmla="*/ 529 h 619"/>
                <a:gd name="T78" fmla="*/ 286 w 387"/>
                <a:gd name="T79" fmla="*/ 510 h 619"/>
                <a:gd name="T80" fmla="*/ 293 w 387"/>
                <a:gd name="T81" fmla="*/ 497 h 619"/>
                <a:gd name="T82" fmla="*/ 305 w 387"/>
                <a:gd name="T83" fmla="*/ 470 h 619"/>
                <a:gd name="T84" fmla="*/ 316 w 387"/>
                <a:gd name="T85" fmla="*/ 423 h 619"/>
                <a:gd name="T86" fmla="*/ 318 w 387"/>
                <a:gd name="T87" fmla="*/ 383 h 619"/>
                <a:gd name="T88" fmla="*/ 314 w 387"/>
                <a:gd name="T89" fmla="*/ 327 h 619"/>
                <a:gd name="T90" fmla="*/ 305 w 387"/>
                <a:gd name="T91" fmla="*/ 296 h 619"/>
                <a:gd name="T92" fmla="*/ 293 w 387"/>
                <a:gd name="T93" fmla="*/ 271 h 619"/>
                <a:gd name="T94" fmla="*/ 284 w 387"/>
                <a:gd name="T95" fmla="*/ 260 h 619"/>
                <a:gd name="T96" fmla="*/ 257 w 387"/>
                <a:gd name="T97" fmla="*/ 235 h 619"/>
                <a:gd name="T98" fmla="*/ 237 w 387"/>
                <a:gd name="T99" fmla="*/ 227 h 619"/>
                <a:gd name="T100" fmla="*/ 214 w 387"/>
                <a:gd name="T101" fmla="*/ 221 h 619"/>
                <a:gd name="T102" fmla="*/ 201 w 387"/>
                <a:gd name="T103" fmla="*/ 221 h 619"/>
                <a:gd name="T104" fmla="*/ 174 w 387"/>
                <a:gd name="T105" fmla="*/ 223 h 619"/>
                <a:gd name="T106" fmla="*/ 151 w 387"/>
                <a:gd name="T107" fmla="*/ 231 h 619"/>
                <a:gd name="T108" fmla="*/ 131 w 387"/>
                <a:gd name="T109" fmla="*/ 244 h 619"/>
                <a:gd name="T110" fmla="*/ 112 w 387"/>
                <a:gd name="T111" fmla="*/ 262 h 619"/>
                <a:gd name="T112" fmla="*/ 104 w 387"/>
                <a:gd name="T113" fmla="*/ 275 h 619"/>
                <a:gd name="T114" fmla="*/ 91 w 387"/>
                <a:gd name="T115" fmla="*/ 300 h 619"/>
                <a:gd name="T116" fmla="*/ 83 w 387"/>
                <a:gd name="T117" fmla="*/ 331 h 619"/>
                <a:gd name="T118" fmla="*/ 77 w 387"/>
                <a:gd name="T119" fmla="*/ 387 h 619"/>
                <a:gd name="T120" fmla="*/ 79 w 387"/>
                <a:gd name="T121" fmla="*/ 423 h 619"/>
                <a:gd name="T122" fmla="*/ 93 w 387"/>
                <a:gd name="T123" fmla="*/ 481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7" h="619">
                  <a:moveTo>
                    <a:pt x="272" y="177"/>
                  </a:moveTo>
                  <a:lnTo>
                    <a:pt x="272" y="177"/>
                  </a:lnTo>
                  <a:lnTo>
                    <a:pt x="280" y="185"/>
                  </a:lnTo>
                  <a:lnTo>
                    <a:pt x="293" y="194"/>
                  </a:lnTo>
                  <a:lnTo>
                    <a:pt x="316" y="221"/>
                  </a:lnTo>
                  <a:lnTo>
                    <a:pt x="316" y="0"/>
                  </a:lnTo>
                  <a:lnTo>
                    <a:pt x="386" y="0"/>
                  </a:lnTo>
                  <a:lnTo>
                    <a:pt x="386" y="601"/>
                  </a:lnTo>
                  <a:lnTo>
                    <a:pt x="320" y="601"/>
                  </a:lnTo>
                  <a:lnTo>
                    <a:pt x="320" y="541"/>
                  </a:lnTo>
                  <a:lnTo>
                    <a:pt x="320" y="541"/>
                  </a:lnTo>
                  <a:lnTo>
                    <a:pt x="307" y="560"/>
                  </a:lnTo>
                  <a:lnTo>
                    <a:pt x="293" y="576"/>
                  </a:lnTo>
                  <a:lnTo>
                    <a:pt x="276" y="589"/>
                  </a:lnTo>
                  <a:lnTo>
                    <a:pt x="260" y="599"/>
                  </a:lnTo>
                  <a:lnTo>
                    <a:pt x="260" y="599"/>
                  </a:lnTo>
                  <a:lnTo>
                    <a:pt x="241" y="608"/>
                  </a:lnTo>
                  <a:lnTo>
                    <a:pt x="222" y="612"/>
                  </a:lnTo>
                  <a:lnTo>
                    <a:pt x="201" y="616"/>
                  </a:lnTo>
                  <a:lnTo>
                    <a:pt x="179" y="618"/>
                  </a:lnTo>
                  <a:lnTo>
                    <a:pt x="179" y="618"/>
                  </a:lnTo>
                  <a:lnTo>
                    <a:pt x="162" y="616"/>
                  </a:lnTo>
                  <a:lnTo>
                    <a:pt x="143" y="614"/>
                  </a:lnTo>
                  <a:lnTo>
                    <a:pt x="127" y="608"/>
                  </a:lnTo>
                  <a:lnTo>
                    <a:pt x="112" y="601"/>
                  </a:lnTo>
                  <a:lnTo>
                    <a:pt x="95" y="593"/>
                  </a:lnTo>
                  <a:lnTo>
                    <a:pt x="81" y="583"/>
                  </a:lnTo>
                  <a:lnTo>
                    <a:pt x="66" y="570"/>
                  </a:lnTo>
                  <a:lnTo>
                    <a:pt x="54" y="556"/>
                  </a:lnTo>
                  <a:lnTo>
                    <a:pt x="54" y="556"/>
                  </a:lnTo>
                  <a:lnTo>
                    <a:pt x="41" y="539"/>
                  </a:lnTo>
                  <a:lnTo>
                    <a:pt x="31" y="522"/>
                  </a:lnTo>
                  <a:lnTo>
                    <a:pt x="21" y="504"/>
                  </a:lnTo>
                  <a:lnTo>
                    <a:pt x="14" y="485"/>
                  </a:lnTo>
                  <a:lnTo>
                    <a:pt x="8" y="462"/>
                  </a:lnTo>
                  <a:lnTo>
                    <a:pt x="4" y="441"/>
                  </a:lnTo>
                  <a:lnTo>
                    <a:pt x="2" y="416"/>
                  </a:lnTo>
                  <a:lnTo>
                    <a:pt x="0" y="391"/>
                  </a:lnTo>
                  <a:lnTo>
                    <a:pt x="0" y="391"/>
                  </a:lnTo>
                  <a:lnTo>
                    <a:pt x="2" y="368"/>
                  </a:lnTo>
                  <a:lnTo>
                    <a:pt x="4" y="346"/>
                  </a:lnTo>
                  <a:lnTo>
                    <a:pt x="6" y="325"/>
                  </a:lnTo>
                  <a:lnTo>
                    <a:pt x="12" y="304"/>
                  </a:lnTo>
                  <a:lnTo>
                    <a:pt x="18" y="283"/>
                  </a:lnTo>
                  <a:lnTo>
                    <a:pt x="27" y="262"/>
                  </a:lnTo>
                  <a:lnTo>
                    <a:pt x="37" y="244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62" y="210"/>
                  </a:lnTo>
                  <a:lnTo>
                    <a:pt x="75" y="196"/>
                  </a:lnTo>
                  <a:lnTo>
                    <a:pt x="91" y="183"/>
                  </a:lnTo>
                  <a:lnTo>
                    <a:pt x="108" y="175"/>
                  </a:lnTo>
                  <a:lnTo>
                    <a:pt x="127" y="167"/>
                  </a:lnTo>
                  <a:lnTo>
                    <a:pt x="145" y="161"/>
                  </a:lnTo>
                  <a:lnTo>
                    <a:pt x="166" y="159"/>
                  </a:lnTo>
                  <a:lnTo>
                    <a:pt x="187" y="157"/>
                  </a:lnTo>
                  <a:lnTo>
                    <a:pt x="187" y="157"/>
                  </a:lnTo>
                  <a:lnTo>
                    <a:pt x="212" y="159"/>
                  </a:lnTo>
                  <a:lnTo>
                    <a:pt x="233" y="163"/>
                  </a:lnTo>
                  <a:lnTo>
                    <a:pt x="253" y="169"/>
                  </a:lnTo>
                  <a:lnTo>
                    <a:pt x="272" y="177"/>
                  </a:lnTo>
                  <a:close/>
                  <a:moveTo>
                    <a:pt x="108" y="506"/>
                  </a:moveTo>
                  <a:lnTo>
                    <a:pt x="108" y="506"/>
                  </a:lnTo>
                  <a:lnTo>
                    <a:pt x="116" y="516"/>
                  </a:lnTo>
                  <a:lnTo>
                    <a:pt x="124" y="526"/>
                  </a:lnTo>
                  <a:lnTo>
                    <a:pt x="135" y="535"/>
                  </a:lnTo>
                  <a:lnTo>
                    <a:pt x="145" y="541"/>
                  </a:lnTo>
                  <a:lnTo>
                    <a:pt x="158" y="547"/>
                  </a:lnTo>
                  <a:lnTo>
                    <a:pt x="172" y="549"/>
                  </a:lnTo>
                  <a:lnTo>
                    <a:pt x="187" y="551"/>
                  </a:lnTo>
                  <a:lnTo>
                    <a:pt x="201" y="553"/>
                  </a:lnTo>
                  <a:lnTo>
                    <a:pt x="201" y="553"/>
                  </a:lnTo>
                  <a:lnTo>
                    <a:pt x="214" y="551"/>
                  </a:lnTo>
                  <a:lnTo>
                    <a:pt x="226" y="549"/>
                  </a:lnTo>
                  <a:lnTo>
                    <a:pt x="237" y="547"/>
                  </a:lnTo>
                  <a:lnTo>
                    <a:pt x="249" y="541"/>
                  </a:lnTo>
                  <a:lnTo>
                    <a:pt x="260" y="537"/>
                  </a:lnTo>
                  <a:lnTo>
                    <a:pt x="268" y="529"/>
                  </a:lnTo>
                  <a:lnTo>
                    <a:pt x="276" y="520"/>
                  </a:lnTo>
                  <a:lnTo>
                    <a:pt x="286" y="510"/>
                  </a:lnTo>
                  <a:lnTo>
                    <a:pt x="286" y="510"/>
                  </a:lnTo>
                  <a:lnTo>
                    <a:pt x="293" y="497"/>
                  </a:lnTo>
                  <a:lnTo>
                    <a:pt x="299" y="485"/>
                  </a:lnTo>
                  <a:lnTo>
                    <a:pt x="305" y="470"/>
                  </a:lnTo>
                  <a:lnTo>
                    <a:pt x="309" y="456"/>
                  </a:lnTo>
                  <a:lnTo>
                    <a:pt x="316" y="423"/>
                  </a:lnTo>
                  <a:lnTo>
                    <a:pt x="318" y="383"/>
                  </a:lnTo>
                  <a:lnTo>
                    <a:pt x="318" y="383"/>
                  </a:lnTo>
                  <a:lnTo>
                    <a:pt x="316" y="343"/>
                  </a:lnTo>
                  <a:lnTo>
                    <a:pt x="314" y="327"/>
                  </a:lnTo>
                  <a:lnTo>
                    <a:pt x="309" y="310"/>
                  </a:lnTo>
                  <a:lnTo>
                    <a:pt x="305" y="296"/>
                  </a:lnTo>
                  <a:lnTo>
                    <a:pt x="299" y="283"/>
                  </a:lnTo>
                  <a:lnTo>
                    <a:pt x="293" y="271"/>
                  </a:lnTo>
                  <a:lnTo>
                    <a:pt x="284" y="260"/>
                  </a:lnTo>
                  <a:lnTo>
                    <a:pt x="284" y="260"/>
                  </a:lnTo>
                  <a:lnTo>
                    <a:pt x="266" y="244"/>
                  </a:lnTo>
                  <a:lnTo>
                    <a:pt x="257" y="235"/>
                  </a:lnTo>
                  <a:lnTo>
                    <a:pt x="247" y="231"/>
                  </a:lnTo>
                  <a:lnTo>
                    <a:pt x="237" y="227"/>
                  </a:lnTo>
                  <a:lnTo>
                    <a:pt x="224" y="223"/>
                  </a:lnTo>
                  <a:lnTo>
                    <a:pt x="214" y="221"/>
                  </a:lnTo>
                  <a:lnTo>
                    <a:pt x="201" y="221"/>
                  </a:lnTo>
                  <a:lnTo>
                    <a:pt x="201" y="221"/>
                  </a:lnTo>
                  <a:lnTo>
                    <a:pt x="189" y="221"/>
                  </a:lnTo>
                  <a:lnTo>
                    <a:pt x="174" y="223"/>
                  </a:lnTo>
                  <a:lnTo>
                    <a:pt x="164" y="227"/>
                  </a:lnTo>
                  <a:lnTo>
                    <a:pt x="151" y="231"/>
                  </a:lnTo>
                  <a:lnTo>
                    <a:pt x="141" y="238"/>
                  </a:lnTo>
                  <a:lnTo>
                    <a:pt x="131" y="244"/>
                  </a:lnTo>
                  <a:lnTo>
                    <a:pt x="120" y="254"/>
                  </a:lnTo>
                  <a:lnTo>
                    <a:pt x="112" y="262"/>
                  </a:lnTo>
                  <a:lnTo>
                    <a:pt x="112" y="262"/>
                  </a:lnTo>
                  <a:lnTo>
                    <a:pt x="104" y="275"/>
                  </a:lnTo>
                  <a:lnTo>
                    <a:pt x="98" y="287"/>
                  </a:lnTo>
                  <a:lnTo>
                    <a:pt x="91" y="300"/>
                  </a:lnTo>
                  <a:lnTo>
                    <a:pt x="87" y="317"/>
                  </a:lnTo>
                  <a:lnTo>
                    <a:pt x="83" y="331"/>
                  </a:lnTo>
                  <a:lnTo>
                    <a:pt x="79" y="350"/>
                  </a:lnTo>
                  <a:lnTo>
                    <a:pt x="77" y="387"/>
                  </a:lnTo>
                  <a:lnTo>
                    <a:pt x="77" y="387"/>
                  </a:lnTo>
                  <a:lnTo>
                    <a:pt x="79" y="423"/>
                  </a:lnTo>
                  <a:lnTo>
                    <a:pt x="85" y="452"/>
                  </a:lnTo>
                  <a:lnTo>
                    <a:pt x="93" y="481"/>
                  </a:lnTo>
                  <a:lnTo>
                    <a:pt x="108" y="50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5" name="Freeform 72">
              <a:extLst>
                <a:ext uri="{FF2B5EF4-FFF2-40B4-BE49-F238E27FC236}">
                  <a16:creationId xmlns:a16="http://schemas.microsoft.com/office/drawing/2014/main" id="{50E3E5E4-3AC0-864A-BD52-15FB6BE173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53625" y="3884613"/>
              <a:ext cx="149225" cy="166687"/>
            </a:xfrm>
            <a:custGeom>
              <a:avLst/>
              <a:gdLst>
                <a:gd name="T0" fmla="*/ 266 w 414"/>
                <a:gd name="T1" fmla="*/ 181 h 463"/>
                <a:gd name="T2" fmla="*/ 288 w 414"/>
                <a:gd name="T3" fmla="*/ 163 h 463"/>
                <a:gd name="T4" fmla="*/ 292 w 414"/>
                <a:gd name="T5" fmla="*/ 133 h 463"/>
                <a:gd name="T6" fmla="*/ 286 w 414"/>
                <a:gd name="T7" fmla="*/ 100 h 463"/>
                <a:gd name="T8" fmla="*/ 266 w 414"/>
                <a:gd name="T9" fmla="*/ 79 h 463"/>
                <a:gd name="T10" fmla="*/ 213 w 414"/>
                <a:gd name="T11" fmla="*/ 63 h 463"/>
                <a:gd name="T12" fmla="*/ 164 w 414"/>
                <a:gd name="T13" fmla="*/ 65 h 463"/>
                <a:gd name="T14" fmla="*/ 122 w 414"/>
                <a:gd name="T15" fmla="*/ 79 h 463"/>
                <a:gd name="T16" fmla="*/ 107 w 414"/>
                <a:gd name="T17" fmla="*/ 94 h 463"/>
                <a:gd name="T18" fmla="*/ 93 w 414"/>
                <a:gd name="T19" fmla="*/ 129 h 463"/>
                <a:gd name="T20" fmla="*/ 22 w 414"/>
                <a:gd name="T21" fmla="*/ 144 h 463"/>
                <a:gd name="T22" fmla="*/ 31 w 414"/>
                <a:gd name="T23" fmla="*/ 90 h 463"/>
                <a:gd name="T24" fmla="*/ 51 w 414"/>
                <a:gd name="T25" fmla="*/ 50 h 463"/>
                <a:gd name="T26" fmla="*/ 74 w 414"/>
                <a:gd name="T27" fmla="*/ 31 h 463"/>
                <a:gd name="T28" fmla="*/ 160 w 414"/>
                <a:gd name="T29" fmla="*/ 3 h 463"/>
                <a:gd name="T30" fmla="*/ 228 w 414"/>
                <a:gd name="T31" fmla="*/ 3 h 463"/>
                <a:gd name="T32" fmla="*/ 315 w 414"/>
                <a:gd name="T33" fmla="*/ 29 h 463"/>
                <a:gd name="T34" fmla="*/ 336 w 414"/>
                <a:gd name="T35" fmla="*/ 46 h 463"/>
                <a:gd name="T36" fmla="*/ 357 w 414"/>
                <a:gd name="T37" fmla="*/ 79 h 463"/>
                <a:gd name="T38" fmla="*/ 363 w 414"/>
                <a:gd name="T39" fmla="*/ 121 h 463"/>
                <a:gd name="T40" fmla="*/ 365 w 414"/>
                <a:gd name="T41" fmla="*/ 383 h 463"/>
                <a:gd name="T42" fmla="*/ 372 w 414"/>
                <a:gd name="T43" fmla="*/ 393 h 463"/>
                <a:gd name="T44" fmla="*/ 388 w 414"/>
                <a:gd name="T45" fmla="*/ 397 h 463"/>
                <a:gd name="T46" fmla="*/ 413 w 414"/>
                <a:gd name="T47" fmla="*/ 395 h 463"/>
                <a:gd name="T48" fmla="*/ 386 w 414"/>
                <a:gd name="T49" fmla="*/ 456 h 463"/>
                <a:gd name="T50" fmla="*/ 361 w 414"/>
                <a:gd name="T51" fmla="*/ 458 h 463"/>
                <a:gd name="T52" fmla="*/ 317 w 414"/>
                <a:gd name="T53" fmla="*/ 441 h 463"/>
                <a:gd name="T54" fmla="*/ 299 w 414"/>
                <a:gd name="T55" fmla="*/ 412 h 463"/>
                <a:gd name="T56" fmla="*/ 282 w 414"/>
                <a:gd name="T57" fmla="*/ 404 h 463"/>
                <a:gd name="T58" fmla="*/ 230 w 414"/>
                <a:gd name="T59" fmla="*/ 441 h 463"/>
                <a:gd name="T60" fmla="*/ 185 w 414"/>
                <a:gd name="T61" fmla="*/ 458 h 463"/>
                <a:gd name="T62" fmla="*/ 137 w 414"/>
                <a:gd name="T63" fmla="*/ 462 h 463"/>
                <a:gd name="T64" fmla="*/ 83 w 414"/>
                <a:gd name="T65" fmla="*/ 454 h 463"/>
                <a:gd name="T66" fmla="*/ 47 w 414"/>
                <a:gd name="T67" fmla="*/ 435 h 463"/>
                <a:gd name="T68" fmla="*/ 29 w 414"/>
                <a:gd name="T69" fmla="*/ 416 h 463"/>
                <a:gd name="T70" fmla="*/ 8 w 414"/>
                <a:gd name="T71" fmla="*/ 383 h 463"/>
                <a:gd name="T72" fmla="*/ 0 w 414"/>
                <a:gd name="T73" fmla="*/ 347 h 463"/>
                <a:gd name="T74" fmla="*/ 0 w 414"/>
                <a:gd name="T75" fmla="*/ 319 h 463"/>
                <a:gd name="T76" fmla="*/ 8 w 414"/>
                <a:gd name="T77" fmla="*/ 279 h 463"/>
                <a:gd name="T78" fmla="*/ 29 w 414"/>
                <a:gd name="T79" fmla="*/ 248 h 463"/>
                <a:gd name="T80" fmla="*/ 58 w 414"/>
                <a:gd name="T81" fmla="*/ 223 h 463"/>
                <a:gd name="T82" fmla="*/ 137 w 414"/>
                <a:gd name="T83" fmla="*/ 198 h 463"/>
                <a:gd name="T84" fmla="*/ 99 w 414"/>
                <a:gd name="T85" fmla="*/ 381 h 463"/>
                <a:gd name="T86" fmla="*/ 139 w 414"/>
                <a:gd name="T87" fmla="*/ 399 h 463"/>
                <a:gd name="T88" fmla="*/ 174 w 414"/>
                <a:gd name="T89" fmla="*/ 399 h 463"/>
                <a:gd name="T90" fmla="*/ 230 w 414"/>
                <a:gd name="T91" fmla="*/ 383 h 463"/>
                <a:gd name="T92" fmla="*/ 255 w 414"/>
                <a:gd name="T93" fmla="*/ 364 h 463"/>
                <a:gd name="T94" fmla="*/ 282 w 414"/>
                <a:gd name="T95" fmla="*/ 331 h 463"/>
                <a:gd name="T96" fmla="*/ 291 w 414"/>
                <a:gd name="T97" fmla="*/ 285 h 463"/>
                <a:gd name="T98" fmla="*/ 276 w 414"/>
                <a:gd name="T99" fmla="*/ 233 h 463"/>
                <a:gd name="T100" fmla="*/ 234 w 414"/>
                <a:gd name="T101" fmla="*/ 246 h 463"/>
                <a:gd name="T102" fmla="*/ 170 w 414"/>
                <a:gd name="T103" fmla="*/ 254 h 463"/>
                <a:gd name="T104" fmla="*/ 110 w 414"/>
                <a:gd name="T105" fmla="*/ 271 h 463"/>
                <a:gd name="T106" fmla="*/ 89 w 414"/>
                <a:gd name="T107" fmla="*/ 287 h 463"/>
                <a:gd name="T108" fmla="*/ 79 w 414"/>
                <a:gd name="T109" fmla="*/ 312 h 463"/>
                <a:gd name="T110" fmla="*/ 76 w 414"/>
                <a:gd name="T111" fmla="*/ 346 h 463"/>
                <a:gd name="T112" fmla="*/ 99 w 414"/>
                <a:gd name="T113" fmla="*/ 381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4" h="463">
                  <a:moveTo>
                    <a:pt x="253" y="183"/>
                  </a:moveTo>
                  <a:lnTo>
                    <a:pt x="253" y="183"/>
                  </a:lnTo>
                  <a:lnTo>
                    <a:pt x="266" y="181"/>
                  </a:lnTo>
                  <a:lnTo>
                    <a:pt x="274" y="177"/>
                  </a:lnTo>
                  <a:lnTo>
                    <a:pt x="282" y="171"/>
                  </a:lnTo>
                  <a:lnTo>
                    <a:pt x="288" y="163"/>
                  </a:lnTo>
                  <a:lnTo>
                    <a:pt x="288" y="163"/>
                  </a:lnTo>
                  <a:lnTo>
                    <a:pt x="291" y="150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1" y="117"/>
                  </a:lnTo>
                  <a:lnTo>
                    <a:pt x="286" y="100"/>
                  </a:lnTo>
                  <a:lnTo>
                    <a:pt x="278" y="90"/>
                  </a:lnTo>
                  <a:lnTo>
                    <a:pt x="266" y="79"/>
                  </a:lnTo>
                  <a:lnTo>
                    <a:pt x="266" y="79"/>
                  </a:lnTo>
                  <a:lnTo>
                    <a:pt x="251" y="71"/>
                  </a:lnTo>
                  <a:lnTo>
                    <a:pt x="234" y="67"/>
                  </a:lnTo>
                  <a:lnTo>
                    <a:pt x="213" y="63"/>
                  </a:lnTo>
                  <a:lnTo>
                    <a:pt x="189" y="63"/>
                  </a:lnTo>
                  <a:lnTo>
                    <a:pt x="189" y="63"/>
                  </a:lnTo>
                  <a:lnTo>
                    <a:pt x="164" y="65"/>
                  </a:lnTo>
                  <a:lnTo>
                    <a:pt x="141" y="69"/>
                  </a:lnTo>
                  <a:lnTo>
                    <a:pt x="130" y="73"/>
                  </a:lnTo>
                  <a:lnTo>
                    <a:pt x="122" y="79"/>
                  </a:lnTo>
                  <a:lnTo>
                    <a:pt x="114" y="86"/>
                  </a:lnTo>
                  <a:lnTo>
                    <a:pt x="107" y="94"/>
                  </a:lnTo>
                  <a:lnTo>
                    <a:pt x="107" y="94"/>
                  </a:lnTo>
                  <a:lnTo>
                    <a:pt x="101" y="102"/>
                  </a:lnTo>
                  <a:lnTo>
                    <a:pt x="97" y="115"/>
                  </a:lnTo>
                  <a:lnTo>
                    <a:pt x="93" y="129"/>
                  </a:lnTo>
                  <a:lnTo>
                    <a:pt x="91" y="144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2" y="125"/>
                  </a:lnTo>
                  <a:lnTo>
                    <a:pt x="26" y="106"/>
                  </a:lnTo>
                  <a:lnTo>
                    <a:pt x="31" y="90"/>
                  </a:lnTo>
                  <a:lnTo>
                    <a:pt x="37" y="75"/>
                  </a:lnTo>
                  <a:lnTo>
                    <a:pt x="43" y="63"/>
                  </a:lnTo>
                  <a:lnTo>
                    <a:pt x="51" y="50"/>
                  </a:lnTo>
                  <a:lnTo>
                    <a:pt x="62" y="40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101" y="17"/>
                  </a:lnTo>
                  <a:lnTo>
                    <a:pt x="128" y="9"/>
                  </a:lnTo>
                  <a:lnTo>
                    <a:pt x="160" y="3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228" y="3"/>
                  </a:lnTo>
                  <a:lnTo>
                    <a:pt x="261" y="7"/>
                  </a:lnTo>
                  <a:lnTo>
                    <a:pt x="291" y="17"/>
                  </a:lnTo>
                  <a:lnTo>
                    <a:pt x="315" y="29"/>
                  </a:lnTo>
                  <a:lnTo>
                    <a:pt x="315" y="29"/>
                  </a:lnTo>
                  <a:lnTo>
                    <a:pt x="328" y="38"/>
                  </a:lnTo>
                  <a:lnTo>
                    <a:pt x="336" y="46"/>
                  </a:lnTo>
                  <a:lnTo>
                    <a:pt x="344" y="56"/>
                  </a:lnTo>
                  <a:lnTo>
                    <a:pt x="353" y="67"/>
                  </a:lnTo>
                  <a:lnTo>
                    <a:pt x="357" y="79"/>
                  </a:lnTo>
                  <a:lnTo>
                    <a:pt x="361" y="92"/>
                  </a:lnTo>
                  <a:lnTo>
                    <a:pt x="363" y="106"/>
                  </a:lnTo>
                  <a:lnTo>
                    <a:pt x="363" y="121"/>
                  </a:lnTo>
                  <a:lnTo>
                    <a:pt x="363" y="372"/>
                  </a:lnTo>
                  <a:lnTo>
                    <a:pt x="363" y="372"/>
                  </a:lnTo>
                  <a:lnTo>
                    <a:pt x="365" y="383"/>
                  </a:lnTo>
                  <a:lnTo>
                    <a:pt x="369" y="391"/>
                  </a:lnTo>
                  <a:lnTo>
                    <a:pt x="369" y="391"/>
                  </a:lnTo>
                  <a:lnTo>
                    <a:pt x="372" y="393"/>
                  </a:lnTo>
                  <a:lnTo>
                    <a:pt x="376" y="395"/>
                  </a:lnTo>
                  <a:lnTo>
                    <a:pt x="388" y="397"/>
                  </a:lnTo>
                  <a:lnTo>
                    <a:pt x="388" y="397"/>
                  </a:lnTo>
                  <a:lnTo>
                    <a:pt x="398" y="397"/>
                  </a:lnTo>
                  <a:lnTo>
                    <a:pt x="398" y="397"/>
                  </a:lnTo>
                  <a:lnTo>
                    <a:pt x="413" y="395"/>
                  </a:lnTo>
                  <a:lnTo>
                    <a:pt x="413" y="449"/>
                  </a:lnTo>
                  <a:lnTo>
                    <a:pt x="413" y="449"/>
                  </a:lnTo>
                  <a:lnTo>
                    <a:pt x="386" y="456"/>
                  </a:lnTo>
                  <a:lnTo>
                    <a:pt x="386" y="456"/>
                  </a:lnTo>
                  <a:lnTo>
                    <a:pt x="361" y="458"/>
                  </a:lnTo>
                  <a:lnTo>
                    <a:pt x="361" y="458"/>
                  </a:lnTo>
                  <a:lnTo>
                    <a:pt x="344" y="456"/>
                  </a:lnTo>
                  <a:lnTo>
                    <a:pt x="330" y="449"/>
                  </a:lnTo>
                  <a:lnTo>
                    <a:pt x="317" y="441"/>
                  </a:lnTo>
                  <a:lnTo>
                    <a:pt x="307" y="431"/>
                  </a:lnTo>
                  <a:lnTo>
                    <a:pt x="307" y="431"/>
                  </a:lnTo>
                  <a:lnTo>
                    <a:pt x="299" y="412"/>
                  </a:lnTo>
                  <a:lnTo>
                    <a:pt x="295" y="389"/>
                  </a:lnTo>
                  <a:lnTo>
                    <a:pt x="295" y="389"/>
                  </a:lnTo>
                  <a:lnTo>
                    <a:pt x="282" y="404"/>
                  </a:lnTo>
                  <a:lnTo>
                    <a:pt x="268" y="416"/>
                  </a:lnTo>
                  <a:lnTo>
                    <a:pt x="249" y="429"/>
                  </a:lnTo>
                  <a:lnTo>
                    <a:pt x="230" y="441"/>
                  </a:lnTo>
                  <a:lnTo>
                    <a:pt x="230" y="441"/>
                  </a:lnTo>
                  <a:lnTo>
                    <a:pt x="207" y="449"/>
                  </a:lnTo>
                  <a:lnTo>
                    <a:pt x="185" y="458"/>
                  </a:lnTo>
                  <a:lnTo>
                    <a:pt x="162" y="462"/>
                  </a:lnTo>
                  <a:lnTo>
                    <a:pt x="137" y="462"/>
                  </a:lnTo>
                  <a:lnTo>
                    <a:pt x="137" y="462"/>
                  </a:lnTo>
                  <a:lnTo>
                    <a:pt x="107" y="460"/>
                  </a:lnTo>
                  <a:lnTo>
                    <a:pt x="95" y="458"/>
                  </a:lnTo>
                  <a:lnTo>
                    <a:pt x="83" y="454"/>
                  </a:lnTo>
                  <a:lnTo>
                    <a:pt x="70" y="447"/>
                  </a:lnTo>
                  <a:lnTo>
                    <a:pt x="58" y="441"/>
                  </a:lnTo>
                  <a:lnTo>
                    <a:pt x="47" y="435"/>
                  </a:lnTo>
                  <a:lnTo>
                    <a:pt x="37" y="424"/>
                  </a:lnTo>
                  <a:lnTo>
                    <a:pt x="37" y="424"/>
                  </a:lnTo>
                  <a:lnTo>
                    <a:pt x="29" y="416"/>
                  </a:lnTo>
                  <a:lnTo>
                    <a:pt x="20" y="406"/>
                  </a:lnTo>
                  <a:lnTo>
                    <a:pt x="14" y="395"/>
                  </a:lnTo>
                  <a:lnTo>
                    <a:pt x="8" y="383"/>
                  </a:lnTo>
                  <a:lnTo>
                    <a:pt x="4" y="372"/>
                  </a:lnTo>
                  <a:lnTo>
                    <a:pt x="2" y="360"/>
                  </a:lnTo>
                  <a:lnTo>
                    <a:pt x="0" y="347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0" y="319"/>
                  </a:lnTo>
                  <a:lnTo>
                    <a:pt x="2" y="304"/>
                  </a:lnTo>
                  <a:lnTo>
                    <a:pt x="4" y="291"/>
                  </a:lnTo>
                  <a:lnTo>
                    <a:pt x="8" y="279"/>
                  </a:lnTo>
                  <a:lnTo>
                    <a:pt x="14" y="269"/>
                  </a:lnTo>
                  <a:lnTo>
                    <a:pt x="20" y="258"/>
                  </a:lnTo>
                  <a:lnTo>
                    <a:pt x="29" y="248"/>
                  </a:lnTo>
                  <a:lnTo>
                    <a:pt x="37" y="239"/>
                  </a:lnTo>
                  <a:lnTo>
                    <a:pt x="37" y="239"/>
                  </a:lnTo>
                  <a:lnTo>
                    <a:pt x="58" y="223"/>
                  </a:lnTo>
                  <a:lnTo>
                    <a:pt x="81" y="213"/>
                  </a:lnTo>
                  <a:lnTo>
                    <a:pt x="107" y="204"/>
                  </a:lnTo>
                  <a:lnTo>
                    <a:pt x="137" y="198"/>
                  </a:lnTo>
                  <a:lnTo>
                    <a:pt x="253" y="183"/>
                  </a:lnTo>
                  <a:close/>
                  <a:moveTo>
                    <a:pt x="99" y="381"/>
                  </a:moveTo>
                  <a:lnTo>
                    <a:pt x="99" y="381"/>
                  </a:lnTo>
                  <a:lnTo>
                    <a:pt x="112" y="389"/>
                  </a:lnTo>
                  <a:lnTo>
                    <a:pt x="124" y="395"/>
                  </a:lnTo>
                  <a:lnTo>
                    <a:pt x="139" y="399"/>
                  </a:lnTo>
                  <a:lnTo>
                    <a:pt x="153" y="399"/>
                  </a:lnTo>
                  <a:lnTo>
                    <a:pt x="153" y="399"/>
                  </a:lnTo>
                  <a:lnTo>
                    <a:pt x="174" y="399"/>
                  </a:lnTo>
                  <a:lnTo>
                    <a:pt x="193" y="395"/>
                  </a:lnTo>
                  <a:lnTo>
                    <a:pt x="211" y="389"/>
                  </a:lnTo>
                  <a:lnTo>
                    <a:pt x="230" y="383"/>
                  </a:lnTo>
                  <a:lnTo>
                    <a:pt x="230" y="383"/>
                  </a:lnTo>
                  <a:lnTo>
                    <a:pt x="243" y="375"/>
                  </a:lnTo>
                  <a:lnTo>
                    <a:pt x="255" y="364"/>
                  </a:lnTo>
                  <a:lnTo>
                    <a:pt x="266" y="354"/>
                  </a:lnTo>
                  <a:lnTo>
                    <a:pt x="276" y="343"/>
                  </a:lnTo>
                  <a:lnTo>
                    <a:pt x="282" y="331"/>
                  </a:lnTo>
                  <a:lnTo>
                    <a:pt x="286" y="316"/>
                  </a:lnTo>
                  <a:lnTo>
                    <a:pt x="291" y="302"/>
                  </a:lnTo>
                  <a:lnTo>
                    <a:pt x="291" y="285"/>
                  </a:lnTo>
                  <a:lnTo>
                    <a:pt x="291" y="225"/>
                  </a:lnTo>
                  <a:lnTo>
                    <a:pt x="291" y="225"/>
                  </a:lnTo>
                  <a:lnTo>
                    <a:pt x="276" y="233"/>
                  </a:lnTo>
                  <a:lnTo>
                    <a:pt x="255" y="239"/>
                  </a:lnTo>
                  <a:lnTo>
                    <a:pt x="255" y="239"/>
                  </a:lnTo>
                  <a:lnTo>
                    <a:pt x="234" y="246"/>
                  </a:lnTo>
                  <a:lnTo>
                    <a:pt x="213" y="248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35" y="260"/>
                  </a:lnTo>
                  <a:lnTo>
                    <a:pt x="122" y="264"/>
                  </a:lnTo>
                  <a:lnTo>
                    <a:pt x="110" y="271"/>
                  </a:lnTo>
                  <a:lnTo>
                    <a:pt x="110" y="271"/>
                  </a:lnTo>
                  <a:lnTo>
                    <a:pt x="95" y="281"/>
                  </a:lnTo>
                  <a:lnTo>
                    <a:pt x="89" y="287"/>
                  </a:lnTo>
                  <a:lnTo>
                    <a:pt x="85" y="296"/>
                  </a:lnTo>
                  <a:lnTo>
                    <a:pt x="81" y="304"/>
                  </a:lnTo>
                  <a:lnTo>
                    <a:pt x="79" y="312"/>
                  </a:lnTo>
                  <a:lnTo>
                    <a:pt x="76" y="331"/>
                  </a:lnTo>
                  <a:lnTo>
                    <a:pt x="76" y="331"/>
                  </a:lnTo>
                  <a:lnTo>
                    <a:pt x="76" y="346"/>
                  </a:lnTo>
                  <a:lnTo>
                    <a:pt x="83" y="360"/>
                  </a:lnTo>
                  <a:lnTo>
                    <a:pt x="89" y="372"/>
                  </a:lnTo>
                  <a:lnTo>
                    <a:pt x="99" y="3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943E72F2-FF96-C94F-BE60-AC503EB62546}"/>
              </a:ext>
            </a:extLst>
          </p:cNvPr>
          <p:cNvGrpSpPr/>
          <p:nvPr userDrawn="1"/>
        </p:nvGrpSpPr>
        <p:grpSpPr>
          <a:xfrm>
            <a:off x="11059634" y="190500"/>
            <a:ext cx="851696" cy="203200"/>
            <a:chOff x="22225" y="2593975"/>
            <a:chExt cx="10080625" cy="2405063"/>
          </a:xfrm>
        </p:grpSpPr>
        <p:sp>
          <p:nvSpPr>
            <p:cNvPr id="124" name="Freeform 1">
              <a:extLst>
                <a:ext uri="{FF2B5EF4-FFF2-40B4-BE49-F238E27FC236}">
                  <a16:creationId xmlns:a16="http://schemas.microsoft.com/office/drawing/2014/main" id="{239F4A05-6194-0B4F-B5C5-E36801B1FD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9425" y="2600325"/>
              <a:ext cx="1735138" cy="2381250"/>
            </a:xfrm>
            <a:custGeom>
              <a:avLst/>
              <a:gdLst>
                <a:gd name="T0" fmla="*/ 4116 w 4818"/>
                <a:gd name="T1" fmla="*/ 81 h 6616"/>
                <a:gd name="T2" fmla="*/ 4013 w 4818"/>
                <a:gd name="T3" fmla="*/ 5 h 6616"/>
                <a:gd name="T4" fmla="*/ 3203 w 4818"/>
                <a:gd name="T5" fmla="*/ 32 h 6616"/>
                <a:gd name="T6" fmla="*/ 2441 w 4818"/>
                <a:gd name="T7" fmla="*/ 103 h 6616"/>
                <a:gd name="T8" fmla="*/ 2517 w 4818"/>
                <a:gd name="T9" fmla="*/ 173 h 6616"/>
                <a:gd name="T10" fmla="*/ 2760 w 4818"/>
                <a:gd name="T11" fmla="*/ 222 h 6616"/>
                <a:gd name="T12" fmla="*/ 3078 w 4818"/>
                <a:gd name="T13" fmla="*/ 470 h 6616"/>
                <a:gd name="T14" fmla="*/ 3208 w 4818"/>
                <a:gd name="T15" fmla="*/ 724 h 6616"/>
                <a:gd name="T16" fmla="*/ 3278 w 4818"/>
                <a:gd name="T17" fmla="*/ 1092 h 6616"/>
                <a:gd name="T18" fmla="*/ 3289 w 4818"/>
                <a:gd name="T19" fmla="*/ 2659 h 6616"/>
                <a:gd name="T20" fmla="*/ 3278 w 4818"/>
                <a:gd name="T21" fmla="*/ 2783 h 6616"/>
                <a:gd name="T22" fmla="*/ 3235 w 4818"/>
                <a:gd name="T23" fmla="*/ 2800 h 6616"/>
                <a:gd name="T24" fmla="*/ 3040 w 4818"/>
                <a:gd name="T25" fmla="*/ 2670 h 6616"/>
                <a:gd name="T26" fmla="*/ 2554 w 4818"/>
                <a:gd name="T27" fmla="*/ 2470 h 6616"/>
                <a:gd name="T28" fmla="*/ 2063 w 4818"/>
                <a:gd name="T29" fmla="*/ 2405 h 6616"/>
                <a:gd name="T30" fmla="*/ 1706 w 4818"/>
                <a:gd name="T31" fmla="*/ 2433 h 6616"/>
                <a:gd name="T32" fmla="*/ 1264 w 4818"/>
                <a:gd name="T33" fmla="*/ 2562 h 6616"/>
                <a:gd name="T34" fmla="*/ 842 w 4818"/>
                <a:gd name="T35" fmla="*/ 2783 h 6616"/>
                <a:gd name="T36" fmla="*/ 475 w 4818"/>
                <a:gd name="T37" fmla="*/ 3113 h 6616"/>
                <a:gd name="T38" fmla="*/ 194 w 4818"/>
                <a:gd name="T39" fmla="*/ 3539 h 6616"/>
                <a:gd name="T40" fmla="*/ 32 w 4818"/>
                <a:gd name="T41" fmla="*/ 4074 h 6616"/>
                <a:gd name="T42" fmla="*/ 5 w 4818"/>
                <a:gd name="T43" fmla="*/ 4582 h 6616"/>
                <a:gd name="T44" fmla="*/ 103 w 4818"/>
                <a:gd name="T45" fmla="*/ 5193 h 6616"/>
                <a:gd name="T46" fmla="*/ 329 w 4818"/>
                <a:gd name="T47" fmla="*/ 5690 h 6616"/>
                <a:gd name="T48" fmla="*/ 653 w 4818"/>
                <a:gd name="T49" fmla="*/ 6079 h 6616"/>
                <a:gd name="T50" fmla="*/ 1064 w 4818"/>
                <a:gd name="T51" fmla="*/ 6361 h 6616"/>
                <a:gd name="T52" fmla="*/ 1523 w 4818"/>
                <a:gd name="T53" fmla="*/ 6539 h 6616"/>
                <a:gd name="T54" fmla="*/ 2020 w 4818"/>
                <a:gd name="T55" fmla="*/ 6609 h 6616"/>
                <a:gd name="T56" fmla="*/ 2398 w 4818"/>
                <a:gd name="T57" fmla="*/ 6587 h 6616"/>
                <a:gd name="T58" fmla="*/ 2906 w 4818"/>
                <a:gd name="T59" fmla="*/ 6430 h 6616"/>
                <a:gd name="T60" fmla="*/ 3235 w 4818"/>
                <a:gd name="T61" fmla="*/ 6247 h 6616"/>
                <a:gd name="T62" fmla="*/ 3310 w 4818"/>
                <a:gd name="T63" fmla="*/ 6344 h 6616"/>
                <a:gd name="T64" fmla="*/ 3370 w 4818"/>
                <a:gd name="T65" fmla="*/ 6550 h 6616"/>
                <a:gd name="T66" fmla="*/ 3500 w 4818"/>
                <a:gd name="T67" fmla="*/ 6615 h 6616"/>
                <a:gd name="T68" fmla="*/ 4212 w 4818"/>
                <a:gd name="T69" fmla="*/ 6539 h 6616"/>
                <a:gd name="T70" fmla="*/ 4801 w 4818"/>
                <a:gd name="T71" fmla="*/ 6436 h 6616"/>
                <a:gd name="T72" fmla="*/ 4780 w 4818"/>
                <a:gd name="T73" fmla="*/ 6355 h 6616"/>
                <a:gd name="T74" fmla="*/ 4623 w 4818"/>
                <a:gd name="T75" fmla="*/ 6323 h 6616"/>
                <a:gd name="T76" fmla="*/ 4391 w 4818"/>
                <a:gd name="T77" fmla="*/ 6166 h 6616"/>
                <a:gd name="T78" fmla="*/ 4185 w 4818"/>
                <a:gd name="T79" fmla="*/ 5577 h 6616"/>
                <a:gd name="T80" fmla="*/ 4143 w 4818"/>
                <a:gd name="T81" fmla="*/ 206 h 6616"/>
                <a:gd name="T82" fmla="*/ 3230 w 4818"/>
                <a:gd name="T83" fmla="*/ 5382 h 6616"/>
                <a:gd name="T84" fmla="*/ 3003 w 4818"/>
                <a:gd name="T85" fmla="*/ 5982 h 6616"/>
                <a:gd name="T86" fmla="*/ 2819 w 4818"/>
                <a:gd name="T87" fmla="*/ 6193 h 6616"/>
                <a:gd name="T88" fmla="*/ 2371 w 4818"/>
                <a:gd name="T89" fmla="*/ 6382 h 6616"/>
                <a:gd name="T90" fmla="*/ 2041 w 4818"/>
                <a:gd name="T91" fmla="*/ 6361 h 6616"/>
                <a:gd name="T92" fmla="*/ 1706 w 4818"/>
                <a:gd name="T93" fmla="*/ 6214 h 6616"/>
                <a:gd name="T94" fmla="*/ 1436 w 4818"/>
                <a:gd name="T95" fmla="*/ 5950 h 6616"/>
                <a:gd name="T96" fmla="*/ 1221 w 4818"/>
                <a:gd name="T97" fmla="*/ 5604 h 6616"/>
                <a:gd name="T98" fmla="*/ 988 w 4818"/>
                <a:gd name="T99" fmla="*/ 4755 h 6616"/>
                <a:gd name="T100" fmla="*/ 972 w 4818"/>
                <a:gd name="T101" fmla="*/ 4188 h 6616"/>
                <a:gd name="T102" fmla="*/ 1047 w 4818"/>
                <a:gd name="T103" fmla="*/ 3734 h 6616"/>
                <a:gd name="T104" fmla="*/ 1193 w 4818"/>
                <a:gd name="T105" fmla="*/ 3344 h 6616"/>
                <a:gd name="T106" fmla="*/ 1393 w 4818"/>
                <a:gd name="T107" fmla="*/ 3027 h 6616"/>
                <a:gd name="T108" fmla="*/ 1642 w 4818"/>
                <a:gd name="T109" fmla="*/ 2800 h 6616"/>
                <a:gd name="T110" fmla="*/ 1917 w 4818"/>
                <a:gd name="T111" fmla="*/ 2659 h 6616"/>
                <a:gd name="T112" fmla="*/ 2214 w 4818"/>
                <a:gd name="T113" fmla="*/ 2627 h 6616"/>
                <a:gd name="T114" fmla="*/ 2506 w 4818"/>
                <a:gd name="T115" fmla="*/ 2670 h 6616"/>
                <a:gd name="T116" fmla="*/ 2792 w 4818"/>
                <a:gd name="T117" fmla="*/ 2810 h 6616"/>
                <a:gd name="T118" fmla="*/ 2998 w 4818"/>
                <a:gd name="T119" fmla="*/ 3043 h 6616"/>
                <a:gd name="T120" fmla="*/ 3165 w 4818"/>
                <a:gd name="T121" fmla="*/ 3426 h 6616"/>
                <a:gd name="T122" fmla="*/ 3278 w 4818"/>
                <a:gd name="T123" fmla="*/ 4334 h 6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18" h="6616">
                  <a:moveTo>
                    <a:pt x="4143" y="206"/>
                  </a:moveTo>
                  <a:lnTo>
                    <a:pt x="4143" y="206"/>
                  </a:lnTo>
                  <a:lnTo>
                    <a:pt x="4137" y="152"/>
                  </a:lnTo>
                  <a:lnTo>
                    <a:pt x="4126" y="114"/>
                  </a:lnTo>
                  <a:lnTo>
                    <a:pt x="4116" y="81"/>
                  </a:lnTo>
                  <a:lnTo>
                    <a:pt x="4094" y="49"/>
                  </a:lnTo>
                  <a:lnTo>
                    <a:pt x="4078" y="32"/>
                  </a:lnTo>
                  <a:lnTo>
                    <a:pt x="4061" y="22"/>
                  </a:lnTo>
                  <a:lnTo>
                    <a:pt x="4040" y="11"/>
                  </a:lnTo>
                  <a:lnTo>
                    <a:pt x="4013" y="5"/>
                  </a:lnTo>
                  <a:lnTo>
                    <a:pt x="3986" y="0"/>
                  </a:lnTo>
                  <a:lnTo>
                    <a:pt x="3953" y="0"/>
                  </a:lnTo>
                  <a:lnTo>
                    <a:pt x="3953" y="0"/>
                  </a:lnTo>
                  <a:lnTo>
                    <a:pt x="3667" y="11"/>
                  </a:lnTo>
                  <a:lnTo>
                    <a:pt x="3203" y="32"/>
                  </a:lnTo>
                  <a:lnTo>
                    <a:pt x="2517" y="70"/>
                  </a:lnTo>
                  <a:lnTo>
                    <a:pt x="2517" y="70"/>
                  </a:lnTo>
                  <a:lnTo>
                    <a:pt x="2490" y="76"/>
                  </a:lnTo>
                  <a:lnTo>
                    <a:pt x="2462" y="87"/>
                  </a:lnTo>
                  <a:lnTo>
                    <a:pt x="2441" y="103"/>
                  </a:lnTo>
                  <a:lnTo>
                    <a:pt x="2430" y="119"/>
                  </a:lnTo>
                  <a:lnTo>
                    <a:pt x="2430" y="135"/>
                  </a:lnTo>
                  <a:lnTo>
                    <a:pt x="2441" y="152"/>
                  </a:lnTo>
                  <a:lnTo>
                    <a:pt x="2473" y="162"/>
                  </a:lnTo>
                  <a:lnTo>
                    <a:pt x="2517" y="173"/>
                  </a:lnTo>
                  <a:lnTo>
                    <a:pt x="2517" y="173"/>
                  </a:lnTo>
                  <a:lnTo>
                    <a:pt x="2592" y="179"/>
                  </a:lnTo>
                  <a:lnTo>
                    <a:pt x="2641" y="189"/>
                  </a:lnTo>
                  <a:lnTo>
                    <a:pt x="2695" y="206"/>
                  </a:lnTo>
                  <a:lnTo>
                    <a:pt x="2760" y="222"/>
                  </a:lnTo>
                  <a:lnTo>
                    <a:pt x="2824" y="254"/>
                  </a:lnTo>
                  <a:lnTo>
                    <a:pt x="2889" y="292"/>
                  </a:lnTo>
                  <a:lnTo>
                    <a:pt x="2954" y="335"/>
                  </a:lnTo>
                  <a:lnTo>
                    <a:pt x="3019" y="400"/>
                  </a:lnTo>
                  <a:lnTo>
                    <a:pt x="3078" y="470"/>
                  </a:lnTo>
                  <a:lnTo>
                    <a:pt x="3111" y="514"/>
                  </a:lnTo>
                  <a:lnTo>
                    <a:pt x="3138" y="562"/>
                  </a:lnTo>
                  <a:lnTo>
                    <a:pt x="3165" y="611"/>
                  </a:lnTo>
                  <a:lnTo>
                    <a:pt x="3186" y="665"/>
                  </a:lnTo>
                  <a:lnTo>
                    <a:pt x="3208" y="724"/>
                  </a:lnTo>
                  <a:lnTo>
                    <a:pt x="3230" y="789"/>
                  </a:lnTo>
                  <a:lnTo>
                    <a:pt x="3246" y="854"/>
                  </a:lnTo>
                  <a:lnTo>
                    <a:pt x="3262" y="930"/>
                  </a:lnTo>
                  <a:lnTo>
                    <a:pt x="3273" y="1005"/>
                  </a:lnTo>
                  <a:lnTo>
                    <a:pt x="3278" y="1092"/>
                  </a:lnTo>
                  <a:lnTo>
                    <a:pt x="3284" y="1179"/>
                  </a:lnTo>
                  <a:lnTo>
                    <a:pt x="3289" y="1276"/>
                  </a:lnTo>
                  <a:lnTo>
                    <a:pt x="3289" y="1276"/>
                  </a:lnTo>
                  <a:lnTo>
                    <a:pt x="3289" y="2659"/>
                  </a:lnTo>
                  <a:lnTo>
                    <a:pt x="3289" y="2659"/>
                  </a:lnTo>
                  <a:lnTo>
                    <a:pt x="3289" y="2708"/>
                  </a:lnTo>
                  <a:lnTo>
                    <a:pt x="3289" y="2708"/>
                  </a:lnTo>
                  <a:lnTo>
                    <a:pt x="3284" y="2756"/>
                  </a:lnTo>
                  <a:lnTo>
                    <a:pt x="3278" y="2783"/>
                  </a:lnTo>
                  <a:lnTo>
                    <a:pt x="3278" y="2783"/>
                  </a:lnTo>
                  <a:lnTo>
                    <a:pt x="3273" y="2794"/>
                  </a:lnTo>
                  <a:lnTo>
                    <a:pt x="3273" y="2794"/>
                  </a:lnTo>
                  <a:lnTo>
                    <a:pt x="3273" y="2794"/>
                  </a:lnTo>
                  <a:lnTo>
                    <a:pt x="3257" y="2800"/>
                  </a:lnTo>
                  <a:lnTo>
                    <a:pt x="3235" y="2800"/>
                  </a:lnTo>
                  <a:lnTo>
                    <a:pt x="3208" y="2783"/>
                  </a:lnTo>
                  <a:lnTo>
                    <a:pt x="3176" y="2756"/>
                  </a:lnTo>
                  <a:lnTo>
                    <a:pt x="3176" y="2756"/>
                  </a:lnTo>
                  <a:lnTo>
                    <a:pt x="3122" y="2724"/>
                  </a:lnTo>
                  <a:lnTo>
                    <a:pt x="3040" y="2670"/>
                  </a:lnTo>
                  <a:lnTo>
                    <a:pt x="2933" y="2616"/>
                  </a:lnTo>
                  <a:lnTo>
                    <a:pt x="2797" y="2551"/>
                  </a:lnTo>
                  <a:lnTo>
                    <a:pt x="2722" y="2524"/>
                  </a:lnTo>
                  <a:lnTo>
                    <a:pt x="2641" y="2497"/>
                  </a:lnTo>
                  <a:lnTo>
                    <a:pt x="2554" y="2470"/>
                  </a:lnTo>
                  <a:lnTo>
                    <a:pt x="2462" y="2448"/>
                  </a:lnTo>
                  <a:lnTo>
                    <a:pt x="2366" y="2433"/>
                  </a:lnTo>
                  <a:lnTo>
                    <a:pt x="2268" y="2416"/>
                  </a:lnTo>
                  <a:lnTo>
                    <a:pt x="2165" y="2405"/>
                  </a:lnTo>
                  <a:lnTo>
                    <a:pt x="2063" y="2405"/>
                  </a:lnTo>
                  <a:lnTo>
                    <a:pt x="2063" y="2405"/>
                  </a:lnTo>
                  <a:lnTo>
                    <a:pt x="1977" y="2405"/>
                  </a:lnTo>
                  <a:lnTo>
                    <a:pt x="1890" y="2410"/>
                  </a:lnTo>
                  <a:lnTo>
                    <a:pt x="1798" y="2421"/>
                  </a:lnTo>
                  <a:lnTo>
                    <a:pt x="1706" y="2433"/>
                  </a:lnTo>
                  <a:lnTo>
                    <a:pt x="1620" y="2448"/>
                  </a:lnTo>
                  <a:lnTo>
                    <a:pt x="1528" y="2470"/>
                  </a:lnTo>
                  <a:lnTo>
                    <a:pt x="1442" y="2497"/>
                  </a:lnTo>
                  <a:lnTo>
                    <a:pt x="1350" y="2524"/>
                  </a:lnTo>
                  <a:lnTo>
                    <a:pt x="1264" y="2562"/>
                  </a:lnTo>
                  <a:lnTo>
                    <a:pt x="1177" y="2594"/>
                  </a:lnTo>
                  <a:lnTo>
                    <a:pt x="1091" y="2638"/>
                  </a:lnTo>
                  <a:lnTo>
                    <a:pt x="1005" y="2681"/>
                  </a:lnTo>
                  <a:lnTo>
                    <a:pt x="923" y="2735"/>
                  </a:lnTo>
                  <a:lnTo>
                    <a:pt x="842" y="2783"/>
                  </a:lnTo>
                  <a:lnTo>
                    <a:pt x="761" y="2843"/>
                  </a:lnTo>
                  <a:lnTo>
                    <a:pt x="686" y="2903"/>
                  </a:lnTo>
                  <a:lnTo>
                    <a:pt x="610" y="2967"/>
                  </a:lnTo>
                  <a:lnTo>
                    <a:pt x="540" y="3037"/>
                  </a:lnTo>
                  <a:lnTo>
                    <a:pt x="475" y="3113"/>
                  </a:lnTo>
                  <a:lnTo>
                    <a:pt x="410" y="3189"/>
                  </a:lnTo>
                  <a:lnTo>
                    <a:pt x="351" y="3270"/>
                  </a:lnTo>
                  <a:lnTo>
                    <a:pt x="291" y="3355"/>
                  </a:lnTo>
                  <a:lnTo>
                    <a:pt x="243" y="3447"/>
                  </a:lnTo>
                  <a:lnTo>
                    <a:pt x="194" y="3539"/>
                  </a:lnTo>
                  <a:lnTo>
                    <a:pt x="151" y="3642"/>
                  </a:lnTo>
                  <a:lnTo>
                    <a:pt x="113" y="3744"/>
                  </a:lnTo>
                  <a:lnTo>
                    <a:pt x="81" y="3847"/>
                  </a:lnTo>
                  <a:lnTo>
                    <a:pt x="54" y="3961"/>
                  </a:lnTo>
                  <a:lnTo>
                    <a:pt x="32" y="4074"/>
                  </a:lnTo>
                  <a:lnTo>
                    <a:pt x="16" y="4193"/>
                  </a:lnTo>
                  <a:lnTo>
                    <a:pt x="5" y="4317"/>
                  </a:lnTo>
                  <a:lnTo>
                    <a:pt x="0" y="4447"/>
                  </a:lnTo>
                  <a:lnTo>
                    <a:pt x="0" y="4447"/>
                  </a:lnTo>
                  <a:lnTo>
                    <a:pt x="5" y="4582"/>
                  </a:lnTo>
                  <a:lnTo>
                    <a:pt x="11" y="4712"/>
                  </a:lnTo>
                  <a:lnTo>
                    <a:pt x="27" y="4837"/>
                  </a:lnTo>
                  <a:lnTo>
                    <a:pt x="48" y="4961"/>
                  </a:lnTo>
                  <a:lnTo>
                    <a:pt x="75" y="5080"/>
                  </a:lnTo>
                  <a:lnTo>
                    <a:pt x="103" y="5193"/>
                  </a:lnTo>
                  <a:lnTo>
                    <a:pt x="140" y="5301"/>
                  </a:lnTo>
                  <a:lnTo>
                    <a:pt x="178" y="5404"/>
                  </a:lnTo>
                  <a:lnTo>
                    <a:pt x="226" y="5501"/>
                  </a:lnTo>
                  <a:lnTo>
                    <a:pt x="275" y="5598"/>
                  </a:lnTo>
                  <a:lnTo>
                    <a:pt x="329" y="5690"/>
                  </a:lnTo>
                  <a:lnTo>
                    <a:pt x="389" y="5776"/>
                  </a:lnTo>
                  <a:lnTo>
                    <a:pt x="448" y="5858"/>
                  </a:lnTo>
                  <a:lnTo>
                    <a:pt x="513" y="5939"/>
                  </a:lnTo>
                  <a:lnTo>
                    <a:pt x="583" y="6009"/>
                  </a:lnTo>
                  <a:lnTo>
                    <a:pt x="653" y="6079"/>
                  </a:lnTo>
                  <a:lnTo>
                    <a:pt x="729" y="6144"/>
                  </a:lnTo>
                  <a:lnTo>
                    <a:pt x="810" y="6204"/>
                  </a:lnTo>
                  <a:lnTo>
                    <a:pt x="891" y="6263"/>
                  </a:lnTo>
                  <a:lnTo>
                    <a:pt x="978" y="6312"/>
                  </a:lnTo>
                  <a:lnTo>
                    <a:pt x="1064" y="6361"/>
                  </a:lnTo>
                  <a:lnTo>
                    <a:pt x="1150" y="6403"/>
                  </a:lnTo>
                  <a:lnTo>
                    <a:pt x="1242" y="6447"/>
                  </a:lnTo>
                  <a:lnTo>
                    <a:pt x="1334" y="6479"/>
                  </a:lnTo>
                  <a:lnTo>
                    <a:pt x="1426" y="6512"/>
                  </a:lnTo>
                  <a:lnTo>
                    <a:pt x="1523" y="6539"/>
                  </a:lnTo>
                  <a:lnTo>
                    <a:pt x="1620" y="6560"/>
                  </a:lnTo>
                  <a:lnTo>
                    <a:pt x="1717" y="6577"/>
                  </a:lnTo>
                  <a:lnTo>
                    <a:pt x="1820" y="6593"/>
                  </a:lnTo>
                  <a:lnTo>
                    <a:pt x="1917" y="6604"/>
                  </a:lnTo>
                  <a:lnTo>
                    <a:pt x="2020" y="6609"/>
                  </a:lnTo>
                  <a:lnTo>
                    <a:pt x="2117" y="6609"/>
                  </a:lnTo>
                  <a:lnTo>
                    <a:pt x="2117" y="6609"/>
                  </a:lnTo>
                  <a:lnTo>
                    <a:pt x="2214" y="6609"/>
                  </a:lnTo>
                  <a:lnTo>
                    <a:pt x="2311" y="6604"/>
                  </a:lnTo>
                  <a:lnTo>
                    <a:pt x="2398" y="6587"/>
                  </a:lnTo>
                  <a:lnTo>
                    <a:pt x="2484" y="6571"/>
                  </a:lnTo>
                  <a:lnTo>
                    <a:pt x="2565" y="6555"/>
                  </a:lnTo>
                  <a:lnTo>
                    <a:pt x="2641" y="6533"/>
                  </a:lnTo>
                  <a:lnTo>
                    <a:pt x="2781" y="6485"/>
                  </a:lnTo>
                  <a:lnTo>
                    <a:pt x="2906" y="6430"/>
                  </a:lnTo>
                  <a:lnTo>
                    <a:pt x="3008" y="6376"/>
                  </a:lnTo>
                  <a:lnTo>
                    <a:pt x="3089" y="6334"/>
                  </a:lnTo>
                  <a:lnTo>
                    <a:pt x="3149" y="6296"/>
                  </a:lnTo>
                  <a:lnTo>
                    <a:pt x="3149" y="6296"/>
                  </a:lnTo>
                  <a:lnTo>
                    <a:pt x="3235" y="6247"/>
                  </a:lnTo>
                  <a:lnTo>
                    <a:pt x="3262" y="6236"/>
                  </a:lnTo>
                  <a:lnTo>
                    <a:pt x="3278" y="6236"/>
                  </a:lnTo>
                  <a:lnTo>
                    <a:pt x="3289" y="6247"/>
                  </a:lnTo>
                  <a:lnTo>
                    <a:pt x="3295" y="6269"/>
                  </a:lnTo>
                  <a:lnTo>
                    <a:pt x="3310" y="6344"/>
                  </a:lnTo>
                  <a:lnTo>
                    <a:pt x="3310" y="6344"/>
                  </a:lnTo>
                  <a:lnTo>
                    <a:pt x="3327" y="6436"/>
                  </a:lnTo>
                  <a:lnTo>
                    <a:pt x="3337" y="6485"/>
                  </a:lnTo>
                  <a:lnTo>
                    <a:pt x="3359" y="6528"/>
                  </a:lnTo>
                  <a:lnTo>
                    <a:pt x="3370" y="6550"/>
                  </a:lnTo>
                  <a:lnTo>
                    <a:pt x="3386" y="6566"/>
                  </a:lnTo>
                  <a:lnTo>
                    <a:pt x="3408" y="6582"/>
                  </a:lnTo>
                  <a:lnTo>
                    <a:pt x="3435" y="6598"/>
                  </a:lnTo>
                  <a:lnTo>
                    <a:pt x="3462" y="6604"/>
                  </a:lnTo>
                  <a:lnTo>
                    <a:pt x="3500" y="6615"/>
                  </a:lnTo>
                  <a:lnTo>
                    <a:pt x="3538" y="6615"/>
                  </a:lnTo>
                  <a:lnTo>
                    <a:pt x="3586" y="6609"/>
                  </a:lnTo>
                  <a:lnTo>
                    <a:pt x="3586" y="6609"/>
                  </a:lnTo>
                  <a:lnTo>
                    <a:pt x="3873" y="6582"/>
                  </a:lnTo>
                  <a:lnTo>
                    <a:pt x="4212" y="6539"/>
                  </a:lnTo>
                  <a:lnTo>
                    <a:pt x="4526" y="6495"/>
                  </a:lnTo>
                  <a:lnTo>
                    <a:pt x="4726" y="6468"/>
                  </a:lnTo>
                  <a:lnTo>
                    <a:pt x="4726" y="6468"/>
                  </a:lnTo>
                  <a:lnTo>
                    <a:pt x="4769" y="6452"/>
                  </a:lnTo>
                  <a:lnTo>
                    <a:pt x="4801" y="6436"/>
                  </a:lnTo>
                  <a:lnTo>
                    <a:pt x="4812" y="6414"/>
                  </a:lnTo>
                  <a:lnTo>
                    <a:pt x="4817" y="6403"/>
                  </a:lnTo>
                  <a:lnTo>
                    <a:pt x="4817" y="6393"/>
                  </a:lnTo>
                  <a:lnTo>
                    <a:pt x="4807" y="6371"/>
                  </a:lnTo>
                  <a:lnTo>
                    <a:pt x="4780" y="6355"/>
                  </a:lnTo>
                  <a:lnTo>
                    <a:pt x="4748" y="6338"/>
                  </a:lnTo>
                  <a:lnTo>
                    <a:pt x="4704" y="6334"/>
                  </a:lnTo>
                  <a:lnTo>
                    <a:pt x="4704" y="6334"/>
                  </a:lnTo>
                  <a:lnTo>
                    <a:pt x="4656" y="6328"/>
                  </a:lnTo>
                  <a:lnTo>
                    <a:pt x="4623" y="6323"/>
                  </a:lnTo>
                  <a:lnTo>
                    <a:pt x="4580" y="6312"/>
                  </a:lnTo>
                  <a:lnTo>
                    <a:pt x="4537" y="6290"/>
                  </a:lnTo>
                  <a:lnTo>
                    <a:pt x="4488" y="6263"/>
                  </a:lnTo>
                  <a:lnTo>
                    <a:pt x="4440" y="6220"/>
                  </a:lnTo>
                  <a:lnTo>
                    <a:pt x="4391" y="6166"/>
                  </a:lnTo>
                  <a:lnTo>
                    <a:pt x="4342" y="6090"/>
                  </a:lnTo>
                  <a:lnTo>
                    <a:pt x="4299" y="5998"/>
                  </a:lnTo>
                  <a:lnTo>
                    <a:pt x="4256" y="5885"/>
                  </a:lnTo>
                  <a:lnTo>
                    <a:pt x="4218" y="5744"/>
                  </a:lnTo>
                  <a:lnTo>
                    <a:pt x="4185" y="5577"/>
                  </a:lnTo>
                  <a:lnTo>
                    <a:pt x="4159" y="5377"/>
                  </a:lnTo>
                  <a:lnTo>
                    <a:pt x="4148" y="5149"/>
                  </a:lnTo>
                  <a:lnTo>
                    <a:pt x="4143" y="4890"/>
                  </a:lnTo>
                  <a:lnTo>
                    <a:pt x="4143" y="4890"/>
                  </a:lnTo>
                  <a:lnTo>
                    <a:pt x="4143" y="206"/>
                  </a:lnTo>
                  <a:close/>
                  <a:moveTo>
                    <a:pt x="3284" y="4799"/>
                  </a:moveTo>
                  <a:lnTo>
                    <a:pt x="3284" y="4799"/>
                  </a:lnTo>
                  <a:lnTo>
                    <a:pt x="3278" y="5009"/>
                  </a:lnTo>
                  <a:lnTo>
                    <a:pt x="3257" y="5204"/>
                  </a:lnTo>
                  <a:lnTo>
                    <a:pt x="3230" y="5382"/>
                  </a:lnTo>
                  <a:lnTo>
                    <a:pt x="3192" y="5539"/>
                  </a:lnTo>
                  <a:lnTo>
                    <a:pt x="3149" y="5685"/>
                  </a:lnTo>
                  <a:lnTo>
                    <a:pt x="3094" y="5814"/>
                  </a:lnTo>
                  <a:lnTo>
                    <a:pt x="3035" y="5933"/>
                  </a:lnTo>
                  <a:lnTo>
                    <a:pt x="3003" y="5982"/>
                  </a:lnTo>
                  <a:lnTo>
                    <a:pt x="2971" y="6031"/>
                  </a:lnTo>
                  <a:lnTo>
                    <a:pt x="2933" y="6079"/>
                  </a:lnTo>
                  <a:lnTo>
                    <a:pt x="2895" y="6122"/>
                  </a:lnTo>
                  <a:lnTo>
                    <a:pt x="2857" y="6160"/>
                  </a:lnTo>
                  <a:lnTo>
                    <a:pt x="2819" y="6193"/>
                  </a:lnTo>
                  <a:lnTo>
                    <a:pt x="2738" y="6258"/>
                  </a:lnTo>
                  <a:lnTo>
                    <a:pt x="2652" y="6306"/>
                  </a:lnTo>
                  <a:lnTo>
                    <a:pt x="2560" y="6344"/>
                  </a:lnTo>
                  <a:lnTo>
                    <a:pt x="2468" y="6366"/>
                  </a:lnTo>
                  <a:lnTo>
                    <a:pt x="2371" y="6382"/>
                  </a:lnTo>
                  <a:lnTo>
                    <a:pt x="2274" y="6387"/>
                  </a:lnTo>
                  <a:lnTo>
                    <a:pt x="2274" y="6387"/>
                  </a:lnTo>
                  <a:lnTo>
                    <a:pt x="2192" y="6387"/>
                  </a:lnTo>
                  <a:lnTo>
                    <a:pt x="2117" y="6376"/>
                  </a:lnTo>
                  <a:lnTo>
                    <a:pt x="2041" y="6361"/>
                  </a:lnTo>
                  <a:lnTo>
                    <a:pt x="1971" y="6344"/>
                  </a:lnTo>
                  <a:lnTo>
                    <a:pt x="1901" y="6317"/>
                  </a:lnTo>
                  <a:lnTo>
                    <a:pt x="1836" y="6285"/>
                  </a:lnTo>
                  <a:lnTo>
                    <a:pt x="1771" y="6252"/>
                  </a:lnTo>
                  <a:lnTo>
                    <a:pt x="1706" y="6214"/>
                  </a:lnTo>
                  <a:lnTo>
                    <a:pt x="1647" y="6166"/>
                  </a:lnTo>
                  <a:lnTo>
                    <a:pt x="1593" y="6117"/>
                  </a:lnTo>
                  <a:lnTo>
                    <a:pt x="1539" y="6068"/>
                  </a:lnTo>
                  <a:lnTo>
                    <a:pt x="1485" y="6009"/>
                  </a:lnTo>
                  <a:lnTo>
                    <a:pt x="1436" y="5950"/>
                  </a:lnTo>
                  <a:lnTo>
                    <a:pt x="1388" y="5890"/>
                  </a:lnTo>
                  <a:lnTo>
                    <a:pt x="1344" y="5825"/>
                  </a:lnTo>
                  <a:lnTo>
                    <a:pt x="1302" y="5755"/>
                  </a:lnTo>
                  <a:lnTo>
                    <a:pt x="1258" y="5680"/>
                  </a:lnTo>
                  <a:lnTo>
                    <a:pt x="1221" y="5604"/>
                  </a:lnTo>
                  <a:lnTo>
                    <a:pt x="1156" y="5447"/>
                  </a:lnTo>
                  <a:lnTo>
                    <a:pt x="1096" y="5285"/>
                  </a:lnTo>
                  <a:lnTo>
                    <a:pt x="1053" y="5112"/>
                  </a:lnTo>
                  <a:lnTo>
                    <a:pt x="1015" y="4933"/>
                  </a:lnTo>
                  <a:lnTo>
                    <a:pt x="988" y="4755"/>
                  </a:lnTo>
                  <a:lnTo>
                    <a:pt x="972" y="4571"/>
                  </a:lnTo>
                  <a:lnTo>
                    <a:pt x="967" y="4388"/>
                  </a:lnTo>
                  <a:lnTo>
                    <a:pt x="967" y="4388"/>
                  </a:lnTo>
                  <a:lnTo>
                    <a:pt x="972" y="4285"/>
                  </a:lnTo>
                  <a:lnTo>
                    <a:pt x="972" y="4188"/>
                  </a:lnTo>
                  <a:lnTo>
                    <a:pt x="982" y="4090"/>
                  </a:lnTo>
                  <a:lnTo>
                    <a:pt x="994" y="3998"/>
                  </a:lnTo>
                  <a:lnTo>
                    <a:pt x="1010" y="3907"/>
                  </a:lnTo>
                  <a:lnTo>
                    <a:pt x="1026" y="3820"/>
                  </a:lnTo>
                  <a:lnTo>
                    <a:pt x="1047" y="3734"/>
                  </a:lnTo>
                  <a:lnTo>
                    <a:pt x="1074" y="3648"/>
                  </a:lnTo>
                  <a:lnTo>
                    <a:pt x="1096" y="3566"/>
                  </a:lnTo>
                  <a:lnTo>
                    <a:pt x="1129" y="3491"/>
                  </a:lnTo>
                  <a:lnTo>
                    <a:pt x="1161" y="3415"/>
                  </a:lnTo>
                  <a:lnTo>
                    <a:pt x="1193" y="3344"/>
                  </a:lnTo>
                  <a:lnTo>
                    <a:pt x="1231" y="3276"/>
                  </a:lnTo>
                  <a:lnTo>
                    <a:pt x="1269" y="3211"/>
                  </a:lnTo>
                  <a:lnTo>
                    <a:pt x="1307" y="3146"/>
                  </a:lnTo>
                  <a:lnTo>
                    <a:pt x="1350" y="3086"/>
                  </a:lnTo>
                  <a:lnTo>
                    <a:pt x="1393" y="3027"/>
                  </a:lnTo>
                  <a:lnTo>
                    <a:pt x="1442" y="2978"/>
                  </a:lnTo>
                  <a:lnTo>
                    <a:pt x="1491" y="2924"/>
                  </a:lnTo>
                  <a:lnTo>
                    <a:pt x="1539" y="2881"/>
                  </a:lnTo>
                  <a:lnTo>
                    <a:pt x="1587" y="2838"/>
                  </a:lnTo>
                  <a:lnTo>
                    <a:pt x="1642" y="2800"/>
                  </a:lnTo>
                  <a:lnTo>
                    <a:pt x="1696" y="2762"/>
                  </a:lnTo>
                  <a:lnTo>
                    <a:pt x="1750" y="2729"/>
                  </a:lnTo>
                  <a:lnTo>
                    <a:pt x="1804" y="2703"/>
                  </a:lnTo>
                  <a:lnTo>
                    <a:pt x="1863" y="2681"/>
                  </a:lnTo>
                  <a:lnTo>
                    <a:pt x="1917" y="2659"/>
                  </a:lnTo>
                  <a:lnTo>
                    <a:pt x="1977" y="2643"/>
                  </a:lnTo>
                  <a:lnTo>
                    <a:pt x="2036" y="2632"/>
                  </a:lnTo>
                  <a:lnTo>
                    <a:pt x="2096" y="2627"/>
                  </a:lnTo>
                  <a:lnTo>
                    <a:pt x="2155" y="2622"/>
                  </a:lnTo>
                  <a:lnTo>
                    <a:pt x="2214" y="2627"/>
                  </a:lnTo>
                  <a:lnTo>
                    <a:pt x="2214" y="2627"/>
                  </a:lnTo>
                  <a:lnTo>
                    <a:pt x="2295" y="2632"/>
                  </a:lnTo>
                  <a:lnTo>
                    <a:pt x="2371" y="2643"/>
                  </a:lnTo>
                  <a:lnTo>
                    <a:pt x="2441" y="2654"/>
                  </a:lnTo>
                  <a:lnTo>
                    <a:pt x="2506" y="2670"/>
                  </a:lnTo>
                  <a:lnTo>
                    <a:pt x="2571" y="2692"/>
                  </a:lnTo>
                  <a:lnTo>
                    <a:pt x="2630" y="2718"/>
                  </a:lnTo>
                  <a:lnTo>
                    <a:pt x="2684" y="2746"/>
                  </a:lnTo>
                  <a:lnTo>
                    <a:pt x="2738" y="2778"/>
                  </a:lnTo>
                  <a:lnTo>
                    <a:pt x="2792" y="2810"/>
                  </a:lnTo>
                  <a:lnTo>
                    <a:pt x="2835" y="2854"/>
                  </a:lnTo>
                  <a:lnTo>
                    <a:pt x="2884" y="2892"/>
                  </a:lnTo>
                  <a:lnTo>
                    <a:pt x="2922" y="2940"/>
                  </a:lnTo>
                  <a:lnTo>
                    <a:pt x="2965" y="2989"/>
                  </a:lnTo>
                  <a:lnTo>
                    <a:pt x="2998" y="3043"/>
                  </a:lnTo>
                  <a:lnTo>
                    <a:pt x="3035" y="3097"/>
                  </a:lnTo>
                  <a:lnTo>
                    <a:pt x="3062" y="3156"/>
                  </a:lnTo>
                  <a:lnTo>
                    <a:pt x="3094" y="3221"/>
                  </a:lnTo>
                  <a:lnTo>
                    <a:pt x="3116" y="3286"/>
                  </a:lnTo>
                  <a:lnTo>
                    <a:pt x="3165" y="3426"/>
                  </a:lnTo>
                  <a:lnTo>
                    <a:pt x="3203" y="3583"/>
                  </a:lnTo>
                  <a:lnTo>
                    <a:pt x="3230" y="3750"/>
                  </a:lnTo>
                  <a:lnTo>
                    <a:pt x="3251" y="3933"/>
                  </a:lnTo>
                  <a:lnTo>
                    <a:pt x="3268" y="4128"/>
                  </a:lnTo>
                  <a:lnTo>
                    <a:pt x="3278" y="4334"/>
                  </a:lnTo>
                  <a:lnTo>
                    <a:pt x="3284" y="4550"/>
                  </a:lnTo>
                  <a:lnTo>
                    <a:pt x="3284" y="4550"/>
                  </a:lnTo>
                  <a:lnTo>
                    <a:pt x="3284" y="479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5" name="Freeform 2">
              <a:extLst>
                <a:ext uri="{FF2B5EF4-FFF2-40B4-BE49-F238E27FC236}">
                  <a16:creationId xmlns:a16="http://schemas.microsoft.com/office/drawing/2014/main" id="{14FDA08B-C213-7E4F-AB0A-32BDAAD389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02663" y="3449638"/>
              <a:ext cx="1500187" cy="1525587"/>
            </a:xfrm>
            <a:custGeom>
              <a:avLst/>
              <a:gdLst>
                <a:gd name="T0" fmla="*/ 2349 w 4165"/>
                <a:gd name="T1" fmla="*/ 2031 h 4237"/>
                <a:gd name="T2" fmla="*/ 2349 w 4165"/>
                <a:gd name="T3" fmla="*/ 2053 h 4237"/>
                <a:gd name="T4" fmla="*/ 2349 w 4165"/>
                <a:gd name="T5" fmla="*/ 2085 h 4237"/>
                <a:gd name="T6" fmla="*/ 2355 w 4165"/>
                <a:gd name="T7" fmla="*/ 2912 h 4237"/>
                <a:gd name="T8" fmla="*/ 2268 w 4165"/>
                <a:gd name="T9" fmla="*/ 3425 h 4237"/>
                <a:gd name="T10" fmla="*/ 1966 w 4165"/>
                <a:gd name="T11" fmla="*/ 3863 h 4237"/>
                <a:gd name="T12" fmla="*/ 1587 w 4165"/>
                <a:gd name="T13" fmla="*/ 3993 h 4237"/>
                <a:gd name="T14" fmla="*/ 1128 w 4165"/>
                <a:gd name="T15" fmla="*/ 3836 h 4237"/>
                <a:gd name="T16" fmla="*/ 929 w 4165"/>
                <a:gd name="T17" fmla="*/ 3512 h 4237"/>
                <a:gd name="T18" fmla="*/ 907 w 4165"/>
                <a:gd name="T19" fmla="*/ 3171 h 4237"/>
                <a:gd name="T20" fmla="*/ 1058 w 4165"/>
                <a:gd name="T21" fmla="*/ 2793 h 4237"/>
                <a:gd name="T22" fmla="*/ 1453 w 4165"/>
                <a:gd name="T23" fmla="*/ 2393 h 4237"/>
                <a:gd name="T24" fmla="*/ 1966 w 4165"/>
                <a:gd name="T25" fmla="*/ 2118 h 4237"/>
                <a:gd name="T26" fmla="*/ 2333 w 4165"/>
                <a:gd name="T27" fmla="*/ 1993 h 4237"/>
                <a:gd name="T28" fmla="*/ 2344 w 4165"/>
                <a:gd name="T29" fmla="*/ 1393 h 4237"/>
                <a:gd name="T30" fmla="*/ 2333 w 4165"/>
                <a:gd name="T31" fmla="*/ 1496 h 4237"/>
                <a:gd name="T32" fmla="*/ 2263 w 4165"/>
                <a:gd name="T33" fmla="*/ 1691 h 4237"/>
                <a:gd name="T34" fmla="*/ 2020 w 4165"/>
                <a:gd name="T35" fmla="*/ 1890 h 4237"/>
                <a:gd name="T36" fmla="*/ 1177 w 4165"/>
                <a:gd name="T37" fmla="*/ 2096 h 4237"/>
                <a:gd name="T38" fmla="*/ 659 w 4165"/>
                <a:gd name="T39" fmla="*/ 2236 h 4237"/>
                <a:gd name="T40" fmla="*/ 210 w 4165"/>
                <a:gd name="T41" fmla="*/ 2555 h 4237"/>
                <a:gd name="T42" fmla="*/ 43 w 4165"/>
                <a:gd name="T43" fmla="*/ 2852 h 4237"/>
                <a:gd name="T44" fmla="*/ 0 w 4165"/>
                <a:gd name="T45" fmla="*/ 3182 h 4237"/>
                <a:gd name="T46" fmla="*/ 86 w 4165"/>
                <a:gd name="T47" fmla="*/ 3577 h 4237"/>
                <a:gd name="T48" fmla="*/ 291 w 4165"/>
                <a:gd name="T49" fmla="*/ 3863 h 4237"/>
                <a:gd name="T50" fmla="*/ 794 w 4165"/>
                <a:gd name="T51" fmla="*/ 4150 h 4237"/>
                <a:gd name="T52" fmla="*/ 1344 w 4165"/>
                <a:gd name="T53" fmla="*/ 4231 h 4237"/>
                <a:gd name="T54" fmla="*/ 1847 w 4165"/>
                <a:gd name="T55" fmla="*/ 4139 h 4237"/>
                <a:gd name="T56" fmla="*/ 2322 w 4165"/>
                <a:gd name="T57" fmla="*/ 3874 h 4237"/>
                <a:gd name="T58" fmla="*/ 2425 w 4165"/>
                <a:gd name="T59" fmla="*/ 3858 h 4237"/>
                <a:gd name="T60" fmla="*/ 2684 w 4165"/>
                <a:gd name="T61" fmla="*/ 4074 h 4237"/>
                <a:gd name="T62" fmla="*/ 3105 w 4165"/>
                <a:gd name="T63" fmla="*/ 4215 h 4237"/>
                <a:gd name="T64" fmla="*/ 3618 w 4165"/>
                <a:gd name="T65" fmla="*/ 4225 h 4237"/>
                <a:gd name="T66" fmla="*/ 4002 w 4165"/>
                <a:gd name="T67" fmla="*/ 4079 h 4237"/>
                <a:gd name="T68" fmla="*/ 4153 w 4165"/>
                <a:gd name="T69" fmla="*/ 3852 h 4237"/>
                <a:gd name="T70" fmla="*/ 4148 w 4165"/>
                <a:gd name="T71" fmla="*/ 3744 h 4237"/>
                <a:gd name="T72" fmla="*/ 4051 w 4165"/>
                <a:gd name="T73" fmla="*/ 3739 h 4237"/>
                <a:gd name="T74" fmla="*/ 3915 w 4165"/>
                <a:gd name="T75" fmla="*/ 3928 h 4237"/>
                <a:gd name="T76" fmla="*/ 3689 w 4165"/>
                <a:gd name="T77" fmla="*/ 4004 h 4237"/>
                <a:gd name="T78" fmla="*/ 3446 w 4165"/>
                <a:gd name="T79" fmla="*/ 3917 h 4237"/>
                <a:gd name="T80" fmla="*/ 3251 w 4165"/>
                <a:gd name="T81" fmla="*/ 3490 h 4237"/>
                <a:gd name="T82" fmla="*/ 3213 w 4165"/>
                <a:gd name="T83" fmla="*/ 1101 h 4237"/>
                <a:gd name="T84" fmla="*/ 3100 w 4165"/>
                <a:gd name="T85" fmla="*/ 627 h 4237"/>
                <a:gd name="T86" fmla="*/ 2879 w 4165"/>
                <a:gd name="T87" fmla="*/ 362 h 4237"/>
                <a:gd name="T88" fmla="*/ 2533 w 4165"/>
                <a:gd name="T89" fmla="*/ 157 h 4237"/>
                <a:gd name="T90" fmla="*/ 1949 w 4165"/>
                <a:gd name="T91" fmla="*/ 22 h 4237"/>
                <a:gd name="T92" fmla="*/ 1188 w 4165"/>
                <a:gd name="T93" fmla="*/ 16 h 4237"/>
                <a:gd name="T94" fmla="*/ 697 w 4165"/>
                <a:gd name="T95" fmla="*/ 130 h 4237"/>
                <a:gd name="T96" fmla="*/ 404 w 4165"/>
                <a:gd name="T97" fmla="*/ 308 h 4237"/>
                <a:gd name="T98" fmla="*/ 205 w 4165"/>
                <a:gd name="T99" fmla="*/ 675 h 4237"/>
                <a:gd name="T100" fmla="*/ 221 w 4165"/>
                <a:gd name="T101" fmla="*/ 977 h 4237"/>
                <a:gd name="T102" fmla="*/ 367 w 4165"/>
                <a:gd name="T103" fmla="*/ 1134 h 4237"/>
                <a:gd name="T104" fmla="*/ 610 w 4165"/>
                <a:gd name="T105" fmla="*/ 1183 h 4237"/>
                <a:gd name="T106" fmla="*/ 858 w 4165"/>
                <a:gd name="T107" fmla="*/ 1074 h 4237"/>
                <a:gd name="T108" fmla="*/ 1020 w 4165"/>
                <a:gd name="T109" fmla="*/ 740 h 4237"/>
                <a:gd name="T110" fmla="*/ 1161 w 4165"/>
                <a:gd name="T111" fmla="*/ 384 h 4237"/>
                <a:gd name="T112" fmla="*/ 1512 w 4165"/>
                <a:gd name="T113" fmla="*/ 216 h 4237"/>
                <a:gd name="T114" fmla="*/ 1912 w 4165"/>
                <a:gd name="T115" fmla="*/ 287 h 4237"/>
                <a:gd name="T116" fmla="*/ 2230 w 4165"/>
                <a:gd name="T117" fmla="*/ 627 h 4237"/>
                <a:gd name="T118" fmla="*/ 2344 w 4165"/>
                <a:gd name="T119" fmla="*/ 1177 h 4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65" h="4237">
                  <a:moveTo>
                    <a:pt x="2333" y="1993"/>
                  </a:moveTo>
                  <a:lnTo>
                    <a:pt x="2333" y="1993"/>
                  </a:lnTo>
                  <a:lnTo>
                    <a:pt x="2344" y="2009"/>
                  </a:lnTo>
                  <a:lnTo>
                    <a:pt x="2349" y="2031"/>
                  </a:lnTo>
                  <a:lnTo>
                    <a:pt x="2349" y="2031"/>
                  </a:lnTo>
                  <a:lnTo>
                    <a:pt x="2349" y="2031"/>
                  </a:lnTo>
                  <a:lnTo>
                    <a:pt x="2349" y="2031"/>
                  </a:lnTo>
                  <a:lnTo>
                    <a:pt x="2349" y="2031"/>
                  </a:lnTo>
                  <a:lnTo>
                    <a:pt x="2349" y="2031"/>
                  </a:lnTo>
                  <a:lnTo>
                    <a:pt x="2349" y="2053"/>
                  </a:lnTo>
                  <a:lnTo>
                    <a:pt x="2349" y="2053"/>
                  </a:lnTo>
                  <a:lnTo>
                    <a:pt x="2349" y="2053"/>
                  </a:lnTo>
                  <a:lnTo>
                    <a:pt x="2349" y="2053"/>
                  </a:lnTo>
                  <a:lnTo>
                    <a:pt x="2349" y="2058"/>
                  </a:lnTo>
                  <a:lnTo>
                    <a:pt x="2349" y="2058"/>
                  </a:lnTo>
                  <a:lnTo>
                    <a:pt x="2349" y="2080"/>
                  </a:lnTo>
                  <a:lnTo>
                    <a:pt x="2349" y="2080"/>
                  </a:lnTo>
                  <a:lnTo>
                    <a:pt x="2349" y="2085"/>
                  </a:lnTo>
                  <a:lnTo>
                    <a:pt x="2349" y="2085"/>
                  </a:lnTo>
                  <a:lnTo>
                    <a:pt x="2349" y="2080"/>
                  </a:lnTo>
                  <a:lnTo>
                    <a:pt x="2349" y="2080"/>
                  </a:lnTo>
                  <a:lnTo>
                    <a:pt x="2349" y="2085"/>
                  </a:lnTo>
                  <a:lnTo>
                    <a:pt x="2355" y="2912"/>
                  </a:lnTo>
                  <a:lnTo>
                    <a:pt x="2355" y="2912"/>
                  </a:lnTo>
                  <a:lnTo>
                    <a:pt x="2355" y="2912"/>
                  </a:lnTo>
                  <a:lnTo>
                    <a:pt x="2349" y="3020"/>
                  </a:lnTo>
                  <a:lnTo>
                    <a:pt x="2338" y="3128"/>
                  </a:lnTo>
                  <a:lnTo>
                    <a:pt x="2322" y="3231"/>
                  </a:lnTo>
                  <a:lnTo>
                    <a:pt x="2301" y="3334"/>
                  </a:lnTo>
                  <a:lnTo>
                    <a:pt x="2268" y="3425"/>
                  </a:lnTo>
                  <a:lnTo>
                    <a:pt x="2230" y="3517"/>
                  </a:lnTo>
                  <a:lnTo>
                    <a:pt x="2192" y="3599"/>
                  </a:lnTo>
                  <a:lnTo>
                    <a:pt x="2144" y="3680"/>
                  </a:lnTo>
                  <a:lnTo>
                    <a:pt x="2090" y="3750"/>
                  </a:lnTo>
                  <a:lnTo>
                    <a:pt x="2031" y="3809"/>
                  </a:lnTo>
                  <a:lnTo>
                    <a:pt x="1966" y="3863"/>
                  </a:lnTo>
                  <a:lnTo>
                    <a:pt x="1901" y="3907"/>
                  </a:lnTo>
                  <a:lnTo>
                    <a:pt x="1825" y="3944"/>
                  </a:lnTo>
                  <a:lnTo>
                    <a:pt x="1750" y="3972"/>
                  </a:lnTo>
                  <a:lnTo>
                    <a:pt x="1669" y="3988"/>
                  </a:lnTo>
                  <a:lnTo>
                    <a:pt x="1587" y="3993"/>
                  </a:lnTo>
                  <a:lnTo>
                    <a:pt x="1587" y="3993"/>
                  </a:lnTo>
                  <a:lnTo>
                    <a:pt x="1491" y="3988"/>
                  </a:lnTo>
                  <a:lnTo>
                    <a:pt x="1399" y="3972"/>
                  </a:lnTo>
                  <a:lnTo>
                    <a:pt x="1317" y="3950"/>
                  </a:lnTo>
                  <a:lnTo>
                    <a:pt x="1248" y="3917"/>
                  </a:lnTo>
                  <a:lnTo>
                    <a:pt x="1183" y="3880"/>
                  </a:lnTo>
                  <a:lnTo>
                    <a:pt x="1128" y="3836"/>
                  </a:lnTo>
                  <a:lnTo>
                    <a:pt x="1080" y="3787"/>
                  </a:lnTo>
                  <a:lnTo>
                    <a:pt x="1037" y="3733"/>
                  </a:lnTo>
                  <a:lnTo>
                    <a:pt x="999" y="3680"/>
                  </a:lnTo>
                  <a:lnTo>
                    <a:pt x="972" y="3626"/>
                  </a:lnTo>
                  <a:lnTo>
                    <a:pt x="945" y="3571"/>
                  </a:lnTo>
                  <a:lnTo>
                    <a:pt x="929" y="3512"/>
                  </a:lnTo>
                  <a:lnTo>
                    <a:pt x="913" y="3458"/>
                  </a:lnTo>
                  <a:lnTo>
                    <a:pt x="902" y="3410"/>
                  </a:lnTo>
                  <a:lnTo>
                    <a:pt x="896" y="3318"/>
                  </a:lnTo>
                  <a:lnTo>
                    <a:pt x="896" y="3318"/>
                  </a:lnTo>
                  <a:lnTo>
                    <a:pt x="896" y="3225"/>
                  </a:lnTo>
                  <a:lnTo>
                    <a:pt x="907" y="3171"/>
                  </a:lnTo>
                  <a:lnTo>
                    <a:pt x="918" y="3117"/>
                  </a:lnTo>
                  <a:lnTo>
                    <a:pt x="934" y="3058"/>
                  </a:lnTo>
                  <a:lnTo>
                    <a:pt x="956" y="2993"/>
                  </a:lnTo>
                  <a:lnTo>
                    <a:pt x="982" y="2928"/>
                  </a:lnTo>
                  <a:lnTo>
                    <a:pt x="1015" y="2863"/>
                  </a:lnTo>
                  <a:lnTo>
                    <a:pt x="1058" y="2793"/>
                  </a:lnTo>
                  <a:lnTo>
                    <a:pt x="1101" y="2728"/>
                  </a:lnTo>
                  <a:lnTo>
                    <a:pt x="1156" y="2658"/>
                  </a:lnTo>
                  <a:lnTo>
                    <a:pt x="1220" y="2588"/>
                  </a:lnTo>
                  <a:lnTo>
                    <a:pt x="1290" y="2523"/>
                  </a:lnTo>
                  <a:lnTo>
                    <a:pt x="1366" y="2458"/>
                  </a:lnTo>
                  <a:lnTo>
                    <a:pt x="1453" y="2393"/>
                  </a:lnTo>
                  <a:lnTo>
                    <a:pt x="1550" y="2334"/>
                  </a:lnTo>
                  <a:lnTo>
                    <a:pt x="1550" y="2334"/>
                  </a:lnTo>
                  <a:lnTo>
                    <a:pt x="1598" y="2307"/>
                  </a:lnTo>
                  <a:lnTo>
                    <a:pt x="1739" y="2231"/>
                  </a:lnTo>
                  <a:lnTo>
                    <a:pt x="1842" y="2177"/>
                  </a:lnTo>
                  <a:lnTo>
                    <a:pt x="1966" y="2118"/>
                  </a:lnTo>
                  <a:lnTo>
                    <a:pt x="2117" y="2053"/>
                  </a:lnTo>
                  <a:lnTo>
                    <a:pt x="2284" y="1988"/>
                  </a:lnTo>
                  <a:lnTo>
                    <a:pt x="2284" y="1988"/>
                  </a:lnTo>
                  <a:lnTo>
                    <a:pt x="2311" y="1982"/>
                  </a:lnTo>
                  <a:lnTo>
                    <a:pt x="2322" y="1982"/>
                  </a:lnTo>
                  <a:lnTo>
                    <a:pt x="2333" y="1993"/>
                  </a:lnTo>
                  <a:close/>
                  <a:moveTo>
                    <a:pt x="2344" y="1177"/>
                  </a:moveTo>
                  <a:lnTo>
                    <a:pt x="2344" y="1177"/>
                  </a:lnTo>
                  <a:lnTo>
                    <a:pt x="2344" y="1177"/>
                  </a:lnTo>
                  <a:lnTo>
                    <a:pt x="2344" y="1296"/>
                  </a:lnTo>
                  <a:lnTo>
                    <a:pt x="2344" y="1393"/>
                  </a:lnTo>
                  <a:lnTo>
                    <a:pt x="2344" y="1393"/>
                  </a:lnTo>
                  <a:lnTo>
                    <a:pt x="2333" y="1485"/>
                  </a:lnTo>
                  <a:lnTo>
                    <a:pt x="2333" y="1485"/>
                  </a:lnTo>
                  <a:lnTo>
                    <a:pt x="2333" y="1485"/>
                  </a:lnTo>
                  <a:lnTo>
                    <a:pt x="2333" y="1485"/>
                  </a:lnTo>
                  <a:lnTo>
                    <a:pt x="2333" y="1496"/>
                  </a:lnTo>
                  <a:lnTo>
                    <a:pt x="2333" y="1496"/>
                  </a:lnTo>
                  <a:lnTo>
                    <a:pt x="2328" y="1512"/>
                  </a:lnTo>
                  <a:lnTo>
                    <a:pt x="2328" y="1512"/>
                  </a:lnTo>
                  <a:lnTo>
                    <a:pt x="2328" y="1512"/>
                  </a:lnTo>
                  <a:lnTo>
                    <a:pt x="2317" y="1582"/>
                  </a:lnTo>
                  <a:lnTo>
                    <a:pt x="2290" y="1642"/>
                  </a:lnTo>
                  <a:lnTo>
                    <a:pt x="2263" y="1691"/>
                  </a:lnTo>
                  <a:lnTo>
                    <a:pt x="2230" y="1739"/>
                  </a:lnTo>
                  <a:lnTo>
                    <a:pt x="2187" y="1783"/>
                  </a:lnTo>
                  <a:lnTo>
                    <a:pt x="2139" y="1820"/>
                  </a:lnTo>
                  <a:lnTo>
                    <a:pt x="2085" y="1852"/>
                  </a:lnTo>
                  <a:lnTo>
                    <a:pt x="2020" y="1890"/>
                  </a:lnTo>
                  <a:lnTo>
                    <a:pt x="2020" y="1890"/>
                  </a:lnTo>
                  <a:lnTo>
                    <a:pt x="1966" y="1912"/>
                  </a:lnTo>
                  <a:lnTo>
                    <a:pt x="1912" y="1934"/>
                  </a:lnTo>
                  <a:lnTo>
                    <a:pt x="1771" y="1972"/>
                  </a:lnTo>
                  <a:lnTo>
                    <a:pt x="1620" y="2009"/>
                  </a:lnTo>
                  <a:lnTo>
                    <a:pt x="1458" y="2047"/>
                  </a:lnTo>
                  <a:lnTo>
                    <a:pt x="1177" y="2096"/>
                  </a:lnTo>
                  <a:lnTo>
                    <a:pt x="1020" y="2129"/>
                  </a:lnTo>
                  <a:lnTo>
                    <a:pt x="1020" y="2129"/>
                  </a:lnTo>
                  <a:lnTo>
                    <a:pt x="896" y="2156"/>
                  </a:lnTo>
                  <a:lnTo>
                    <a:pt x="821" y="2177"/>
                  </a:lnTo>
                  <a:lnTo>
                    <a:pt x="745" y="2204"/>
                  </a:lnTo>
                  <a:lnTo>
                    <a:pt x="659" y="2236"/>
                  </a:lnTo>
                  <a:lnTo>
                    <a:pt x="572" y="2280"/>
                  </a:lnTo>
                  <a:lnTo>
                    <a:pt x="486" y="2323"/>
                  </a:lnTo>
                  <a:lnTo>
                    <a:pt x="400" y="2377"/>
                  </a:lnTo>
                  <a:lnTo>
                    <a:pt x="318" y="2442"/>
                  </a:lnTo>
                  <a:lnTo>
                    <a:pt x="243" y="2512"/>
                  </a:lnTo>
                  <a:lnTo>
                    <a:pt x="210" y="2555"/>
                  </a:lnTo>
                  <a:lnTo>
                    <a:pt x="172" y="2599"/>
                  </a:lnTo>
                  <a:lnTo>
                    <a:pt x="140" y="2642"/>
                  </a:lnTo>
                  <a:lnTo>
                    <a:pt x="113" y="2691"/>
                  </a:lnTo>
                  <a:lnTo>
                    <a:pt x="86" y="2739"/>
                  </a:lnTo>
                  <a:lnTo>
                    <a:pt x="65" y="2793"/>
                  </a:lnTo>
                  <a:lnTo>
                    <a:pt x="43" y="2852"/>
                  </a:lnTo>
                  <a:lnTo>
                    <a:pt x="27" y="2912"/>
                  </a:lnTo>
                  <a:lnTo>
                    <a:pt x="16" y="2972"/>
                  </a:lnTo>
                  <a:lnTo>
                    <a:pt x="5" y="3042"/>
                  </a:lnTo>
                  <a:lnTo>
                    <a:pt x="0" y="3112"/>
                  </a:lnTo>
                  <a:lnTo>
                    <a:pt x="0" y="3182"/>
                  </a:lnTo>
                  <a:lnTo>
                    <a:pt x="0" y="3182"/>
                  </a:lnTo>
                  <a:lnTo>
                    <a:pt x="5" y="3258"/>
                  </a:lnTo>
                  <a:lnTo>
                    <a:pt x="11" y="3328"/>
                  </a:lnTo>
                  <a:lnTo>
                    <a:pt x="27" y="3393"/>
                  </a:lnTo>
                  <a:lnTo>
                    <a:pt x="38" y="3458"/>
                  </a:lnTo>
                  <a:lnTo>
                    <a:pt x="59" y="3517"/>
                  </a:lnTo>
                  <a:lnTo>
                    <a:pt x="86" y="3577"/>
                  </a:lnTo>
                  <a:lnTo>
                    <a:pt x="107" y="3631"/>
                  </a:lnTo>
                  <a:lnTo>
                    <a:pt x="140" y="3685"/>
                  </a:lnTo>
                  <a:lnTo>
                    <a:pt x="172" y="3733"/>
                  </a:lnTo>
                  <a:lnTo>
                    <a:pt x="210" y="3777"/>
                  </a:lnTo>
                  <a:lnTo>
                    <a:pt x="248" y="3825"/>
                  </a:lnTo>
                  <a:lnTo>
                    <a:pt x="291" y="3863"/>
                  </a:lnTo>
                  <a:lnTo>
                    <a:pt x="335" y="3907"/>
                  </a:lnTo>
                  <a:lnTo>
                    <a:pt x="378" y="3939"/>
                  </a:lnTo>
                  <a:lnTo>
                    <a:pt x="475" y="4009"/>
                  </a:lnTo>
                  <a:lnTo>
                    <a:pt x="578" y="4063"/>
                  </a:lnTo>
                  <a:lnTo>
                    <a:pt x="686" y="4112"/>
                  </a:lnTo>
                  <a:lnTo>
                    <a:pt x="794" y="4150"/>
                  </a:lnTo>
                  <a:lnTo>
                    <a:pt x="907" y="4182"/>
                  </a:lnTo>
                  <a:lnTo>
                    <a:pt x="1020" y="4204"/>
                  </a:lnTo>
                  <a:lnTo>
                    <a:pt x="1128" y="4220"/>
                  </a:lnTo>
                  <a:lnTo>
                    <a:pt x="1237" y="4225"/>
                  </a:lnTo>
                  <a:lnTo>
                    <a:pt x="1344" y="4231"/>
                  </a:lnTo>
                  <a:lnTo>
                    <a:pt x="1344" y="4231"/>
                  </a:lnTo>
                  <a:lnTo>
                    <a:pt x="1442" y="4225"/>
                  </a:lnTo>
                  <a:lnTo>
                    <a:pt x="1534" y="4215"/>
                  </a:lnTo>
                  <a:lnTo>
                    <a:pt x="1620" y="4198"/>
                  </a:lnTo>
                  <a:lnTo>
                    <a:pt x="1701" y="4182"/>
                  </a:lnTo>
                  <a:lnTo>
                    <a:pt x="1777" y="4166"/>
                  </a:lnTo>
                  <a:lnTo>
                    <a:pt x="1847" y="4139"/>
                  </a:lnTo>
                  <a:lnTo>
                    <a:pt x="1917" y="4117"/>
                  </a:lnTo>
                  <a:lnTo>
                    <a:pt x="1976" y="4090"/>
                  </a:lnTo>
                  <a:lnTo>
                    <a:pt x="2090" y="4031"/>
                  </a:lnTo>
                  <a:lnTo>
                    <a:pt x="2187" y="3976"/>
                  </a:lnTo>
                  <a:lnTo>
                    <a:pt x="2263" y="3923"/>
                  </a:lnTo>
                  <a:lnTo>
                    <a:pt x="2322" y="3874"/>
                  </a:lnTo>
                  <a:lnTo>
                    <a:pt x="2322" y="3874"/>
                  </a:lnTo>
                  <a:lnTo>
                    <a:pt x="2371" y="3842"/>
                  </a:lnTo>
                  <a:lnTo>
                    <a:pt x="2387" y="3836"/>
                  </a:lnTo>
                  <a:lnTo>
                    <a:pt x="2398" y="3836"/>
                  </a:lnTo>
                  <a:lnTo>
                    <a:pt x="2409" y="3842"/>
                  </a:lnTo>
                  <a:lnTo>
                    <a:pt x="2425" y="3858"/>
                  </a:lnTo>
                  <a:lnTo>
                    <a:pt x="2462" y="3901"/>
                  </a:lnTo>
                  <a:lnTo>
                    <a:pt x="2462" y="3901"/>
                  </a:lnTo>
                  <a:lnTo>
                    <a:pt x="2500" y="3939"/>
                  </a:lnTo>
                  <a:lnTo>
                    <a:pt x="2560" y="3993"/>
                  </a:lnTo>
                  <a:lnTo>
                    <a:pt x="2636" y="4047"/>
                  </a:lnTo>
                  <a:lnTo>
                    <a:pt x="2684" y="4074"/>
                  </a:lnTo>
                  <a:lnTo>
                    <a:pt x="2738" y="4101"/>
                  </a:lnTo>
                  <a:lnTo>
                    <a:pt x="2797" y="4128"/>
                  </a:lnTo>
                  <a:lnTo>
                    <a:pt x="2862" y="4155"/>
                  </a:lnTo>
                  <a:lnTo>
                    <a:pt x="2938" y="4177"/>
                  </a:lnTo>
                  <a:lnTo>
                    <a:pt x="3019" y="4198"/>
                  </a:lnTo>
                  <a:lnTo>
                    <a:pt x="3105" y="4215"/>
                  </a:lnTo>
                  <a:lnTo>
                    <a:pt x="3197" y="4225"/>
                  </a:lnTo>
                  <a:lnTo>
                    <a:pt x="3300" y="4236"/>
                  </a:lnTo>
                  <a:lnTo>
                    <a:pt x="3413" y="4236"/>
                  </a:lnTo>
                  <a:lnTo>
                    <a:pt x="3413" y="4236"/>
                  </a:lnTo>
                  <a:lnTo>
                    <a:pt x="3521" y="4231"/>
                  </a:lnTo>
                  <a:lnTo>
                    <a:pt x="3618" y="4225"/>
                  </a:lnTo>
                  <a:lnTo>
                    <a:pt x="3705" y="4209"/>
                  </a:lnTo>
                  <a:lnTo>
                    <a:pt x="3781" y="4188"/>
                  </a:lnTo>
                  <a:lnTo>
                    <a:pt x="3851" y="4166"/>
                  </a:lnTo>
                  <a:lnTo>
                    <a:pt x="3910" y="4139"/>
                  </a:lnTo>
                  <a:lnTo>
                    <a:pt x="3959" y="4106"/>
                  </a:lnTo>
                  <a:lnTo>
                    <a:pt x="4002" y="4079"/>
                  </a:lnTo>
                  <a:lnTo>
                    <a:pt x="4034" y="4047"/>
                  </a:lnTo>
                  <a:lnTo>
                    <a:pt x="4067" y="4014"/>
                  </a:lnTo>
                  <a:lnTo>
                    <a:pt x="4089" y="3982"/>
                  </a:lnTo>
                  <a:lnTo>
                    <a:pt x="4110" y="3950"/>
                  </a:lnTo>
                  <a:lnTo>
                    <a:pt x="4137" y="3896"/>
                  </a:lnTo>
                  <a:lnTo>
                    <a:pt x="4153" y="3852"/>
                  </a:lnTo>
                  <a:lnTo>
                    <a:pt x="4153" y="3852"/>
                  </a:lnTo>
                  <a:lnTo>
                    <a:pt x="4164" y="3831"/>
                  </a:lnTo>
                  <a:lnTo>
                    <a:pt x="4164" y="3809"/>
                  </a:lnTo>
                  <a:lnTo>
                    <a:pt x="4164" y="3793"/>
                  </a:lnTo>
                  <a:lnTo>
                    <a:pt x="4164" y="3771"/>
                  </a:lnTo>
                  <a:lnTo>
                    <a:pt x="4148" y="3744"/>
                  </a:lnTo>
                  <a:lnTo>
                    <a:pt x="4126" y="3728"/>
                  </a:lnTo>
                  <a:lnTo>
                    <a:pt x="4099" y="3717"/>
                  </a:lnTo>
                  <a:lnTo>
                    <a:pt x="4089" y="3717"/>
                  </a:lnTo>
                  <a:lnTo>
                    <a:pt x="4072" y="3723"/>
                  </a:lnTo>
                  <a:lnTo>
                    <a:pt x="4061" y="3728"/>
                  </a:lnTo>
                  <a:lnTo>
                    <a:pt x="4051" y="3739"/>
                  </a:lnTo>
                  <a:lnTo>
                    <a:pt x="4034" y="3755"/>
                  </a:lnTo>
                  <a:lnTo>
                    <a:pt x="4029" y="3777"/>
                  </a:lnTo>
                  <a:lnTo>
                    <a:pt x="4029" y="3777"/>
                  </a:lnTo>
                  <a:lnTo>
                    <a:pt x="3997" y="3836"/>
                  </a:lnTo>
                  <a:lnTo>
                    <a:pt x="3959" y="3885"/>
                  </a:lnTo>
                  <a:lnTo>
                    <a:pt x="3915" y="3928"/>
                  </a:lnTo>
                  <a:lnTo>
                    <a:pt x="3867" y="3955"/>
                  </a:lnTo>
                  <a:lnTo>
                    <a:pt x="3824" y="3982"/>
                  </a:lnTo>
                  <a:lnTo>
                    <a:pt x="3775" y="3993"/>
                  </a:lnTo>
                  <a:lnTo>
                    <a:pt x="3732" y="4004"/>
                  </a:lnTo>
                  <a:lnTo>
                    <a:pt x="3689" y="4004"/>
                  </a:lnTo>
                  <a:lnTo>
                    <a:pt x="3689" y="4004"/>
                  </a:lnTo>
                  <a:lnTo>
                    <a:pt x="3635" y="3999"/>
                  </a:lnTo>
                  <a:lnTo>
                    <a:pt x="3603" y="3993"/>
                  </a:lnTo>
                  <a:lnTo>
                    <a:pt x="3565" y="3982"/>
                  </a:lnTo>
                  <a:lnTo>
                    <a:pt x="3527" y="3972"/>
                  </a:lnTo>
                  <a:lnTo>
                    <a:pt x="3489" y="3944"/>
                  </a:lnTo>
                  <a:lnTo>
                    <a:pt x="3446" y="3917"/>
                  </a:lnTo>
                  <a:lnTo>
                    <a:pt x="3408" y="3874"/>
                  </a:lnTo>
                  <a:lnTo>
                    <a:pt x="3370" y="3825"/>
                  </a:lnTo>
                  <a:lnTo>
                    <a:pt x="3332" y="3760"/>
                  </a:lnTo>
                  <a:lnTo>
                    <a:pt x="3300" y="3685"/>
                  </a:lnTo>
                  <a:lnTo>
                    <a:pt x="3273" y="3599"/>
                  </a:lnTo>
                  <a:lnTo>
                    <a:pt x="3251" y="3490"/>
                  </a:lnTo>
                  <a:lnTo>
                    <a:pt x="3230" y="3372"/>
                  </a:lnTo>
                  <a:lnTo>
                    <a:pt x="3219" y="3231"/>
                  </a:lnTo>
                  <a:lnTo>
                    <a:pt x="3213" y="3068"/>
                  </a:lnTo>
                  <a:lnTo>
                    <a:pt x="3213" y="3068"/>
                  </a:lnTo>
                  <a:lnTo>
                    <a:pt x="3213" y="1101"/>
                  </a:lnTo>
                  <a:lnTo>
                    <a:pt x="3213" y="1101"/>
                  </a:lnTo>
                  <a:lnTo>
                    <a:pt x="3208" y="988"/>
                  </a:lnTo>
                  <a:lnTo>
                    <a:pt x="3192" y="881"/>
                  </a:lnTo>
                  <a:lnTo>
                    <a:pt x="3165" y="773"/>
                  </a:lnTo>
                  <a:lnTo>
                    <a:pt x="3143" y="724"/>
                  </a:lnTo>
                  <a:lnTo>
                    <a:pt x="3122" y="675"/>
                  </a:lnTo>
                  <a:lnTo>
                    <a:pt x="3100" y="627"/>
                  </a:lnTo>
                  <a:lnTo>
                    <a:pt x="3073" y="578"/>
                  </a:lnTo>
                  <a:lnTo>
                    <a:pt x="3040" y="530"/>
                  </a:lnTo>
                  <a:lnTo>
                    <a:pt x="3002" y="486"/>
                  </a:lnTo>
                  <a:lnTo>
                    <a:pt x="2965" y="443"/>
                  </a:lnTo>
                  <a:lnTo>
                    <a:pt x="2922" y="400"/>
                  </a:lnTo>
                  <a:lnTo>
                    <a:pt x="2879" y="362"/>
                  </a:lnTo>
                  <a:lnTo>
                    <a:pt x="2830" y="324"/>
                  </a:lnTo>
                  <a:lnTo>
                    <a:pt x="2776" y="287"/>
                  </a:lnTo>
                  <a:lnTo>
                    <a:pt x="2722" y="254"/>
                  </a:lnTo>
                  <a:lnTo>
                    <a:pt x="2663" y="216"/>
                  </a:lnTo>
                  <a:lnTo>
                    <a:pt x="2598" y="189"/>
                  </a:lnTo>
                  <a:lnTo>
                    <a:pt x="2533" y="157"/>
                  </a:lnTo>
                  <a:lnTo>
                    <a:pt x="2462" y="130"/>
                  </a:lnTo>
                  <a:lnTo>
                    <a:pt x="2387" y="108"/>
                  </a:lnTo>
                  <a:lnTo>
                    <a:pt x="2306" y="86"/>
                  </a:lnTo>
                  <a:lnTo>
                    <a:pt x="2225" y="65"/>
                  </a:lnTo>
                  <a:lnTo>
                    <a:pt x="2139" y="48"/>
                  </a:lnTo>
                  <a:lnTo>
                    <a:pt x="1949" y="22"/>
                  </a:lnTo>
                  <a:lnTo>
                    <a:pt x="1750" y="6"/>
                  </a:lnTo>
                  <a:lnTo>
                    <a:pt x="1528" y="0"/>
                  </a:lnTo>
                  <a:lnTo>
                    <a:pt x="1528" y="0"/>
                  </a:lnTo>
                  <a:lnTo>
                    <a:pt x="1409" y="0"/>
                  </a:lnTo>
                  <a:lnTo>
                    <a:pt x="1296" y="6"/>
                  </a:lnTo>
                  <a:lnTo>
                    <a:pt x="1188" y="16"/>
                  </a:lnTo>
                  <a:lnTo>
                    <a:pt x="1091" y="27"/>
                  </a:lnTo>
                  <a:lnTo>
                    <a:pt x="999" y="43"/>
                  </a:lnTo>
                  <a:lnTo>
                    <a:pt x="918" y="59"/>
                  </a:lnTo>
                  <a:lnTo>
                    <a:pt x="837" y="81"/>
                  </a:lnTo>
                  <a:lnTo>
                    <a:pt x="766" y="103"/>
                  </a:lnTo>
                  <a:lnTo>
                    <a:pt x="697" y="130"/>
                  </a:lnTo>
                  <a:lnTo>
                    <a:pt x="637" y="157"/>
                  </a:lnTo>
                  <a:lnTo>
                    <a:pt x="578" y="184"/>
                  </a:lnTo>
                  <a:lnTo>
                    <a:pt x="529" y="211"/>
                  </a:lnTo>
                  <a:lnTo>
                    <a:pt x="480" y="243"/>
                  </a:lnTo>
                  <a:lnTo>
                    <a:pt x="442" y="276"/>
                  </a:lnTo>
                  <a:lnTo>
                    <a:pt x="404" y="308"/>
                  </a:lnTo>
                  <a:lnTo>
                    <a:pt x="367" y="346"/>
                  </a:lnTo>
                  <a:lnTo>
                    <a:pt x="313" y="411"/>
                  </a:lnTo>
                  <a:lnTo>
                    <a:pt x="270" y="481"/>
                  </a:lnTo>
                  <a:lnTo>
                    <a:pt x="243" y="551"/>
                  </a:lnTo>
                  <a:lnTo>
                    <a:pt x="221" y="616"/>
                  </a:lnTo>
                  <a:lnTo>
                    <a:pt x="205" y="675"/>
                  </a:lnTo>
                  <a:lnTo>
                    <a:pt x="199" y="729"/>
                  </a:lnTo>
                  <a:lnTo>
                    <a:pt x="194" y="811"/>
                  </a:lnTo>
                  <a:lnTo>
                    <a:pt x="194" y="811"/>
                  </a:lnTo>
                  <a:lnTo>
                    <a:pt x="194" y="876"/>
                  </a:lnTo>
                  <a:lnTo>
                    <a:pt x="210" y="946"/>
                  </a:lnTo>
                  <a:lnTo>
                    <a:pt x="221" y="977"/>
                  </a:lnTo>
                  <a:lnTo>
                    <a:pt x="232" y="1009"/>
                  </a:lnTo>
                  <a:lnTo>
                    <a:pt x="253" y="1037"/>
                  </a:lnTo>
                  <a:lnTo>
                    <a:pt x="275" y="1064"/>
                  </a:lnTo>
                  <a:lnTo>
                    <a:pt x="302" y="1091"/>
                  </a:lnTo>
                  <a:lnTo>
                    <a:pt x="329" y="1112"/>
                  </a:lnTo>
                  <a:lnTo>
                    <a:pt x="367" y="1134"/>
                  </a:lnTo>
                  <a:lnTo>
                    <a:pt x="404" y="1150"/>
                  </a:lnTo>
                  <a:lnTo>
                    <a:pt x="448" y="1166"/>
                  </a:lnTo>
                  <a:lnTo>
                    <a:pt x="496" y="1177"/>
                  </a:lnTo>
                  <a:lnTo>
                    <a:pt x="551" y="1183"/>
                  </a:lnTo>
                  <a:lnTo>
                    <a:pt x="610" y="1183"/>
                  </a:lnTo>
                  <a:lnTo>
                    <a:pt x="610" y="1183"/>
                  </a:lnTo>
                  <a:lnTo>
                    <a:pt x="664" y="1183"/>
                  </a:lnTo>
                  <a:lnTo>
                    <a:pt x="712" y="1172"/>
                  </a:lnTo>
                  <a:lnTo>
                    <a:pt x="756" y="1156"/>
                  </a:lnTo>
                  <a:lnTo>
                    <a:pt x="794" y="1134"/>
                  </a:lnTo>
                  <a:lnTo>
                    <a:pt x="831" y="1107"/>
                  </a:lnTo>
                  <a:lnTo>
                    <a:pt x="858" y="1074"/>
                  </a:lnTo>
                  <a:lnTo>
                    <a:pt x="891" y="1042"/>
                  </a:lnTo>
                  <a:lnTo>
                    <a:pt x="913" y="1009"/>
                  </a:lnTo>
                  <a:lnTo>
                    <a:pt x="950" y="935"/>
                  </a:lnTo>
                  <a:lnTo>
                    <a:pt x="982" y="859"/>
                  </a:lnTo>
                  <a:lnTo>
                    <a:pt x="1020" y="740"/>
                  </a:lnTo>
                  <a:lnTo>
                    <a:pt x="1020" y="740"/>
                  </a:lnTo>
                  <a:lnTo>
                    <a:pt x="1037" y="675"/>
                  </a:lnTo>
                  <a:lnTo>
                    <a:pt x="1058" y="600"/>
                  </a:lnTo>
                  <a:lnTo>
                    <a:pt x="1085" y="513"/>
                  </a:lnTo>
                  <a:lnTo>
                    <a:pt x="1107" y="470"/>
                  </a:lnTo>
                  <a:lnTo>
                    <a:pt x="1134" y="427"/>
                  </a:lnTo>
                  <a:lnTo>
                    <a:pt x="1161" y="384"/>
                  </a:lnTo>
                  <a:lnTo>
                    <a:pt x="1199" y="341"/>
                  </a:lnTo>
                  <a:lnTo>
                    <a:pt x="1248" y="308"/>
                  </a:lnTo>
                  <a:lnTo>
                    <a:pt x="1296" y="276"/>
                  </a:lnTo>
                  <a:lnTo>
                    <a:pt x="1361" y="249"/>
                  </a:lnTo>
                  <a:lnTo>
                    <a:pt x="1431" y="232"/>
                  </a:lnTo>
                  <a:lnTo>
                    <a:pt x="1512" y="216"/>
                  </a:lnTo>
                  <a:lnTo>
                    <a:pt x="1609" y="216"/>
                  </a:lnTo>
                  <a:lnTo>
                    <a:pt x="1609" y="216"/>
                  </a:lnTo>
                  <a:lnTo>
                    <a:pt x="1690" y="222"/>
                  </a:lnTo>
                  <a:lnTo>
                    <a:pt x="1771" y="232"/>
                  </a:lnTo>
                  <a:lnTo>
                    <a:pt x="1842" y="254"/>
                  </a:lnTo>
                  <a:lnTo>
                    <a:pt x="1912" y="287"/>
                  </a:lnTo>
                  <a:lnTo>
                    <a:pt x="1976" y="324"/>
                  </a:lnTo>
                  <a:lnTo>
                    <a:pt x="2041" y="373"/>
                  </a:lnTo>
                  <a:lnTo>
                    <a:pt x="2095" y="427"/>
                  </a:lnTo>
                  <a:lnTo>
                    <a:pt x="2144" y="486"/>
                  </a:lnTo>
                  <a:lnTo>
                    <a:pt x="2192" y="551"/>
                  </a:lnTo>
                  <a:lnTo>
                    <a:pt x="2230" y="627"/>
                  </a:lnTo>
                  <a:lnTo>
                    <a:pt x="2263" y="702"/>
                  </a:lnTo>
                  <a:lnTo>
                    <a:pt x="2290" y="789"/>
                  </a:lnTo>
                  <a:lnTo>
                    <a:pt x="2317" y="881"/>
                  </a:lnTo>
                  <a:lnTo>
                    <a:pt x="2333" y="972"/>
                  </a:lnTo>
                  <a:lnTo>
                    <a:pt x="2344" y="1074"/>
                  </a:lnTo>
                  <a:lnTo>
                    <a:pt x="2344" y="11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6" name="Freeform 3">
              <a:extLst>
                <a:ext uri="{FF2B5EF4-FFF2-40B4-BE49-F238E27FC236}">
                  <a16:creationId xmlns:a16="http://schemas.microsoft.com/office/drawing/2014/main" id="{8C0E3D94-E85D-664E-A7C1-6173677ED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8450" y="3449638"/>
              <a:ext cx="1500188" cy="1525587"/>
            </a:xfrm>
            <a:custGeom>
              <a:avLst/>
              <a:gdLst>
                <a:gd name="T0" fmla="*/ 2339 w 4165"/>
                <a:gd name="T1" fmla="*/ 2009 h 4237"/>
                <a:gd name="T2" fmla="*/ 2350 w 4165"/>
                <a:gd name="T3" fmla="*/ 2069 h 4237"/>
                <a:gd name="T4" fmla="*/ 2350 w 4165"/>
                <a:gd name="T5" fmla="*/ 3020 h 4237"/>
                <a:gd name="T6" fmla="*/ 2188 w 4165"/>
                <a:gd name="T7" fmla="*/ 3599 h 4237"/>
                <a:gd name="T8" fmla="*/ 1826 w 4165"/>
                <a:gd name="T9" fmla="*/ 3944 h 4237"/>
                <a:gd name="T10" fmla="*/ 1394 w 4165"/>
                <a:gd name="T11" fmla="*/ 3972 h 4237"/>
                <a:gd name="T12" fmla="*/ 1032 w 4165"/>
                <a:gd name="T13" fmla="*/ 3733 h 4237"/>
                <a:gd name="T14" fmla="*/ 902 w 4165"/>
                <a:gd name="T15" fmla="*/ 3410 h 4237"/>
                <a:gd name="T16" fmla="*/ 919 w 4165"/>
                <a:gd name="T17" fmla="*/ 3117 h 4237"/>
                <a:gd name="T18" fmla="*/ 1102 w 4165"/>
                <a:gd name="T19" fmla="*/ 2728 h 4237"/>
                <a:gd name="T20" fmla="*/ 1551 w 4165"/>
                <a:gd name="T21" fmla="*/ 2334 h 4237"/>
                <a:gd name="T22" fmla="*/ 2112 w 4165"/>
                <a:gd name="T23" fmla="*/ 2053 h 4237"/>
                <a:gd name="T24" fmla="*/ 2345 w 4165"/>
                <a:gd name="T25" fmla="*/ 1199 h 4237"/>
                <a:gd name="T26" fmla="*/ 2345 w 4165"/>
                <a:gd name="T27" fmla="*/ 1382 h 4237"/>
                <a:gd name="T28" fmla="*/ 2155 w 4165"/>
                <a:gd name="T29" fmla="*/ 1804 h 4237"/>
                <a:gd name="T30" fmla="*/ 1772 w 4165"/>
                <a:gd name="T31" fmla="*/ 1972 h 4237"/>
                <a:gd name="T32" fmla="*/ 897 w 4165"/>
                <a:gd name="T33" fmla="*/ 2156 h 4237"/>
                <a:gd name="T34" fmla="*/ 400 w 4165"/>
                <a:gd name="T35" fmla="*/ 2377 h 4237"/>
                <a:gd name="T36" fmla="*/ 114 w 4165"/>
                <a:gd name="T37" fmla="*/ 2691 h 4237"/>
                <a:gd name="T38" fmla="*/ 6 w 4165"/>
                <a:gd name="T39" fmla="*/ 3042 h 4237"/>
                <a:gd name="T40" fmla="*/ 22 w 4165"/>
                <a:gd name="T41" fmla="*/ 3393 h 4237"/>
                <a:gd name="T42" fmla="*/ 173 w 4165"/>
                <a:gd name="T43" fmla="*/ 3733 h 4237"/>
                <a:gd name="T44" fmla="*/ 470 w 4165"/>
                <a:gd name="T45" fmla="*/ 4009 h 4237"/>
                <a:gd name="T46" fmla="*/ 1129 w 4165"/>
                <a:gd name="T47" fmla="*/ 4220 h 4237"/>
                <a:gd name="T48" fmla="*/ 1615 w 4165"/>
                <a:gd name="T49" fmla="*/ 4198 h 4237"/>
                <a:gd name="T50" fmla="*/ 2091 w 4165"/>
                <a:gd name="T51" fmla="*/ 4031 h 4237"/>
                <a:gd name="T52" fmla="*/ 2382 w 4165"/>
                <a:gd name="T53" fmla="*/ 3836 h 4237"/>
                <a:gd name="T54" fmla="*/ 2501 w 4165"/>
                <a:gd name="T55" fmla="*/ 3939 h 4237"/>
                <a:gd name="T56" fmla="*/ 2863 w 4165"/>
                <a:gd name="T57" fmla="*/ 4155 h 4237"/>
                <a:gd name="T58" fmla="*/ 3409 w 4165"/>
                <a:gd name="T59" fmla="*/ 4236 h 4237"/>
                <a:gd name="T60" fmla="*/ 3846 w 4165"/>
                <a:gd name="T61" fmla="*/ 4166 h 4237"/>
                <a:gd name="T62" fmla="*/ 4089 w 4165"/>
                <a:gd name="T63" fmla="*/ 3982 h 4237"/>
                <a:gd name="T64" fmla="*/ 4164 w 4165"/>
                <a:gd name="T65" fmla="*/ 3809 h 4237"/>
                <a:gd name="T66" fmla="*/ 4084 w 4165"/>
                <a:gd name="T67" fmla="*/ 3717 h 4237"/>
                <a:gd name="T68" fmla="*/ 4024 w 4165"/>
                <a:gd name="T69" fmla="*/ 3777 h 4237"/>
                <a:gd name="T70" fmla="*/ 3771 w 4165"/>
                <a:gd name="T71" fmla="*/ 3993 h 4237"/>
                <a:gd name="T72" fmla="*/ 3560 w 4165"/>
                <a:gd name="T73" fmla="*/ 3982 h 4237"/>
                <a:gd name="T74" fmla="*/ 3333 w 4165"/>
                <a:gd name="T75" fmla="*/ 3760 h 4237"/>
                <a:gd name="T76" fmla="*/ 3214 w 4165"/>
                <a:gd name="T77" fmla="*/ 3068 h 4237"/>
                <a:gd name="T78" fmla="*/ 3160 w 4165"/>
                <a:gd name="T79" fmla="*/ 773 h 4237"/>
                <a:gd name="T80" fmla="*/ 3004 w 4165"/>
                <a:gd name="T81" fmla="*/ 486 h 4237"/>
                <a:gd name="T82" fmla="*/ 2722 w 4165"/>
                <a:gd name="T83" fmla="*/ 254 h 4237"/>
                <a:gd name="T84" fmla="*/ 2307 w 4165"/>
                <a:gd name="T85" fmla="*/ 86 h 4237"/>
                <a:gd name="T86" fmla="*/ 1524 w 4165"/>
                <a:gd name="T87" fmla="*/ 0 h 4237"/>
                <a:gd name="T88" fmla="*/ 913 w 4165"/>
                <a:gd name="T89" fmla="*/ 59 h 4237"/>
                <a:gd name="T90" fmla="*/ 524 w 4165"/>
                <a:gd name="T91" fmla="*/ 211 h 4237"/>
                <a:gd name="T92" fmla="*/ 270 w 4165"/>
                <a:gd name="T93" fmla="*/ 481 h 4237"/>
                <a:gd name="T94" fmla="*/ 189 w 4165"/>
                <a:gd name="T95" fmla="*/ 811 h 4237"/>
                <a:gd name="T96" fmla="*/ 270 w 4165"/>
                <a:gd name="T97" fmla="*/ 1064 h 4237"/>
                <a:gd name="T98" fmla="*/ 497 w 4165"/>
                <a:gd name="T99" fmla="*/ 1177 h 4237"/>
                <a:gd name="T100" fmla="*/ 756 w 4165"/>
                <a:gd name="T101" fmla="*/ 1156 h 4237"/>
                <a:gd name="T102" fmla="*/ 951 w 4165"/>
                <a:gd name="T103" fmla="*/ 935 h 4237"/>
                <a:gd name="T104" fmla="*/ 1086 w 4165"/>
                <a:gd name="T105" fmla="*/ 513 h 4237"/>
                <a:gd name="T106" fmla="*/ 1296 w 4165"/>
                <a:gd name="T107" fmla="*/ 276 h 4237"/>
                <a:gd name="T108" fmla="*/ 1691 w 4165"/>
                <a:gd name="T109" fmla="*/ 222 h 4237"/>
                <a:gd name="T110" fmla="*/ 2096 w 4165"/>
                <a:gd name="T111" fmla="*/ 427 h 4237"/>
                <a:gd name="T112" fmla="*/ 2312 w 4165"/>
                <a:gd name="T113" fmla="*/ 886 h 4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65" h="4237">
                  <a:moveTo>
                    <a:pt x="2328" y="1993"/>
                  </a:moveTo>
                  <a:lnTo>
                    <a:pt x="2328" y="1993"/>
                  </a:lnTo>
                  <a:lnTo>
                    <a:pt x="2339" y="2009"/>
                  </a:lnTo>
                  <a:lnTo>
                    <a:pt x="2339" y="2009"/>
                  </a:lnTo>
                  <a:lnTo>
                    <a:pt x="2339" y="2009"/>
                  </a:lnTo>
                  <a:lnTo>
                    <a:pt x="2339" y="2009"/>
                  </a:lnTo>
                  <a:lnTo>
                    <a:pt x="2339" y="2015"/>
                  </a:lnTo>
                  <a:lnTo>
                    <a:pt x="2339" y="2015"/>
                  </a:lnTo>
                  <a:lnTo>
                    <a:pt x="2345" y="2042"/>
                  </a:lnTo>
                  <a:lnTo>
                    <a:pt x="2350" y="2085"/>
                  </a:lnTo>
                  <a:lnTo>
                    <a:pt x="2350" y="2085"/>
                  </a:lnTo>
                  <a:lnTo>
                    <a:pt x="2350" y="2069"/>
                  </a:lnTo>
                  <a:lnTo>
                    <a:pt x="2350" y="2069"/>
                  </a:lnTo>
                  <a:lnTo>
                    <a:pt x="2350" y="2080"/>
                  </a:lnTo>
                  <a:lnTo>
                    <a:pt x="2350" y="2912"/>
                  </a:lnTo>
                  <a:lnTo>
                    <a:pt x="2350" y="2912"/>
                  </a:lnTo>
                  <a:lnTo>
                    <a:pt x="2350" y="2912"/>
                  </a:lnTo>
                  <a:lnTo>
                    <a:pt x="2350" y="3020"/>
                  </a:lnTo>
                  <a:lnTo>
                    <a:pt x="2339" y="3128"/>
                  </a:lnTo>
                  <a:lnTo>
                    <a:pt x="2323" y="3231"/>
                  </a:lnTo>
                  <a:lnTo>
                    <a:pt x="2296" y="3334"/>
                  </a:lnTo>
                  <a:lnTo>
                    <a:pt x="2269" y="3425"/>
                  </a:lnTo>
                  <a:lnTo>
                    <a:pt x="2231" y="3517"/>
                  </a:lnTo>
                  <a:lnTo>
                    <a:pt x="2188" y="3599"/>
                  </a:lnTo>
                  <a:lnTo>
                    <a:pt x="2140" y="3680"/>
                  </a:lnTo>
                  <a:lnTo>
                    <a:pt x="2085" y="3750"/>
                  </a:lnTo>
                  <a:lnTo>
                    <a:pt x="2026" y="3809"/>
                  </a:lnTo>
                  <a:lnTo>
                    <a:pt x="1966" y="3863"/>
                  </a:lnTo>
                  <a:lnTo>
                    <a:pt x="1896" y="3907"/>
                  </a:lnTo>
                  <a:lnTo>
                    <a:pt x="1826" y="3944"/>
                  </a:lnTo>
                  <a:lnTo>
                    <a:pt x="1750" y="3972"/>
                  </a:lnTo>
                  <a:lnTo>
                    <a:pt x="1669" y="3988"/>
                  </a:lnTo>
                  <a:lnTo>
                    <a:pt x="1583" y="3993"/>
                  </a:lnTo>
                  <a:lnTo>
                    <a:pt x="1583" y="3993"/>
                  </a:lnTo>
                  <a:lnTo>
                    <a:pt x="1486" y="3988"/>
                  </a:lnTo>
                  <a:lnTo>
                    <a:pt x="1394" y="3972"/>
                  </a:lnTo>
                  <a:lnTo>
                    <a:pt x="1318" y="3950"/>
                  </a:lnTo>
                  <a:lnTo>
                    <a:pt x="1243" y="3917"/>
                  </a:lnTo>
                  <a:lnTo>
                    <a:pt x="1178" y="3880"/>
                  </a:lnTo>
                  <a:lnTo>
                    <a:pt x="1124" y="3836"/>
                  </a:lnTo>
                  <a:lnTo>
                    <a:pt x="1075" y="3787"/>
                  </a:lnTo>
                  <a:lnTo>
                    <a:pt x="1032" y="3733"/>
                  </a:lnTo>
                  <a:lnTo>
                    <a:pt x="999" y="3680"/>
                  </a:lnTo>
                  <a:lnTo>
                    <a:pt x="967" y="3626"/>
                  </a:lnTo>
                  <a:lnTo>
                    <a:pt x="946" y="3571"/>
                  </a:lnTo>
                  <a:lnTo>
                    <a:pt x="924" y="3512"/>
                  </a:lnTo>
                  <a:lnTo>
                    <a:pt x="913" y="3458"/>
                  </a:lnTo>
                  <a:lnTo>
                    <a:pt x="902" y="3410"/>
                  </a:lnTo>
                  <a:lnTo>
                    <a:pt x="892" y="3318"/>
                  </a:lnTo>
                  <a:lnTo>
                    <a:pt x="892" y="3318"/>
                  </a:lnTo>
                  <a:lnTo>
                    <a:pt x="892" y="3274"/>
                  </a:lnTo>
                  <a:lnTo>
                    <a:pt x="897" y="3225"/>
                  </a:lnTo>
                  <a:lnTo>
                    <a:pt x="902" y="3171"/>
                  </a:lnTo>
                  <a:lnTo>
                    <a:pt x="919" y="3117"/>
                  </a:lnTo>
                  <a:lnTo>
                    <a:pt x="935" y="3058"/>
                  </a:lnTo>
                  <a:lnTo>
                    <a:pt x="957" y="2993"/>
                  </a:lnTo>
                  <a:lnTo>
                    <a:pt x="984" y="2928"/>
                  </a:lnTo>
                  <a:lnTo>
                    <a:pt x="1016" y="2863"/>
                  </a:lnTo>
                  <a:lnTo>
                    <a:pt x="1053" y="2793"/>
                  </a:lnTo>
                  <a:lnTo>
                    <a:pt x="1102" y="2728"/>
                  </a:lnTo>
                  <a:lnTo>
                    <a:pt x="1156" y="2658"/>
                  </a:lnTo>
                  <a:lnTo>
                    <a:pt x="1216" y="2588"/>
                  </a:lnTo>
                  <a:lnTo>
                    <a:pt x="1286" y="2523"/>
                  </a:lnTo>
                  <a:lnTo>
                    <a:pt x="1367" y="2458"/>
                  </a:lnTo>
                  <a:lnTo>
                    <a:pt x="1453" y="2393"/>
                  </a:lnTo>
                  <a:lnTo>
                    <a:pt x="1551" y="2334"/>
                  </a:lnTo>
                  <a:lnTo>
                    <a:pt x="1551" y="2334"/>
                  </a:lnTo>
                  <a:lnTo>
                    <a:pt x="1594" y="2307"/>
                  </a:lnTo>
                  <a:lnTo>
                    <a:pt x="1734" y="2231"/>
                  </a:lnTo>
                  <a:lnTo>
                    <a:pt x="1837" y="2177"/>
                  </a:lnTo>
                  <a:lnTo>
                    <a:pt x="1966" y="2118"/>
                  </a:lnTo>
                  <a:lnTo>
                    <a:pt x="2112" y="2053"/>
                  </a:lnTo>
                  <a:lnTo>
                    <a:pt x="2285" y="1988"/>
                  </a:lnTo>
                  <a:lnTo>
                    <a:pt x="2285" y="1988"/>
                  </a:lnTo>
                  <a:lnTo>
                    <a:pt x="2312" y="1982"/>
                  </a:lnTo>
                  <a:lnTo>
                    <a:pt x="2323" y="1982"/>
                  </a:lnTo>
                  <a:lnTo>
                    <a:pt x="2328" y="1993"/>
                  </a:lnTo>
                  <a:close/>
                  <a:moveTo>
                    <a:pt x="2345" y="1199"/>
                  </a:moveTo>
                  <a:lnTo>
                    <a:pt x="2345" y="1199"/>
                  </a:lnTo>
                  <a:lnTo>
                    <a:pt x="2345" y="1248"/>
                  </a:lnTo>
                  <a:lnTo>
                    <a:pt x="2345" y="1307"/>
                  </a:lnTo>
                  <a:lnTo>
                    <a:pt x="2345" y="1307"/>
                  </a:lnTo>
                  <a:lnTo>
                    <a:pt x="2345" y="1382"/>
                  </a:lnTo>
                  <a:lnTo>
                    <a:pt x="2345" y="1382"/>
                  </a:lnTo>
                  <a:lnTo>
                    <a:pt x="2334" y="1485"/>
                  </a:lnTo>
                  <a:lnTo>
                    <a:pt x="2318" y="1567"/>
                  </a:lnTo>
                  <a:lnTo>
                    <a:pt x="2291" y="1642"/>
                  </a:lnTo>
                  <a:lnTo>
                    <a:pt x="2258" y="1701"/>
                  </a:lnTo>
                  <a:lnTo>
                    <a:pt x="2209" y="1756"/>
                  </a:lnTo>
                  <a:lnTo>
                    <a:pt x="2155" y="1804"/>
                  </a:lnTo>
                  <a:lnTo>
                    <a:pt x="2091" y="1848"/>
                  </a:lnTo>
                  <a:lnTo>
                    <a:pt x="2015" y="1890"/>
                  </a:lnTo>
                  <a:lnTo>
                    <a:pt x="2015" y="1890"/>
                  </a:lnTo>
                  <a:lnTo>
                    <a:pt x="1966" y="1912"/>
                  </a:lnTo>
                  <a:lnTo>
                    <a:pt x="1907" y="1934"/>
                  </a:lnTo>
                  <a:lnTo>
                    <a:pt x="1772" y="1972"/>
                  </a:lnTo>
                  <a:lnTo>
                    <a:pt x="1615" y="2009"/>
                  </a:lnTo>
                  <a:lnTo>
                    <a:pt x="1459" y="2047"/>
                  </a:lnTo>
                  <a:lnTo>
                    <a:pt x="1173" y="2096"/>
                  </a:lnTo>
                  <a:lnTo>
                    <a:pt x="1016" y="2129"/>
                  </a:lnTo>
                  <a:lnTo>
                    <a:pt x="1016" y="2129"/>
                  </a:lnTo>
                  <a:lnTo>
                    <a:pt x="897" y="2156"/>
                  </a:lnTo>
                  <a:lnTo>
                    <a:pt x="821" y="2177"/>
                  </a:lnTo>
                  <a:lnTo>
                    <a:pt x="740" y="2204"/>
                  </a:lnTo>
                  <a:lnTo>
                    <a:pt x="654" y="2236"/>
                  </a:lnTo>
                  <a:lnTo>
                    <a:pt x="573" y="2280"/>
                  </a:lnTo>
                  <a:lnTo>
                    <a:pt x="486" y="2323"/>
                  </a:lnTo>
                  <a:lnTo>
                    <a:pt x="400" y="2377"/>
                  </a:lnTo>
                  <a:lnTo>
                    <a:pt x="319" y="2442"/>
                  </a:lnTo>
                  <a:lnTo>
                    <a:pt x="243" y="2512"/>
                  </a:lnTo>
                  <a:lnTo>
                    <a:pt x="206" y="2555"/>
                  </a:lnTo>
                  <a:lnTo>
                    <a:pt x="173" y="2599"/>
                  </a:lnTo>
                  <a:lnTo>
                    <a:pt x="141" y="2642"/>
                  </a:lnTo>
                  <a:lnTo>
                    <a:pt x="114" y="2691"/>
                  </a:lnTo>
                  <a:lnTo>
                    <a:pt x="87" y="2739"/>
                  </a:lnTo>
                  <a:lnTo>
                    <a:pt x="60" y="2793"/>
                  </a:lnTo>
                  <a:lnTo>
                    <a:pt x="44" y="2852"/>
                  </a:lnTo>
                  <a:lnTo>
                    <a:pt x="27" y="2912"/>
                  </a:lnTo>
                  <a:lnTo>
                    <a:pt x="11" y="2972"/>
                  </a:lnTo>
                  <a:lnTo>
                    <a:pt x="6" y="3042"/>
                  </a:lnTo>
                  <a:lnTo>
                    <a:pt x="0" y="3112"/>
                  </a:lnTo>
                  <a:lnTo>
                    <a:pt x="0" y="3182"/>
                  </a:lnTo>
                  <a:lnTo>
                    <a:pt x="0" y="3182"/>
                  </a:lnTo>
                  <a:lnTo>
                    <a:pt x="0" y="3258"/>
                  </a:lnTo>
                  <a:lnTo>
                    <a:pt x="11" y="3328"/>
                  </a:lnTo>
                  <a:lnTo>
                    <a:pt x="22" y="3393"/>
                  </a:lnTo>
                  <a:lnTo>
                    <a:pt x="38" y="3458"/>
                  </a:lnTo>
                  <a:lnTo>
                    <a:pt x="60" y="3517"/>
                  </a:lnTo>
                  <a:lnTo>
                    <a:pt x="82" y="3577"/>
                  </a:lnTo>
                  <a:lnTo>
                    <a:pt x="109" y="3631"/>
                  </a:lnTo>
                  <a:lnTo>
                    <a:pt x="141" y="3685"/>
                  </a:lnTo>
                  <a:lnTo>
                    <a:pt x="173" y="3733"/>
                  </a:lnTo>
                  <a:lnTo>
                    <a:pt x="206" y="3777"/>
                  </a:lnTo>
                  <a:lnTo>
                    <a:pt x="243" y="3825"/>
                  </a:lnTo>
                  <a:lnTo>
                    <a:pt x="287" y="3863"/>
                  </a:lnTo>
                  <a:lnTo>
                    <a:pt x="330" y="3907"/>
                  </a:lnTo>
                  <a:lnTo>
                    <a:pt x="373" y="3939"/>
                  </a:lnTo>
                  <a:lnTo>
                    <a:pt x="470" y="4009"/>
                  </a:lnTo>
                  <a:lnTo>
                    <a:pt x="573" y="4063"/>
                  </a:lnTo>
                  <a:lnTo>
                    <a:pt x="681" y="4112"/>
                  </a:lnTo>
                  <a:lnTo>
                    <a:pt x="794" y="4150"/>
                  </a:lnTo>
                  <a:lnTo>
                    <a:pt x="902" y="4182"/>
                  </a:lnTo>
                  <a:lnTo>
                    <a:pt x="1016" y="4204"/>
                  </a:lnTo>
                  <a:lnTo>
                    <a:pt x="1129" y="4220"/>
                  </a:lnTo>
                  <a:lnTo>
                    <a:pt x="1237" y="4225"/>
                  </a:lnTo>
                  <a:lnTo>
                    <a:pt x="1340" y="4231"/>
                  </a:lnTo>
                  <a:lnTo>
                    <a:pt x="1340" y="4231"/>
                  </a:lnTo>
                  <a:lnTo>
                    <a:pt x="1437" y="4225"/>
                  </a:lnTo>
                  <a:lnTo>
                    <a:pt x="1529" y="4215"/>
                  </a:lnTo>
                  <a:lnTo>
                    <a:pt x="1615" y="4198"/>
                  </a:lnTo>
                  <a:lnTo>
                    <a:pt x="1696" y="4182"/>
                  </a:lnTo>
                  <a:lnTo>
                    <a:pt x="1778" y="4166"/>
                  </a:lnTo>
                  <a:lnTo>
                    <a:pt x="1848" y="4139"/>
                  </a:lnTo>
                  <a:lnTo>
                    <a:pt x="1912" y="4117"/>
                  </a:lnTo>
                  <a:lnTo>
                    <a:pt x="1977" y="4090"/>
                  </a:lnTo>
                  <a:lnTo>
                    <a:pt x="2091" y="4031"/>
                  </a:lnTo>
                  <a:lnTo>
                    <a:pt x="2182" y="3976"/>
                  </a:lnTo>
                  <a:lnTo>
                    <a:pt x="2258" y="3923"/>
                  </a:lnTo>
                  <a:lnTo>
                    <a:pt x="2318" y="3874"/>
                  </a:lnTo>
                  <a:lnTo>
                    <a:pt x="2318" y="3874"/>
                  </a:lnTo>
                  <a:lnTo>
                    <a:pt x="2366" y="3842"/>
                  </a:lnTo>
                  <a:lnTo>
                    <a:pt x="2382" y="3836"/>
                  </a:lnTo>
                  <a:lnTo>
                    <a:pt x="2393" y="3836"/>
                  </a:lnTo>
                  <a:lnTo>
                    <a:pt x="2410" y="3842"/>
                  </a:lnTo>
                  <a:lnTo>
                    <a:pt x="2420" y="3858"/>
                  </a:lnTo>
                  <a:lnTo>
                    <a:pt x="2463" y="3901"/>
                  </a:lnTo>
                  <a:lnTo>
                    <a:pt x="2463" y="3901"/>
                  </a:lnTo>
                  <a:lnTo>
                    <a:pt x="2501" y="3939"/>
                  </a:lnTo>
                  <a:lnTo>
                    <a:pt x="2555" y="3993"/>
                  </a:lnTo>
                  <a:lnTo>
                    <a:pt x="2636" y="4047"/>
                  </a:lnTo>
                  <a:lnTo>
                    <a:pt x="2680" y="4074"/>
                  </a:lnTo>
                  <a:lnTo>
                    <a:pt x="2734" y="4101"/>
                  </a:lnTo>
                  <a:lnTo>
                    <a:pt x="2793" y="4128"/>
                  </a:lnTo>
                  <a:lnTo>
                    <a:pt x="2863" y="4155"/>
                  </a:lnTo>
                  <a:lnTo>
                    <a:pt x="2933" y="4177"/>
                  </a:lnTo>
                  <a:lnTo>
                    <a:pt x="3015" y="4198"/>
                  </a:lnTo>
                  <a:lnTo>
                    <a:pt x="3101" y="4215"/>
                  </a:lnTo>
                  <a:lnTo>
                    <a:pt x="3198" y="4225"/>
                  </a:lnTo>
                  <a:lnTo>
                    <a:pt x="3300" y="4236"/>
                  </a:lnTo>
                  <a:lnTo>
                    <a:pt x="3409" y="4236"/>
                  </a:lnTo>
                  <a:lnTo>
                    <a:pt x="3409" y="4236"/>
                  </a:lnTo>
                  <a:lnTo>
                    <a:pt x="3517" y="4231"/>
                  </a:lnTo>
                  <a:lnTo>
                    <a:pt x="3614" y="4225"/>
                  </a:lnTo>
                  <a:lnTo>
                    <a:pt x="3706" y="4209"/>
                  </a:lnTo>
                  <a:lnTo>
                    <a:pt x="3781" y="4188"/>
                  </a:lnTo>
                  <a:lnTo>
                    <a:pt x="3846" y="4166"/>
                  </a:lnTo>
                  <a:lnTo>
                    <a:pt x="3905" y="4139"/>
                  </a:lnTo>
                  <a:lnTo>
                    <a:pt x="3954" y="4106"/>
                  </a:lnTo>
                  <a:lnTo>
                    <a:pt x="3997" y="4079"/>
                  </a:lnTo>
                  <a:lnTo>
                    <a:pt x="4035" y="4047"/>
                  </a:lnTo>
                  <a:lnTo>
                    <a:pt x="4062" y="4014"/>
                  </a:lnTo>
                  <a:lnTo>
                    <a:pt x="4089" y="3982"/>
                  </a:lnTo>
                  <a:lnTo>
                    <a:pt x="4111" y="3950"/>
                  </a:lnTo>
                  <a:lnTo>
                    <a:pt x="4138" y="3896"/>
                  </a:lnTo>
                  <a:lnTo>
                    <a:pt x="4154" y="3852"/>
                  </a:lnTo>
                  <a:lnTo>
                    <a:pt x="4154" y="3852"/>
                  </a:lnTo>
                  <a:lnTo>
                    <a:pt x="4160" y="3831"/>
                  </a:lnTo>
                  <a:lnTo>
                    <a:pt x="4164" y="3809"/>
                  </a:lnTo>
                  <a:lnTo>
                    <a:pt x="4164" y="3793"/>
                  </a:lnTo>
                  <a:lnTo>
                    <a:pt x="4160" y="3771"/>
                  </a:lnTo>
                  <a:lnTo>
                    <a:pt x="4149" y="3744"/>
                  </a:lnTo>
                  <a:lnTo>
                    <a:pt x="4127" y="3728"/>
                  </a:lnTo>
                  <a:lnTo>
                    <a:pt x="4100" y="3717"/>
                  </a:lnTo>
                  <a:lnTo>
                    <a:pt x="4084" y="3717"/>
                  </a:lnTo>
                  <a:lnTo>
                    <a:pt x="4073" y="3723"/>
                  </a:lnTo>
                  <a:lnTo>
                    <a:pt x="4057" y="3728"/>
                  </a:lnTo>
                  <a:lnTo>
                    <a:pt x="4046" y="3739"/>
                  </a:lnTo>
                  <a:lnTo>
                    <a:pt x="4035" y="3755"/>
                  </a:lnTo>
                  <a:lnTo>
                    <a:pt x="4024" y="3777"/>
                  </a:lnTo>
                  <a:lnTo>
                    <a:pt x="4024" y="3777"/>
                  </a:lnTo>
                  <a:lnTo>
                    <a:pt x="3992" y="3836"/>
                  </a:lnTo>
                  <a:lnTo>
                    <a:pt x="3954" y="3885"/>
                  </a:lnTo>
                  <a:lnTo>
                    <a:pt x="3911" y="3928"/>
                  </a:lnTo>
                  <a:lnTo>
                    <a:pt x="3867" y="3955"/>
                  </a:lnTo>
                  <a:lnTo>
                    <a:pt x="3819" y="3982"/>
                  </a:lnTo>
                  <a:lnTo>
                    <a:pt x="3771" y="3993"/>
                  </a:lnTo>
                  <a:lnTo>
                    <a:pt x="3727" y="4004"/>
                  </a:lnTo>
                  <a:lnTo>
                    <a:pt x="3684" y="4004"/>
                  </a:lnTo>
                  <a:lnTo>
                    <a:pt x="3684" y="4004"/>
                  </a:lnTo>
                  <a:lnTo>
                    <a:pt x="3630" y="3999"/>
                  </a:lnTo>
                  <a:lnTo>
                    <a:pt x="3597" y="3993"/>
                  </a:lnTo>
                  <a:lnTo>
                    <a:pt x="3560" y="3982"/>
                  </a:lnTo>
                  <a:lnTo>
                    <a:pt x="3522" y="3972"/>
                  </a:lnTo>
                  <a:lnTo>
                    <a:pt x="3484" y="3944"/>
                  </a:lnTo>
                  <a:lnTo>
                    <a:pt x="3446" y="3917"/>
                  </a:lnTo>
                  <a:lnTo>
                    <a:pt x="3409" y="3874"/>
                  </a:lnTo>
                  <a:lnTo>
                    <a:pt x="3371" y="3825"/>
                  </a:lnTo>
                  <a:lnTo>
                    <a:pt x="3333" y="3760"/>
                  </a:lnTo>
                  <a:lnTo>
                    <a:pt x="3300" y="3685"/>
                  </a:lnTo>
                  <a:lnTo>
                    <a:pt x="3274" y="3599"/>
                  </a:lnTo>
                  <a:lnTo>
                    <a:pt x="3247" y="3490"/>
                  </a:lnTo>
                  <a:lnTo>
                    <a:pt x="3230" y="3372"/>
                  </a:lnTo>
                  <a:lnTo>
                    <a:pt x="3220" y="3231"/>
                  </a:lnTo>
                  <a:lnTo>
                    <a:pt x="3214" y="3068"/>
                  </a:lnTo>
                  <a:lnTo>
                    <a:pt x="3214" y="3068"/>
                  </a:lnTo>
                  <a:lnTo>
                    <a:pt x="3214" y="1101"/>
                  </a:lnTo>
                  <a:lnTo>
                    <a:pt x="3214" y="1101"/>
                  </a:lnTo>
                  <a:lnTo>
                    <a:pt x="3209" y="988"/>
                  </a:lnTo>
                  <a:lnTo>
                    <a:pt x="3193" y="881"/>
                  </a:lnTo>
                  <a:lnTo>
                    <a:pt x="3160" y="773"/>
                  </a:lnTo>
                  <a:lnTo>
                    <a:pt x="3144" y="724"/>
                  </a:lnTo>
                  <a:lnTo>
                    <a:pt x="3122" y="675"/>
                  </a:lnTo>
                  <a:lnTo>
                    <a:pt x="3095" y="627"/>
                  </a:lnTo>
                  <a:lnTo>
                    <a:pt x="3068" y="578"/>
                  </a:lnTo>
                  <a:lnTo>
                    <a:pt x="3036" y="530"/>
                  </a:lnTo>
                  <a:lnTo>
                    <a:pt x="3004" y="486"/>
                  </a:lnTo>
                  <a:lnTo>
                    <a:pt x="2966" y="443"/>
                  </a:lnTo>
                  <a:lnTo>
                    <a:pt x="2923" y="400"/>
                  </a:lnTo>
                  <a:lnTo>
                    <a:pt x="2879" y="362"/>
                  </a:lnTo>
                  <a:lnTo>
                    <a:pt x="2831" y="324"/>
                  </a:lnTo>
                  <a:lnTo>
                    <a:pt x="2776" y="287"/>
                  </a:lnTo>
                  <a:lnTo>
                    <a:pt x="2722" y="254"/>
                  </a:lnTo>
                  <a:lnTo>
                    <a:pt x="2663" y="216"/>
                  </a:lnTo>
                  <a:lnTo>
                    <a:pt x="2598" y="189"/>
                  </a:lnTo>
                  <a:lnTo>
                    <a:pt x="2528" y="157"/>
                  </a:lnTo>
                  <a:lnTo>
                    <a:pt x="2458" y="130"/>
                  </a:lnTo>
                  <a:lnTo>
                    <a:pt x="2382" y="108"/>
                  </a:lnTo>
                  <a:lnTo>
                    <a:pt x="2307" y="86"/>
                  </a:lnTo>
                  <a:lnTo>
                    <a:pt x="2226" y="65"/>
                  </a:lnTo>
                  <a:lnTo>
                    <a:pt x="2134" y="48"/>
                  </a:lnTo>
                  <a:lnTo>
                    <a:pt x="1950" y="22"/>
                  </a:lnTo>
                  <a:lnTo>
                    <a:pt x="1745" y="6"/>
                  </a:lnTo>
                  <a:lnTo>
                    <a:pt x="1524" y="0"/>
                  </a:lnTo>
                  <a:lnTo>
                    <a:pt x="1524" y="0"/>
                  </a:lnTo>
                  <a:lnTo>
                    <a:pt x="1405" y="0"/>
                  </a:lnTo>
                  <a:lnTo>
                    <a:pt x="1292" y="6"/>
                  </a:lnTo>
                  <a:lnTo>
                    <a:pt x="1189" y="16"/>
                  </a:lnTo>
                  <a:lnTo>
                    <a:pt x="1091" y="27"/>
                  </a:lnTo>
                  <a:lnTo>
                    <a:pt x="999" y="43"/>
                  </a:lnTo>
                  <a:lnTo>
                    <a:pt x="913" y="59"/>
                  </a:lnTo>
                  <a:lnTo>
                    <a:pt x="832" y="81"/>
                  </a:lnTo>
                  <a:lnTo>
                    <a:pt x="762" y="103"/>
                  </a:lnTo>
                  <a:lnTo>
                    <a:pt x="697" y="130"/>
                  </a:lnTo>
                  <a:lnTo>
                    <a:pt x="632" y="157"/>
                  </a:lnTo>
                  <a:lnTo>
                    <a:pt x="578" y="184"/>
                  </a:lnTo>
                  <a:lnTo>
                    <a:pt x="524" y="211"/>
                  </a:lnTo>
                  <a:lnTo>
                    <a:pt x="481" y="243"/>
                  </a:lnTo>
                  <a:lnTo>
                    <a:pt x="438" y="276"/>
                  </a:lnTo>
                  <a:lnTo>
                    <a:pt x="400" y="308"/>
                  </a:lnTo>
                  <a:lnTo>
                    <a:pt x="368" y="346"/>
                  </a:lnTo>
                  <a:lnTo>
                    <a:pt x="314" y="411"/>
                  </a:lnTo>
                  <a:lnTo>
                    <a:pt x="270" y="481"/>
                  </a:lnTo>
                  <a:lnTo>
                    <a:pt x="238" y="551"/>
                  </a:lnTo>
                  <a:lnTo>
                    <a:pt x="216" y="616"/>
                  </a:lnTo>
                  <a:lnTo>
                    <a:pt x="206" y="675"/>
                  </a:lnTo>
                  <a:lnTo>
                    <a:pt x="195" y="729"/>
                  </a:lnTo>
                  <a:lnTo>
                    <a:pt x="189" y="811"/>
                  </a:lnTo>
                  <a:lnTo>
                    <a:pt x="189" y="811"/>
                  </a:lnTo>
                  <a:lnTo>
                    <a:pt x="195" y="876"/>
                  </a:lnTo>
                  <a:lnTo>
                    <a:pt x="206" y="946"/>
                  </a:lnTo>
                  <a:lnTo>
                    <a:pt x="216" y="977"/>
                  </a:lnTo>
                  <a:lnTo>
                    <a:pt x="233" y="1009"/>
                  </a:lnTo>
                  <a:lnTo>
                    <a:pt x="249" y="1037"/>
                  </a:lnTo>
                  <a:lnTo>
                    <a:pt x="270" y="1064"/>
                  </a:lnTo>
                  <a:lnTo>
                    <a:pt x="298" y="1091"/>
                  </a:lnTo>
                  <a:lnTo>
                    <a:pt x="330" y="1112"/>
                  </a:lnTo>
                  <a:lnTo>
                    <a:pt x="362" y="1134"/>
                  </a:lnTo>
                  <a:lnTo>
                    <a:pt x="400" y="1150"/>
                  </a:lnTo>
                  <a:lnTo>
                    <a:pt x="449" y="1166"/>
                  </a:lnTo>
                  <a:lnTo>
                    <a:pt x="497" y="1177"/>
                  </a:lnTo>
                  <a:lnTo>
                    <a:pt x="551" y="1183"/>
                  </a:lnTo>
                  <a:lnTo>
                    <a:pt x="611" y="1183"/>
                  </a:lnTo>
                  <a:lnTo>
                    <a:pt x="611" y="1183"/>
                  </a:lnTo>
                  <a:lnTo>
                    <a:pt x="660" y="1183"/>
                  </a:lnTo>
                  <a:lnTo>
                    <a:pt x="708" y="1172"/>
                  </a:lnTo>
                  <a:lnTo>
                    <a:pt x="756" y="1156"/>
                  </a:lnTo>
                  <a:lnTo>
                    <a:pt x="794" y="1134"/>
                  </a:lnTo>
                  <a:lnTo>
                    <a:pt x="827" y="1107"/>
                  </a:lnTo>
                  <a:lnTo>
                    <a:pt x="859" y="1074"/>
                  </a:lnTo>
                  <a:lnTo>
                    <a:pt x="886" y="1042"/>
                  </a:lnTo>
                  <a:lnTo>
                    <a:pt x="913" y="1009"/>
                  </a:lnTo>
                  <a:lnTo>
                    <a:pt x="951" y="935"/>
                  </a:lnTo>
                  <a:lnTo>
                    <a:pt x="978" y="859"/>
                  </a:lnTo>
                  <a:lnTo>
                    <a:pt x="1022" y="740"/>
                  </a:lnTo>
                  <a:lnTo>
                    <a:pt x="1022" y="740"/>
                  </a:lnTo>
                  <a:lnTo>
                    <a:pt x="1037" y="675"/>
                  </a:lnTo>
                  <a:lnTo>
                    <a:pt x="1053" y="600"/>
                  </a:lnTo>
                  <a:lnTo>
                    <a:pt x="1086" y="513"/>
                  </a:lnTo>
                  <a:lnTo>
                    <a:pt x="1102" y="470"/>
                  </a:lnTo>
                  <a:lnTo>
                    <a:pt x="1129" y="427"/>
                  </a:lnTo>
                  <a:lnTo>
                    <a:pt x="1162" y="384"/>
                  </a:lnTo>
                  <a:lnTo>
                    <a:pt x="1200" y="341"/>
                  </a:lnTo>
                  <a:lnTo>
                    <a:pt x="1243" y="308"/>
                  </a:lnTo>
                  <a:lnTo>
                    <a:pt x="1296" y="276"/>
                  </a:lnTo>
                  <a:lnTo>
                    <a:pt x="1356" y="249"/>
                  </a:lnTo>
                  <a:lnTo>
                    <a:pt x="1432" y="232"/>
                  </a:lnTo>
                  <a:lnTo>
                    <a:pt x="1513" y="216"/>
                  </a:lnTo>
                  <a:lnTo>
                    <a:pt x="1604" y="216"/>
                  </a:lnTo>
                  <a:lnTo>
                    <a:pt x="1604" y="216"/>
                  </a:lnTo>
                  <a:lnTo>
                    <a:pt x="1691" y="222"/>
                  </a:lnTo>
                  <a:lnTo>
                    <a:pt x="1767" y="232"/>
                  </a:lnTo>
                  <a:lnTo>
                    <a:pt x="1842" y="254"/>
                  </a:lnTo>
                  <a:lnTo>
                    <a:pt x="1912" y="287"/>
                  </a:lnTo>
                  <a:lnTo>
                    <a:pt x="1977" y="324"/>
                  </a:lnTo>
                  <a:lnTo>
                    <a:pt x="2037" y="373"/>
                  </a:lnTo>
                  <a:lnTo>
                    <a:pt x="2096" y="427"/>
                  </a:lnTo>
                  <a:lnTo>
                    <a:pt x="2144" y="486"/>
                  </a:lnTo>
                  <a:lnTo>
                    <a:pt x="2188" y="557"/>
                  </a:lnTo>
                  <a:lnTo>
                    <a:pt x="2231" y="627"/>
                  </a:lnTo>
                  <a:lnTo>
                    <a:pt x="2263" y="708"/>
                  </a:lnTo>
                  <a:lnTo>
                    <a:pt x="2291" y="794"/>
                  </a:lnTo>
                  <a:lnTo>
                    <a:pt x="2312" y="886"/>
                  </a:lnTo>
                  <a:lnTo>
                    <a:pt x="2328" y="982"/>
                  </a:lnTo>
                  <a:lnTo>
                    <a:pt x="2339" y="1080"/>
                  </a:lnTo>
                  <a:lnTo>
                    <a:pt x="2345" y="1188"/>
                  </a:lnTo>
                  <a:lnTo>
                    <a:pt x="2345" y="1188"/>
                  </a:lnTo>
                  <a:lnTo>
                    <a:pt x="2345" y="119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7" name="Freeform 4">
              <a:extLst>
                <a:ext uri="{FF2B5EF4-FFF2-40B4-BE49-F238E27FC236}">
                  <a16:creationId xmlns:a16="http://schemas.microsoft.com/office/drawing/2014/main" id="{987017D0-5ED3-A249-9A03-0B5DA78E01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25" y="2593975"/>
              <a:ext cx="2081213" cy="2405063"/>
            </a:xfrm>
            <a:custGeom>
              <a:avLst/>
              <a:gdLst>
                <a:gd name="T0" fmla="*/ 4942 w 5781"/>
                <a:gd name="T1" fmla="*/ 357 h 6680"/>
                <a:gd name="T2" fmla="*/ 5093 w 5781"/>
                <a:gd name="T3" fmla="*/ 308 h 6680"/>
                <a:gd name="T4" fmla="*/ 5169 w 5781"/>
                <a:gd name="T5" fmla="*/ 162 h 6680"/>
                <a:gd name="T6" fmla="*/ 5255 w 5781"/>
                <a:gd name="T7" fmla="*/ 70 h 6680"/>
                <a:gd name="T8" fmla="*/ 5363 w 5781"/>
                <a:gd name="T9" fmla="*/ 86 h 6680"/>
                <a:gd name="T10" fmla="*/ 5412 w 5781"/>
                <a:gd name="T11" fmla="*/ 189 h 6680"/>
                <a:gd name="T12" fmla="*/ 5563 w 5781"/>
                <a:gd name="T13" fmla="*/ 2162 h 6680"/>
                <a:gd name="T14" fmla="*/ 5510 w 5781"/>
                <a:gd name="T15" fmla="*/ 2292 h 6680"/>
                <a:gd name="T16" fmla="*/ 5385 w 5781"/>
                <a:gd name="T17" fmla="*/ 2313 h 6680"/>
                <a:gd name="T18" fmla="*/ 5299 w 5781"/>
                <a:gd name="T19" fmla="*/ 2216 h 6680"/>
                <a:gd name="T20" fmla="*/ 5228 w 5781"/>
                <a:gd name="T21" fmla="*/ 1902 h 6680"/>
                <a:gd name="T22" fmla="*/ 4894 w 5781"/>
                <a:gd name="T23" fmla="*/ 1189 h 6680"/>
                <a:gd name="T24" fmla="*/ 4570 w 5781"/>
                <a:gd name="T25" fmla="*/ 773 h 6680"/>
                <a:gd name="T26" fmla="*/ 4137 w 5781"/>
                <a:gd name="T27" fmla="*/ 438 h 6680"/>
                <a:gd name="T28" fmla="*/ 3586 w 5781"/>
                <a:gd name="T29" fmla="*/ 254 h 6680"/>
                <a:gd name="T30" fmla="*/ 3100 w 5781"/>
                <a:gd name="T31" fmla="*/ 260 h 6680"/>
                <a:gd name="T32" fmla="*/ 2566 w 5781"/>
                <a:gd name="T33" fmla="*/ 454 h 6680"/>
                <a:gd name="T34" fmla="*/ 2112 w 5781"/>
                <a:gd name="T35" fmla="*/ 822 h 6680"/>
                <a:gd name="T36" fmla="*/ 1744 w 5781"/>
                <a:gd name="T37" fmla="*/ 1346 h 6680"/>
                <a:gd name="T38" fmla="*/ 1480 w 5781"/>
                <a:gd name="T39" fmla="*/ 2005 h 6680"/>
                <a:gd name="T40" fmla="*/ 1318 w 5781"/>
                <a:gd name="T41" fmla="*/ 2772 h 6680"/>
                <a:gd name="T42" fmla="*/ 1280 w 5781"/>
                <a:gd name="T43" fmla="*/ 3626 h 6680"/>
                <a:gd name="T44" fmla="*/ 1334 w 5781"/>
                <a:gd name="T45" fmla="*/ 4253 h 6680"/>
                <a:gd name="T46" fmla="*/ 1507 w 5781"/>
                <a:gd name="T47" fmla="*/ 4928 h 6680"/>
                <a:gd name="T48" fmla="*/ 1782 w 5781"/>
                <a:gd name="T49" fmla="*/ 5474 h 6680"/>
                <a:gd name="T50" fmla="*/ 2160 w 5781"/>
                <a:gd name="T51" fmla="*/ 5895 h 6680"/>
                <a:gd name="T52" fmla="*/ 2636 w 5781"/>
                <a:gd name="T53" fmla="*/ 6182 h 6680"/>
                <a:gd name="T54" fmla="*/ 3203 w 5781"/>
                <a:gd name="T55" fmla="*/ 6328 h 6680"/>
                <a:gd name="T56" fmla="*/ 3705 w 5781"/>
                <a:gd name="T57" fmla="*/ 6339 h 6680"/>
                <a:gd name="T58" fmla="*/ 4240 w 5781"/>
                <a:gd name="T59" fmla="*/ 6236 h 6680"/>
                <a:gd name="T60" fmla="*/ 4656 w 5781"/>
                <a:gd name="T61" fmla="*/ 6020 h 6680"/>
                <a:gd name="T62" fmla="*/ 4974 w 5781"/>
                <a:gd name="T63" fmla="*/ 5728 h 6680"/>
                <a:gd name="T64" fmla="*/ 5309 w 5781"/>
                <a:gd name="T65" fmla="*/ 5187 h 6680"/>
                <a:gd name="T66" fmla="*/ 5504 w 5781"/>
                <a:gd name="T67" fmla="*/ 4663 h 6680"/>
                <a:gd name="T68" fmla="*/ 5612 w 5781"/>
                <a:gd name="T69" fmla="*/ 4512 h 6680"/>
                <a:gd name="T70" fmla="*/ 5731 w 5781"/>
                <a:gd name="T71" fmla="*/ 4523 h 6680"/>
                <a:gd name="T72" fmla="*/ 5780 w 5781"/>
                <a:gd name="T73" fmla="*/ 4668 h 6680"/>
                <a:gd name="T74" fmla="*/ 5688 w 5781"/>
                <a:gd name="T75" fmla="*/ 5004 h 6680"/>
                <a:gd name="T76" fmla="*/ 5482 w 5781"/>
                <a:gd name="T77" fmla="*/ 5457 h 6680"/>
                <a:gd name="T78" fmla="*/ 5190 w 5781"/>
                <a:gd name="T79" fmla="*/ 5863 h 6680"/>
                <a:gd name="T80" fmla="*/ 4818 w 5781"/>
                <a:gd name="T81" fmla="*/ 6203 h 6680"/>
                <a:gd name="T82" fmla="*/ 4353 w 5781"/>
                <a:gd name="T83" fmla="*/ 6463 h 6680"/>
                <a:gd name="T84" fmla="*/ 3802 w 5781"/>
                <a:gd name="T85" fmla="*/ 6625 h 6680"/>
                <a:gd name="T86" fmla="*/ 3300 w 5781"/>
                <a:gd name="T87" fmla="*/ 6679 h 6680"/>
                <a:gd name="T88" fmla="*/ 2560 w 5781"/>
                <a:gd name="T89" fmla="*/ 6603 h 6680"/>
                <a:gd name="T90" fmla="*/ 1847 w 5781"/>
                <a:gd name="T91" fmla="*/ 6360 h 6680"/>
                <a:gd name="T92" fmla="*/ 1199 w 5781"/>
                <a:gd name="T93" fmla="*/ 5949 h 6680"/>
                <a:gd name="T94" fmla="*/ 653 w 5781"/>
                <a:gd name="T95" fmla="*/ 5387 h 6680"/>
                <a:gd name="T96" fmla="*/ 249 w 5781"/>
                <a:gd name="T97" fmla="*/ 4674 h 6680"/>
                <a:gd name="T98" fmla="*/ 27 w 5781"/>
                <a:gd name="T99" fmla="*/ 3815 h 6680"/>
                <a:gd name="T100" fmla="*/ 16 w 5781"/>
                <a:gd name="T101" fmla="*/ 3043 h 6680"/>
                <a:gd name="T102" fmla="*/ 205 w 5781"/>
                <a:gd name="T103" fmla="*/ 2156 h 6680"/>
                <a:gd name="T104" fmla="*/ 594 w 5781"/>
                <a:gd name="T105" fmla="*/ 1411 h 6680"/>
                <a:gd name="T106" fmla="*/ 1145 w 5781"/>
                <a:gd name="T107" fmla="*/ 816 h 6680"/>
                <a:gd name="T108" fmla="*/ 1809 w 5781"/>
                <a:gd name="T109" fmla="*/ 378 h 6680"/>
                <a:gd name="T110" fmla="*/ 2555 w 5781"/>
                <a:gd name="T111" fmla="*/ 103 h 6680"/>
                <a:gd name="T112" fmla="*/ 3338 w 5781"/>
                <a:gd name="T113" fmla="*/ 0 h 6680"/>
                <a:gd name="T114" fmla="*/ 3824 w 5781"/>
                <a:gd name="T115" fmla="*/ 32 h 6680"/>
                <a:gd name="T116" fmla="*/ 4386 w 5781"/>
                <a:gd name="T117" fmla="*/ 173 h 6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81" h="6680">
                  <a:moveTo>
                    <a:pt x="4758" y="313"/>
                  </a:moveTo>
                  <a:lnTo>
                    <a:pt x="4758" y="313"/>
                  </a:lnTo>
                  <a:lnTo>
                    <a:pt x="4834" y="335"/>
                  </a:lnTo>
                  <a:lnTo>
                    <a:pt x="4888" y="351"/>
                  </a:lnTo>
                  <a:lnTo>
                    <a:pt x="4942" y="357"/>
                  </a:lnTo>
                  <a:lnTo>
                    <a:pt x="4996" y="351"/>
                  </a:lnTo>
                  <a:lnTo>
                    <a:pt x="5023" y="346"/>
                  </a:lnTo>
                  <a:lnTo>
                    <a:pt x="5050" y="340"/>
                  </a:lnTo>
                  <a:lnTo>
                    <a:pt x="5072" y="325"/>
                  </a:lnTo>
                  <a:lnTo>
                    <a:pt x="5093" y="308"/>
                  </a:lnTo>
                  <a:lnTo>
                    <a:pt x="5110" y="281"/>
                  </a:lnTo>
                  <a:lnTo>
                    <a:pt x="5126" y="254"/>
                  </a:lnTo>
                  <a:lnTo>
                    <a:pt x="5126" y="254"/>
                  </a:lnTo>
                  <a:lnTo>
                    <a:pt x="5169" y="157"/>
                  </a:lnTo>
                  <a:lnTo>
                    <a:pt x="5169" y="162"/>
                  </a:lnTo>
                  <a:lnTo>
                    <a:pt x="5175" y="146"/>
                  </a:lnTo>
                  <a:lnTo>
                    <a:pt x="5175" y="146"/>
                  </a:lnTo>
                  <a:lnTo>
                    <a:pt x="5196" y="113"/>
                  </a:lnTo>
                  <a:lnTo>
                    <a:pt x="5223" y="92"/>
                  </a:lnTo>
                  <a:lnTo>
                    <a:pt x="5255" y="70"/>
                  </a:lnTo>
                  <a:lnTo>
                    <a:pt x="5293" y="59"/>
                  </a:lnTo>
                  <a:lnTo>
                    <a:pt x="5315" y="65"/>
                  </a:lnTo>
                  <a:lnTo>
                    <a:pt x="5331" y="65"/>
                  </a:lnTo>
                  <a:lnTo>
                    <a:pt x="5347" y="76"/>
                  </a:lnTo>
                  <a:lnTo>
                    <a:pt x="5363" y="86"/>
                  </a:lnTo>
                  <a:lnTo>
                    <a:pt x="5380" y="103"/>
                  </a:lnTo>
                  <a:lnTo>
                    <a:pt x="5396" y="124"/>
                  </a:lnTo>
                  <a:lnTo>
                    <a:pt x="5401" y="151"/>
                  </a:lnTo>
                  <a:lnTo>
                    <a:pt x="5412" y="189"/>
                  </a:lnTo>
                  <a:lnTo>
                    <a:pt x="5412" y="189"/>
                  </a:lnTo>
                  <a:lnTo>
                    <a:pt x="5428" y="325"/>
                  </a:lnTo>
                  <a:lnTo>
                    <a:pt x="5450" y="568"/>
                  </a:lnTo>
                  <a:lnTo>
                    <a:pt x="5498" y="1210"/>
                  </a:lnTo>
                  <a:lnTo>
                    <a:pt x="5563" y="2162"/>
                  </a:lnTo>
                  <a:lnTo>
                    <a:pt x="5563" y="2162"/>
                  </a:lnTo>
                  <a:lnTo>
                    <a:pt x="5563" y="2194"/>
                  </a:lnTo>
                  <a:lnTo>
                    <a:pt x="5558" y="2227"/>
                  </a:lnTo>
                  <a:lnTo>
                    <a:pt x="5542" y="2254"/>
                  </a:lnTo>
                  <a:lnTo>
                    <a:pt x="5531" y="2275"/>
                  </a:lnTo>
                  <a:lnTo>
                    <a:pt x="5510" y="2292"/>
                  </a:lnTo>
                  <a:lnTo>
                    <a:pt x="5487" y="2308"/>
                  </a:lnTo>
                  <a:lnTo>
                    <a:pt x="5461" y="2313"/>
                  </a:lnTo>
                  <a:lnTo>
                    <a:pt x="5439" y="2319"/>
                  </a:lnTo>
                  <a:lnTo>
                    <a:pt x="5412" y="2319"/>
                  </a:lnTo>
                  <a:lnTo>
                    <a:pt x="5385" y="2313"/>
                  </a:lnTo>
                  <a:lnTo>
                    <a:pt x="5363" y="2302"/>
                  </a:lnTo>
                  <a:lnTo>
                    <a:pt x="5342" y="2286"/>
                  </a:lnTo>
                  <a:lnTo>
                    <a:pt x="5326" y="2270"/>
                  </a:lnTo>
                  <a:lnTo>
                    <a:pt x="5309" y="2243"/>
                  </a:lnTo>
                  <a:lnTo>
                    <a:pt x="5299" y="2216"/>
                  </a:lnTo>
                  <a:lnTo>
                    <a:pt x="5293" y="2183"/>
                  </a:lnTo>
                  <a:lnTo>
                    <a:pt x="5293" y="2183"/>
                  </a:lnTo>
                  <a:lnTo>
                    <a:pt x="5282" y="2118"/>
                  </a:lnTo>
                  <a:lnTo>
                    <a:pt x="5261" y="2021"/>
                  </a:lnTo>
                  <a:lnTo>
                    <a:pt x="5228" y="1902"/>
                  </a:lnTo>
                  <a:lnTo>
                    <a:pt x="5180" y="1762"/>
                  </a:lnTo>
                  <a:lnTo>
                    <a:pt x="5115" y="1610"/>
                  </a:lnTo>
                  <a:lnTo>
                    <a:pt x="5039" y="1443"/>
                  </a:lnTo>
                  <a:lnTo>
                    <a:pt x="4947" y="1275"/>
                  </a:lnTo>
                  <a:lnTo>
                    <a:pt x="4894" y="1189"/>
                  </a:lnTo>
                  <a:lnTo>
                    <a:pt x="4840" y="1103"/>
                  </a:lnTo>
                  <a:lnTo>
                    <a:pt x="4780" y="1016"/>
                  </a:lnTo>
                  <a:lnTo>
                    <a:pt x="4715" y="935"/>
                  </a:lnTo>
                  <a:lnTo>
                    <a:pt x="4645" y="849"/>
                  </a:lnTo>
                  <a:lnTo>
                    <a:pt x="4570" y="773"/>
                  </a:lnTo>
                  <a:lnTo>
                    <a:pt x="4494" y="697"/>
                  </a:lnTo>
                  <a:lnTo>
                    <a:pt x="4413" y="621"/>
                  </a:lnTo>
                  <a:lnTo>
                    <a:pt x="4327" y="557"/>
                  </a:lnTo>
                  <a:lnTo>
                    <a:pt x="4235" y="492"/>
                  </a:lnTo>
                  <a:lnTo>
                    <a:pt x="4137" y="438"/>
                  </a:lnTo>
                  <a:lnTo>
                    <a:pt x="4040" y="384"/>
                  </a:lnTo>
                  <a:lnTo>
                    <a:pt x="3932" y="340"/>
                  </a:lnTo>
                  <a:lnTo>
                    <a:pt x="3824" y="302"/>
                  </a:lnTo>
                  <a:lnTo>
                    <a:pt x="3711" y="276"/>
                  </a:lnTo>
                  <a:lnTo>
                    <a:pt x="3586" y="254"/>
                  </a:lnTo>
                  <a:lnTo>
                    <a:pt x="3462" y="243"/>
                  </a:lnTo>
                  <a:lnTo>
                    <a:pt x="3333" y="238"/>
                  </a:lnTo>
                  <a:lnTo>
                    <a:pt x="3333" y="238"/>
                  </a:lnTo>
                  <a:lnTo>
                    <a:pt x="3214" y="243"/>
                  </a:lnTo>
                  <a:lnTo>
                    <a:pt x="3100" y="260"/>
                  </a:lnTo>
                  <a:lnTo>
                    <a:pt x="2987" y="281"/>
                  </a:lnTo>
                  <a:lnTo>
                    <a:pt x="2879" y="313"/>
                  </a:lnTo>
                  <a:lnTo>
                    <a:pt x="2771" y="351"/>
                  </a:lnTo>
                  <a:lnTo>
                    <a:pt x="2668" y="400"/>
                  </a:lnTo>
                  <a:lnTo>
                    <a:pt x="2566" y="454"/>
                  </a:lnTo>
                  <a:lnTo>
                    <a:pt x="2468" y="514"/>
                  </a:lnTo>
                  <a:lnTo>
                    <a:pt x="2376" y="578"/>
                  </a:lnTo>
                  <a:lnTo>
                    <a:pt x="2285" y="654"/>
                  </a:lnTo>
                  <a:lnTo>
                    <a:pt x="2198" y="735"/>
                  </a:lnTo>
                  <a:lnTo>
                    <a:pt x="2112" y="822"/>
                  </a:lnTo>
                  <a:lnTo>
                    <a:pt x="2031" y="914"/>
                  </a:lnTo>
                  <a:lnTo>
                    <a:pt x="1955" y="1016"/>
                  </a:lnTo>
                  <a:lnTo>
                    <a:pt x="1880" y="1119"/>
                  </a:lnTo>
                  <a:lnTo>
                    <a:pt x="1815" y="1233"/>
                  </a:lnTo>
                  <a:lnTo>
                    <a:pt x="1744" y="1346"/>
                  </a:lnTo>
                  <a:lnTo>
                    <a:pt x="1685" y="1470"/>
                  </a:lnTo>
                  <a:lnTo>
                    <a:pt x="1626" y="1594"/>
                  </a:lnTo>
                  <a:lnTo>
                    <a:pt x="1572" y="1730"/>
                  </a:lnTo>
                  <a:lnTo>
                    <a:pt x="1523" y="1864"/>
                  </a:lnTo>
                  <a:lnTo>
                    <a:pt x="1480" y="2005"/>
                  </a:lnTo>
                  <a:lnTo>
                    <a:pt x="1436" y="2151"/>
                  </a:lnTo>
                  <a:lnTo>
                    <a:pt x="1405" y="2302"/>
                  </a:lnTo>
                  <a:lnTo>
                    <a:pt x="1372" y="2453"/>
                  </a:lnTo>
                  <a:lnTo>
                    <a:pt x="1345" y="2610"/>
                  </a:lnTo>
                  <a:lnTo>
                    <a:pt x="1318" y="2772"/>
                  </a:lnTo>
                  <a:lnTo>
                    <a:pt x="1302" y="2940"/>
                  </a:lnTo>
                  <a:lnTo>
                    <a:pt x="1291" y="3107"/>
                  </a:lnTo>
                  <a:lnTo>
                    <a:pt x="1280" y="3275"/>
                  </a:lnTo>
                  <a:lnTo>
                    <a:pt x="1280" y="3447"/>
                  </a:lnTo>
                  <a:lnTo>
                    <a:pt x="1280" y="3626"/>
                  </a:lnTo>
                  <a:lnTo>
                    <a:pt x="1280" y="3626"/>
                  </a:lnTo>
                  <a:lnTo>
                    <a:pt x="1285" y="3788"/>
                  </a:lnTo>
                  <a:lnTo>
                    <a:pt x="1296" y="3949"/>
                  </a:lnTo>
                  <a:lnTo>
                    <a:pt x="1313" y="4101"/>
                  </a:lnTo>
                  <a:lnTo>
                    <a:pt x="1334" y="4253"/>
                  </a:lnTo>
                  <a:lnTo>
                    <a:pt x="1361" y="4398"/>
                  </a:lnTo>
                  <a:lnTo>
                    <a:pt x="1388" y="4539"/>
                  </a:lnTo>
                  <a:lnTo>
                    <a:pt x="1421" y="4674"/>
                  </a:lnTo>
                  <a:lnTo>
                    <a:pt x="1464" y="4804"/>
                  </a:lnTo>
                  <a:lnTo>
                    <a:pt x="1507" y="4928"/>
                  </a:lnTo>
                  <a:lnTo>
                    <a:pt x="1550" y="5047"/>
                  </a:lnTo>
                  <a:lnTo>
                    <a:pt x="1604" y="5161"/>
                  </a:lnTo>
                  <a:lnTo>
                    <a:pt x="1658" y="5274"/>
                  </a:lnTo>
                  <a:lnTo>
                    <a:pt x="1718" y="5377"/>
                  </a:lnTo>
                  <a:lnTo>
                    <a:pt x="1782" y="5474"/>
                  </a:lnTo>
                  <a:lnTo>
                    <a:pt x="1853" y="5571"/>
                  </a:lnTo>
                  <a:lnTo>
                    <a:pt x="1923" y="5658"/>
                  </a:lnTo>
                  <a:lnTo>
                    <a:pt x="1999" y="5744"/>
                  </a:lnTo>
                  <a:lnTo>
                    <a:pt x="2079" y="5825"/>
                  </a:lnTo>
                  <a:lnTo>
                    <a:pt x="2160" y="5895"/>
                  </a:lnTo>
                  <a:lnTo>
                    <a:pt x="2247" y="5966"/>
                  </a:lnTo>
                  <a:lnTo>
                    <a:pt x="2339" y="6025"/>
                  </a:lnTo>
                  <a:lnTo>
                    <a:pt x="2436" y="6084"/>
                  </a:lnTo>
                  <a:lnTo>
                    <a:pt x="2533" y="6133"/>
                  </a:lnTo>
                  <a:lnTo>
                    <a:pt x="2636" y="6182"/>
                  </a:lnTo>
                  <a:lnTo>
                    <a:pt x="2744" y="6220"/>
                  </a:lnTo>
                  <a:lnTo>
                    <a:pt x="2852" y="6258"/>
                  </a:lnTo>
                  <a:lnTo>
                    <a:pt x="2965" y="6285"/>
                  </a:lnTo>
                  <a:lnTo>
                    <a:pt x="3079" y="6312"/>
                  </a:lnTo>
                  <a:lnTo>
                    <a:pt x="3203" y="6328"/>
                  </a:lnTo>
                  <a:lnTo>
                    <a:pt x="3322" y="6339"/>
                  </a:lnTo>
                  <a:lnTo>
                    <a:pt x="3452" y="6344"/>
                  </a:lnTo>
                  <a:lnTo>
                    <a:pt x="3581" y="6344"/>
                  </a:lnTo>
                  <a:lnTo>
                    <a:pt x="3581" y="6344"/>
                  </a:lnTo>
                  <a:lnTo>
                    <a:pt x="3705" y="6339"/>
                  </a:lnTo>
                  <a:lnTo>
                    <a:pt x="3824" y="6328"/>
                  </a:lnTo>
                  <a:lnTo>
                    <a:pt x="3932" y="6312"/>
                  </a:lnTo>
                  <a:lnTo>
                    <a:pt x="4040" y="6290"/>
                  </a:lnTo>
                  <a:lnTo>
                    <a:pt x="4143" y="6263"/>
                  </a:lnTo>
                  <a:lnTo>
                    <a:pt x="4240" y="6236"/>
                  </a:lnTo>
                  <a:lnTo>
                    <a:pt x="4332" y="6198"/>
                  </a:lnTo>
                  <a:lnTo>
                    <a:pt x="4424" y="6160"/>
                  </a:lnTo>
                  <a:lnTo>
                    <a:pt x="4505" y="6117"/>
                  </a:lnTo>
                  <a:lnTo>
                    <a:pt x="4586" y="6069"/>
                  </a:lnTo>
                  <a:lnTo>
                    <a:pt x="4656" y="6020"/>
                  </a:lnTo>
                  <a:lnTo>
                    <a:pt x="4726" y="5966"/>
                  </a:lnTo>
                  <a:lnTo>
                    <a:pt x="4796" y="5912"/>
                  </a:lnTo>
                  <a:lnTo>
                    <a:pt x="4856" y="5852"/>
                  </a:lnTo>
                  <a:lnTo>
                    <a:pt x="4915" y="5792"/>
                  </a:lnTo>
                  <a:lnTo>
                    <a:pt x="4974" y="5728"/>
                  </a:lnTo>
                  <a:lnTo>
                    <a:pt x="5023" y="5663"/>
                  </a:lnTo>
                  <a:lnTo>
                    <a:pt x="5072" y="5598"/>
                  </a:lnTo>
                  <a:lnTo>
                    <a:pt x="5164" y="5463"/>
                  </a:lnTo>
                  <a:lnTo>
                    <a:pt x="5239" y="5328"/>
                  </a:lnTo>
                  <a:lnTo>
                    <a:pt x="5309" y="5187"/>
                  </a:lnTo>
                  <a:lnTo>
                    <a:pt x="5369" y="5047"/>
                  </a:lnTo>
                  <a:lnTo>
                    <a:pt x="5418" y="4912"/>
                  </a:lnTo>
                  <a:lnTo>
                    <a:pt x="5461" y="4788"/>
                  </a:lnTo>
                  <a:lnTo>
                    <a:pt x="5504" y="4663"/>
                  </a:lnTo>
                  <a:lnTo>
                    <a:pt x="5504" y="4663"/>
                  </a:lnTo>
                  <a:lnTo>
                    <a:pt x="5520" y="4620"/>
                  </a:lnTo>
                  <a:lnTo>
                    <a:pt x="5542" y="4582"/>
                  </a:lnTo>
                  <a:lnTo>
                    <a:pt x="5563" y="4549"/>
                  </a:lnTo>
                  <a:lnTo>
                    <a:pt x="5585" y="4528"/>
                  </a:lnTo>
                  <a:lnTo>
                    <a:pt x="5612" y="4512"/>
                  </a:lnTo>
                  <a:lnTo>
                    <a:pt x="5639" y="4501"/>
                  </a:lnTo>
                  <a:lnTo>
                    <a:pt x="5666" y="4496"/>
                  </a:lnTo>
                  <a:lnTo>
                    <a:pt x="5688" y="4501"/>
                  </a:lnTo>
                  <a:lnTo>
                    <a:pt x="5709" y="4512"/>
                  </a:lnTo>
                  <a:lnTo>
                    <a:pt x="5731" y="4523"/>
                  </a:lnTo>
                  <a:lnTo>
                    <a:pt x="5753" y="4544"/>
                  </a:lnTo>
                  <a:lnTo>
                    <a:pt x="5763" y="4566"/>
                  </a:lnTo>
                  <a:lnTo>
                    <a:pt x="5774" y="4598"/>
                  </a:lnTo>
                  <a:lnTo>
                    <a:pt x="5780" y="4631"/>
                  </a:lnTo>
                  <a:lnTo>
                    <a:pt x="5780" y="4668"/>
                  </a:lnTo>
                  <a:lnTo>
                    <a:pt x="5769" y="4712"/>
                  </a:lnTo>
                  <a:lnTo>
                    <a:pt x="5769" y="4712"/>
                  </a:lnTo>
                  <a:lnTo>
                    <a:pt x="5747" y="4809"/>
                  </a:lnTo>
                  <a:lnTo>
                    <a:pt x="5715" y="4906"/>
                  </a:lnTo>
                  <a:lnTo>
                    <a:pt x="5688" y="5004"/>
                  </a:lnTo>
                  <a:lnTo>
                    <a:pt x="5650" y="5096"/>
                  </a:lnTo>
                  <a:lnTo>
                    <a:pt x="5612" y="5187"/>
                  </a:lnTo>
                  <a:lnTo>
                    <a:pt x="5574" y="5279"/>
                  </a:lnTo>
                  <a:lnTo>
                    <a:pt x="5525" y="5371"/>
                  </a:lnTo>
                  <a:lnTo>
                    <a:pt x="5482" y="5457"/>
                  </a:lnTo>
                  <a:lnTo>
                    <a:pt x="5428" y="5544"/>
                  </a:lnTo>
                  <a:lnTo>
                    <a:pt x="5374" y="5625"/>
                  </a:lnTo>
                  <a:lnTo>
                    <a:pt x="5315" y="5706"/>
                  </a:lnTo>
                  <a:lnTo>
                    <a:pt x="5255" y="5788"/>
                  </a:lnTo>
                  <a:lnTo>
                    <a:pt x="5190" y="5863"/>
                  </a:lnTo>
                  <a:lnTo>
                    <a:pt x="5126" y="5939"/>
                  </a:lnTo>
                  <a:lnTo>
                    <a:pt x="5050" y="6009"/>
                  </a:lnTo>
                  <a:lnTo>
                    <a:pt x="4980" y="6079"/>
                  </a:lnTo>
                  <a:lnTo>
                    <a:pt x="4899" y="6144"/>
                  </a:lnTo>
                  <a:lnTo>
                    <a:pt x="4818" y="6203"/>
                  </a:lnTo>
                  <a:lnTo>
                    <a:pt x="4731" y="6263"/>
                  </a:lnTo>
                  <a:lnTo>
                    <a:pt x="4645" y="6317"/>
                  </a:lnTo>
                  <a:lnTo>
                    <a:pt x="4553" y="6371"/>
                  </a:lnTo>
                  <a:lnTo>
                    <a:pt x="4456" y="6419"/>
                  </a:lnTo>
                  <a:lnTo>
                    <a:pt x="4353" y="6463"/>
                  </a:lnTo>
                  <a:lnTo>
                    <a:pt x="4251" y="6506"/>
                  </a:lnTo>
                  <a:lnTo>
                    <a:pt x="4148" y="6544"/>
                  </a:lnTo>
                  <a:lnTo>
                    <a:pt x="4034" y="6576"/>
                  </a:lnTo>
                  <a:lnTo>
                    <a:pt x="3921" y="6603"/>
                  </a:lnTo>
                  <a:lnTo>
                    <a:pt x="3802" y="6625"/>
                  </a:lnTo>
                  <a:lnTo>
                    <a:pt x="3684" y="6647"/>
                  </a:lnTo>
                  <a:lnTo>
                    <a:pt x="3559" y="6663"/>
                  </a:lnTo>
                  <a:lnTo>
                    <a:pt x="3430" y="6673"/>
                  </a:lnTo>
                  <a:lnTo>
                    <a:pt x="3300" y="6679"/>
                  </a:lnTo>
                  <a:lnTo>
                    <a:pt x="3300" y="6679"/>
                  </a:lnTo>
                  <a:lnTo>
                    <a:pt x="3149" y="6673"/>
                  </a:lnTo>
                  <a:lnTo>
                    <a:pt x="3003" y="6668"/>
                  </a:lnTo>
                  <a:lnTo>
                    <a:pt x="2857" y="6652"/>
                  </a:lnTo>
                  <a:lnTo>
                    <a:pt x="2711" y="6631"/>
                  </a:lnTo>
                  <a:lnTo>
                    <a:pt x="2560" y="6603"/>
                  </a:lnTo>
                  <a:lnTo>
                    <a:pt x="2414" y="6571"/>
                  </a:lnTo>
                  <a:lnTo>
                    <a:pt x="2274" y="6528"/>
                  </a:lnTo>
                  <a:lnTo>
                    <a:pt x="2128" y="6479"/>
                  </a:lnTo>
                  <a:lnTo>
                    <a:pt x="1988" y="6419"/>
                  </a:lnTo>
                  <a:lnTo>
                    <a:pt x="1847" y="6360"/>
                  </a:lnTo>
                  <a:lnTo>
                    <a:pt x="1712" y="6290"/>
                  </a:lnTo>
                  <a:lnTo>
                    <a:pt x="1577" y="6214"/>
                  </a:lnTo>
                  <a:lnTo>
                    <a:pt x="1447" y="6133"/>
                  </a:lnTo>
                  <a:lnTo>
                    <a:pt x="1323" y="6047"/>
                  </a:lnTo>
                  <a:lnTo>
                    <a:pt x="1199" y="5949"/>
                  </a:lnTo>
                  <a:lnTo>
                    <a:pt x="1080" y="5852"/>
                  </a:lnTo>
                  <a:lnTo>
                    <a:pt x="967" y="5744"/>
                  </a:lnTo>
                  <a:lnTo>
                    <a:pt x="854" y="5631"/>
                  </a:lnTo>
                  <a:lnTo>
                    <a:pt x="751" y="5511"/>
                  </a:lnTo>
                  <a:lnTo>
                    <a:pt x="653" y="5387"/>
                  </a:lnTo>
                  <a:lnTo>
                    <a:pt x="557" y="5258"/>
                  </a:lnTo>
                  <a:lnTo>
                    <a:pt x="470" y="5117"/>
                  </a:lnTo>
                  <a:lnTo>
                    <a:pt x="389" y="4977"/>
                  </a:lnTo>
                  <a:lnTo>
                    <a:pt x="313" y="4825"/>
                  </a:lnTo>
                  <a:lnTo>
                    <a:pt x="249" y="4674"/>
                  </a:lnTo>
                  <a:lnTo>
                    <a:pt x="189" y="4512"/>
                  </a:lnTo>
                  <a:lnTo>
                    <a:pt x="135" y="4344"/>
                  </a:lnTo>
                  <a:lnTo>
                    <a:pt x="92" y="4177"/>
                  </a:lnTo>
                  <a:lnTo>
                    <a:pt x="54" y="3998"/>
                  </a:lnTo>
                  <a:lnTo>
                    <a:pt x="27" y="3815"/>
                  </a:lnTo>
                  <a:lnTo>
                    <a:pt x="11" y="3626"/>
                  </a:lnTo>
                  <a:lnTo>
                    <a:pt x="0" y="3436"/>
                  </a:lnTo>
                  <a:lnTo>
                    <a:pt x="0" y="3436"/>
                  </a:lnTo>
                  <a:lnTo>
                    <a:pt x="6" y="3237"/>
                  </a:lnTo>
                  <a:lnTo>
                    <a:pt x="16" y="3043"/>
                  </a:lnTo>
                  <a:lnTo>
                    <a:pt x="32" y="2854"/>
                  </a:lnTo>
                  <a:lnTo>
                    <a:pt x="65" y="2670"/>
                  </a:lnTo>
                  <a:lnTo>
                    <a:pt x="103" y="2491"/>
                  </a:lnTo>
                  <a:lnTo>
                    <a:pt x="151" y="2319"/>
                  </a:lnTo>
                  <a:lnTo>
                    <a:pt x="205" y="2156"/>
                  </a:lnTo>
                  <a:lnTo>
                    <a:pt x="270" y="1994"/>
                  </a:lnTo>
                  <a:lnTo>
                    <a:pt x="340" y="1837"/>
                  </a:lnTo>
                  <a:lnTo>
                    <a:pt x="416" y="1692"/>
                  </a:lnTo>
                  <a:lnTo>
                    <a:pt x="502" y="1545"/>
                  </a:lnTo>
                  <a:lnTo>
                    <a:pt x="594" y="1411"/>
                  </a:lnTo>
                  <a:lnTo>
                    <a:pt x="691" y="1281"/>
                  </a:lnTo>
                  <a:lnTo>
                    <a:pt x="800" y="1157"/>
                  </a:lnTo>
                  <a:lnTo>
                    <a:pt x="907" y="1038"/>
                  </a:lnTo>
                  <a:lnTo>
                    <a:pt x="1026" y="924"/>
                  </a:lnTo>
                  <a:lnTo>
                    <a:pt x="1145" y="816"/>
                  </a:lnTo>
                  <a:lnTo>
                    <a:pt x="1269" y="713"/>
                  </a:lnTo>
                  <a:lnTo>
                    <a:pt x="1399" y="621"/>
                  </a:lnTo>
                  <a:lnTo>
                    <a:pt x="1534" y="535"/>
                  </a:lnTo>
                  <a:lnTo>
                    <a:pt x="1669" y="454"/>
                  </a:lnTo>
                  <a:lnTo>
                    <a:pt x="1809" y="378"/>
                  </a:lnTo>
                  <a:lnTo>
                    <a:pt x="1955" y="308"/>
                  </a:lnTo>
                  <a:lnTo>
                    <a:pt x="2101" y="249"/>
                  </a:lnTo>
                  <a:lnTo>
                    <a:pt x="2252" y="195"/>
                  </a:lnTo>
                  <a:lnTo>
                    <a:pt x="2403" y="146"/>
                  </a:lnTo>
                  <a:lnTo>
                    <a:pt x="2555" y="103"/>
                  </a:lnTo>
                  <a:lnTo>
                    <a:pt x="2711" y="70"/>
                  </a:lnTo>
                  <a:lnTo>
                    <a:pt x="2868" y="43"/>
                  </a:lnTo>
                  <a:lnTo>
                    <a:pt x="3025" y="21"/>
                  </a:lnTo>
                  <a:lnTo>
                    <a:pt x="3182" y="6"/>
                  </a:lnTo>
                  <a:lnTo>
                    <a:pt x="3338" y="0"/>
                  </a:lnTo>
                  <a:lnTo>
                    <a:pt x="3338" y="0"/>
                  </a:lnTo>
                  <a:lnTo>
                    <a:pt x="3467" y="0"/>
                  </a:lnTo>
                  <a:lnTo>
                    <a:pt x="3592" y="6"/>
                  </a:lnTo>
                  <a:lnTo>
                    <a:pt x="3711" y="16"/>
                  </a:lnTo>
                  <a:lnTo>
                    <a:pt x="3824" y="32"/>
                  </a:lnTo>
                  <a:lnTo>
                    <a:pt x="3932" y="48"/>
                  </a:lnTo>
                  <a:lnTo>
                    <a:pt x="4034" y="70"/>
                  </a:lnTo>
                  <a:lnTo>
                    <a:pt x="4132" y="92"/>
                  </a:lnTo>
                  <a:lnTo>
                    <a:pt x="4218" y="119"/>
                  </a:lnTo>
                  <a:lnTo>
                    <a:pt x="4386" y="173"/>
                  </a:lnTo>
                  <a:lnTo>
                    <a:pt x="4532" y="222"/>
                  </a:lnTo>
                  <a:lnTo>
                    <a:pt x="4758" y="313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" name="Freeform 5">
              <a:extLst>
                <a:ext uri="{FF2B5EF4-FFF2-40B4-BE49-F238E27FC236}">
                  <a16:creationId xmlns:a16="http://schemas.microsoft.com/office/drawing/2014/main" id="{04763A13-1017-8E45-874F-DF40CF9407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05825" y="2609850"/>
              <a:ext cx="368300" cy="736600"/>
            </a:xfrm>
            <a:custGeom>
              <a:avLst/>
              <a:gdLst>
                <a:gd name="T0" fmla="*/ 1020 w 1021"/>
                <a:gd name="T1" fmla="*/ 2043 h 2044"/>
                <a:gd name="T2" fmla="*/ 1020 w 1021"/>
                <a:gd name="T3" fmla="*/ 0 h 2044"/>
                <a:gd name="T4" fmla="*/ 0 w 1021"/>
                <a:gd name="T5" fmla="*/ 0 h 2044"/>
                <a:gd name="T6" fmla="*/ 0 w 1021"/>
                <a:gd name="T7" fmla="*/ 2043 h 2044"/>
                <a:gd name="T8" fmla="*/ 1020 w 1021"/>
                <a:gd name="T9" fmla="*/ 2043 h 2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1" h="2044">
                  <a:moveTo>
                    <a:pt x="1020" y="2043"/>
                  </a:moveTo>
                  <a:lnTo>
                    <a:pt x="1020" y="0"/>
                  </a:lnTo>
                  <a:lnTo>
                    <a:pt x="0" y="0"/>
                  </a:lnTo>
                  <a:lnTo>
                    <a:pt x="0" y="2043"/>
                  </a:lnTo>
                  <a:lnTo>
                    <a:pt x="1020" y="2043"/>
                  </a:lnTo>
                </a:path>
              </a:pathLst>
            </a:custGeom>
            <a:solidFill>
              <a:srgbClr val="FF050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9" name="Freeform 6">
              <a:extLst>
                <a:ext uri="{FF2B5EF4-FFF2-40B4-BE49-F238E27FC236}">
                  <a16:creationId xmlns:a16="http://schemas.microsoft.com/office/drawing/2014/main" id="{7D27F538-D1AD-B74C-A379-1278F75758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56675" y="2665413"/>
              <a:ext cx="565150" cy="622300"/>
            </a:xfrm>
            <a:custGeom>
              <a:avLst/>
              <a:gdLst>
                <a:gd name="T0" fmla="*/ 1513 w 1568"/>
                <a:gd name="T1" fmla="*/ 854 h 1730"/>
                <a:gd name="T2" fmla="*/ 1491 w 1568"/>
                <a:gd name="T3" fmla="*/ 838 h 1730"/>
                <a:gd name="T4" fmla="*/ 1486 w 1568"/>
                <a:gd name="T5" fmla="*/ 805 h 1730"/>
                <a:gd name="T6" fmla="*/ 1486 w 1568"/>
                <a:gd name="T7" fmla="*/ 789 h 1730"/>
                <a:gd name="T8" fmla="*/ 1551 w 1568"/>
                <a:gd name="T9" fmla="*/ 567 h 1730"/>
                <a:gd name="T10" fmla="*/ 1367 w 1568"/>
                <a:gd name="T11" fmla="*/ 605 h 1730"/>
                <a:gd name="T12" fmla="*/ 1335 w 1568"/>
                <a:gd name="T13" fmla="*/ 605 h 1730"/>
                <a:gd name="T14" fmla="*/ 1319 w 1568"/>
                <a:gd name="T15" fmla="*/ 578 h 1730"/>
                <a:gd name="T16" fmla="*/ 1275 w 1568"/>
                <a:gd name="T17" fmla="*/ 470 h 1730"/>
                <a:gd name="T18" fmla="*/ 1086 w 1568"/>
                <a:gd name="T19" fmla="*/ 681 h 1730"/>
                <a:gd name="T20" fmla="*/ 1076 w 1568"/>
                <a:gd name="T21" fmla="*/ 687 h 1730"/>
                <a:gd name="T22" fmla="*/ 1049 w 1568"/>
                <a:gd name="T23" fmla="*/ 691 h 1730"/>
                <a:gd name="T24" fmla="*/ 1032 w 1568"/>
                <a:gd name="T25" fmla="*/ 687 h 1730"/>
                <a:gd name="T26" fmla="*/ 1022 w 1568"/>
                <a:gd name="T27" fmla="*/ 665 h 1730"/>
                <a:gd name="T28" fmla="*/ 1022 w 1568"/>
                <a:gd name="T29" fmla="*/ 649 h 1730"/>
                <a:gd name="T30" fmla="*/ 1119 w 1568"/>
                <a:gd name="T31" fmla="*/ 211 h 1730"/>
                <a:gd name="T32" fmla="*/ 989 w 1568"/>
                <a:gd name="T33" fmla="*/ 286 h 1730"/>
                <a:gd name="T34" fmla="*/ 951 w 1568"/>
                <a:gd name="T35" fmla="*/ 297 h 1730"/>
                <a:gd name="T36" fmla="*/ 919 w 1568"/>
                <a:gd name="T37" fmla="*/ 270 h 1730"/>
                <a:gd name="T38" fmla="*/ 784 w 1568"/>
                <a:gd name="T39" fmla="*/ 0 h 1730"/>
                <a:gd name="T40" fmla="*/ 784 w 1568"/>
                <a:gd name="T41" fmla="*/ 0 h 1730"/>
                <a:gd name="T42" fmla="*/ 784 w 1568"/>
                <a:gd name="T43" fmla="*/ 0 h 1730"/>
                <a:gd name="T44" fmla="*/ 649 w 1568"/>
                <a:gd name="T45" fmla="*/ 270 h 1730"/>
                <a:gd name="T46" fmla="*/ 616 w 1568"/>
                <a:gd name="T47" fmla="*/ 297 h 1730"/>
                <a:gd name="T48" fmla="*/ 578 w 1568"/>
                <a:gd name="T49" fmla="*/ 286 h 1730"/>
                <a:gd name="T50" fmla="*/ 449 w 1568"/>
                <a:gd name="T51" fmla="*/ 211 h 1730"/>
                <a:gd name="T52" fmla="*/ 546 w 1568"/>
                <a:gd name="T53" fmla="*/ 649 h 1730"/>
                <a:gd name="T54" fmla="*/ 546 w 1568"/>
                <a:gd name="T55" fmla="*/ 665 h 1730"/>
                <a:gd name="T56" fmla="*/ 536 w 1568"/>
                <a:gd name="T57" fmla="*/ 687 h 1730"/>
                <a:gd name="T58" fmla="*/ 519 w 1568"/>
                <a:gd name="T59" fmla="*/ 691 h 1730"/>
                <a:gd name="T60" fmla="*/ 492 w 1568"/>
                <a:gd name="T61" fmla="*/ 687 h 1730"/>
                <a:gd name="T62" fmla="*/ 481 w 1568"/>
                <a:gd name="T63" fmla="*/ 681 h 1730"/>
                <a:gd name="T64" fmla="*/ 293 w 1568"/>
                <a:gd name="T65" fmla="*/ 470 h 1730"/>
                <a:gd name="T66" fmla="*/ 249 w 1568"/>
                <a:gd name="T67" fmla="*/ 578 h 1730"/>
                <a:gd name="T68" fmla="*/ 233 w 1568"/>
                <a:gd name="T69" fmla="*/ 605 h 1730"/>
                <a:gd name="T70" fmla="*/ 201 w 1568"/>
                <a:gd name="T71" fmla="*/ 605 h 1730"/>
                <a:gd name="T72" fmla="*/ 11 w 1568"/>
                <a:gd name="T73" fmla="*/ 567 h 1730"/>
                <a:gd name="T74" fmla="*/ 82 w 1568"/>
                <a:gd name="T75" fmla="*/ 789 h 1730"/>
                <a:gd name="T76" fmla="*/ 82 w 1568"/>
                <a:gd name="T77" fmla="*/ 805 h 1730"/>
                <a:gd name="T78" fmla="*/ 76 w 1568"/>
                <a:gd name="T79" fmla="*/ 838 h 1730"/>
                <a:gd name="T80" fmla="*/ 0 w 1568"/>
                <a:gd name="T81" fmla="*/ 881 h 1730"/>
                <a:gd name="T82" fmla="*/ 0 w 1568"/>
                <a:gd name="T83" fmla="*/ 881 h 1730"/>
                <a:gd name="T84" fmla="*/ 357 w 1568"/>
                <a:gd name="T85" fmla="*/ 1194 h 1730"/>
                <a:gd name="T86" fmla="*/ 379 w 1568"/>
                <a:gd name="T87" fmla="*/ 1211 h 1730"/>
                <a:gd name="T88" fmla="*/ 379 w 1568"/>
                <a:gd name="T89" fmla="*/ 1265 h 1730"/>
                <a:gd name="T90" fmla="*/ 335 w 1568"/>
                <a:gd name="T91" fmla="*/ 1383 h 1730"/>
                <a:gd name="T92" fmla="*/ 692 w 1568"/>
                <a:gd name="T93" fmla="*/ 1314 h 1730"/>
                <a:gd name="T94" fmla="*/ 714 w 1568"/>
                <a:gd name="T95" fmla="*/ 1308 h 1730"/>
                <a:gd name="T96" fmla="*/ 746 w 1568"/>
                <a:gd name="T97" fmla="*/ 1329 h 1730"/>
                <a:gd name="T98" fmla="*/ 751 w 1568"/>
                <a:gd name="T99" fmla="*/ 1351 h 1730"/>
                <a:gd name="T100" fmla="*/ 827 w 1568"/>
                <a:gd name="T101" fmla="*/ 1729 h 1730"/>
                <a:gd name="T102" fmla="*/ 816 w 1568"/>
                <a:gd name="T103" fmla="*/ 1351 h 1730"/>
                <a:gd name="T104" fmla="*/ 822 w 1568"/>
                <a:gd name="T105" fmla="*/ 1329 h 1730"/>
                <a:gd name="T106" fmla="*/ 854 w 1568"/>
                <a:gd name="T107" fmla="*/ 1308 h 1730"/>
                <a:gd name="T108" fmla="*/ 875 w 1568"/>
                <a:gd name="T109" fmla="*/ 1314 h 1730"/>
                <a:gd name="T110" fmla="*/ 1232 w 1568"/>
                <a:gd name="T111" fmla="*/ 1383 h 1730"/>
                <a:gd name="T112" fmla="*/ 1189 w 1568"/>
                <a:gd name="T113" fmla="*/ 1265 h 1730"/>
                <a:gd name="T114" fmla="*/ 1189 w 1568"/>
                <a:gd name="T115" fmla="*/ 1211 h 1730"/>
                <a:gd name="T116" fmla="*/ 1210 w 1568"/>
                <a:gd name="T117" fmla="*/ 1194 h 1730"/>
                <a:gd name="T118" fmla="*/ 1567 w 1568"/>
                <a:gd name="T119" fmla="*/ 881 h 1730"/>
                <a:gd name="T120" fmla="*/ 1513 w 1568"/>
                <a:gd name="T121" fmla="*/ 854 h 1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68" h="1730">
                  <a:moveTo>
                    <a:pt x="1513" y="854"/>
                  </a:moveTo>
                  <a:lnTo>
                    <a:pt x="1513" y="854"/>
                  </a:lnTo>
                  <a:lnTo>
                    <a:pt x="1513" y="854"/>
                  </a:lnTo>
                  <a:lnTo>
                    <a:pt x="1491" y="838"/>
                  </a:lnTo>
                  <a:lnTo>
                    <a:pt x="1486" y="821"/>
                  </a:lnTo>
                  <a:lnTo>
                    <a:pt x="1486" y="805"/>
                  </a:lnTo>
                  <a:lnTo>
                    <a:pt x="1486" y="789"/>
                  </a:lnTo>
                  <a:lnTo>
                    <a:pt x="1486" y="789"/>
                  </a:lnTo>
                  <a:lnTo>
                    <a:pt x="1551" y="567"/>
                  </a:lnTo>
                  <a:lnTo>
                    <a:pt x="1551" y="567"/>
                  </a:lnTo>
                  <a:lnTo>
                    <a:pt x="1367" y="605"/>
                  </a:lnTo>
                  <a:lnTo>
                    <a:pt x="1367" y="605"/>
                  </a:lnTo>
                  <a:lnTo>
                    <a:pt x="1346" y="605"/>
                  </a:lnTo>
                  <a:lnTo>
                    <a:pt x="1335" y="605"/>
                  </a:lnTo>
                  <a:lnTo>
                    <a:pt x="1324" y="595"/>
                  </a:lnTo>
                  <a:lnTo>
                    <a:pt x="1319" y="578"/>
                  </a:lnTo>
                  <a:lnTo>
                    <a:pt x="1319" y="578"/>
                  </a:lnTo>
                  <a:lnTo>
                    <a:pt x="1275" y="470"/>
                  </a:lnTo>
                  <a:lnTo>
                    <a:pt x="1275" y="470"/>
                  </a:lnTo>
                  <a:lnTo>
                    <a:pt x="1086" y="681"/>
                  </a:lnTo>
                  <a:lnTo>
                    <a:pt x="1086" y="681"/>
                  </a:lnTo>
                  <a:lnTo>
                    <a:pt x="1076" y="687"/>
                  </a:lnTo>
                  <a:lnTo>
                    <a:pt x="1059" y="691"/>
                  </a:lnTo>
                  <a:lnTo>
                    <a:pt x="1049" y="691"/>
                  </a:lnTo>
                  <a:lnTo>
                    <a:pt x="1038" y="691"/>
                  </a:lnTo>
                  <a:lnTo>
                    <a:pt x="1032" y="687"/>
                  </a:lnTo>
                  <a:lnTo>
                    <a:pt x="1027" y="676"/>
                  </a:lnTo>
                  <a:lnTo>
                    <a:pt x="1022" y="665"/>
                  </a:lnTo>
                  <a:lnTo>
                    <a:pt x="1022" y="649"/>
                  </a:lnTo>
                  <a:lnTo>
                    <a:pt x="1022" y="649"/>
                  </a:lnTo>
                  <a:lnTo>
                    <a:pt x="1119" y="211"/>
                  </a:lnTo>
                  <a:lnTo>
                    <a:pt x="1119" y="211"/>
                  </a:lnTo>
                  <a:lnTo>
                    <a:pt x="989" y="286"/>
                  </a:lnTo>
                  <a:lnTo>
                    <a:pt x="989" y="286"/>
                  </a:lnTo>
                  <a:lnTo>
                    <a:pt x="967" y="297"/>
                  </a:lnTo>
                  <a:lnTo>
                    <a:pt x="951" y="297"/>
                  </a:lnTo>
                  <a:lnTo>
                    <a:pt x="935" y="286"/>
                  </a:lnTo>
                  <a:lnTo>
                    <a:pt x="919" y="270"/>
                  </a:lnTo>
                  <a:lnTo>
                    <a:pt x="919" y="270"/>
                  </a:lnTo>
                  <a:lnTo>
                    <a:pt x="784" y="0"/>
                  </a:lnTo>
                  <a:lnTo>
                    <a:pt x="784" y="0"/>
                  </a:lnTo>
                  <a:lnTo>
                    <a:pt x="784" y="0"/>
                  </a:lnTo>
                  <a:lnTo>
                    <a:pt x="784" y="0"/>
                  </a:lnTo>
                  <a:lnTo>
                    <a:pt x="784" y="0"/>
                  </a:lnTo>
                  <a:lnTo>
                    <a:pt x="649" y="270"/>
                  </a:lnTo>
                  <a:lnTo>
                    <a:pt x="649" y="270"/>
                  </a:lnTo>
                  <a:lnTo>
                    <a:pt x="632" y="286"/>
                  </a:lnTo>
                  <a:lnTo>
                    <a:pt x="616" y="297"/>
                  </a:lnTo>
                  <a:lnTo>
                    <a:pt x="600" y="297"/>
                  </a:lnTo>
                  <a:lnTo>
                    <a:pt x="578" y="286"/>
                  </a:lnTo>
                  <a:lnTo>
                    <a:pt x="578" y="286"/>
                  </a:lnTo>
                  <a:lnTo>
                    <a:pt x="449" y="211"/>
                  </a:lnTo>
                  <a:lnTo>
                    <a:pt x="449" y="211"/>
                  </a:lnTo>
                  <a:lnTo>
                    <a:pt x="546" y="649"/>
                  </a:lnTo>
                  <a:lnTo>
                    <a:pt x="546" y="649"/>
                  </a:lnTo>
                  <a:lnTo>
                    <a:pt x="546" y="665"/>
                  </a:lnTo>
                  <a:lnTo>
                    <a:pt x="541" y="676"/>
                  </a:lnTo>
                  <a:lnTo>
                    <a:pt x="536" y="687"/>
                  </a:lnTo>
                  <a:lnTo>
                    <a:pt x="530" y="691"/>
                  </a:lnTo>
                  <a:lnTo>
                    <a:pt x="519" y="691"/>
                  </a:lnTo>
                  <a:lnTo>
                    <a:pt x="509" y="691"/>
                  </a:lnTo>
                  <a:lnTo>
                    <a:pt x="492" y="687"/>
                  </a:lnTo>
                  <a:lnTo>
                    <a:pt x="481" y="681"/>
                  </a:lnTo>
                  <a:lnTo>
                    <a:pt x="481" y="681"/>
                  </a:lnTo>
                  <a:lnTo>
                    <a:pt x="293" y="470"/>
                  </a:lnTo>
                  <a:lnTo>
                    <a:pt x="293" y="470"/>
                  </a:lnTo>
                  <a:lnTo>
                    <a:pt x="249" y="578"/>
                  </a:lnTo>
                  <a:lnTo>
                    <a:pt x="249" y="578"/>
                  </a:lnTo>
                  <a:lnTo>
                    <a:pt x="244" y="595"/>
                  </a:lnTo>
                  <a:lnTo>
                    <a:pt x="233" y="605"/>
                  </a:lnTo>
                  <a:lnTo>
                    <a:pt x="222" y="605"/>
                  </a:lnTo>
                  <a:lnTo>
                    <a:pt x="201" y="605"/>
                  </a:lnTo>
                  <a:lnTo>
                    <a:pt x="201" y="605"/>
                  </a:lnTo>
                  <a:lnTo>
                    <a:pt x="11" y="567"/>
                  </a:lnTo>
                  <a:lnTo>
                    <a:pt x="11" y="567"/>
                  </a:lnTo>
                  <a:lnTo>
                    <a:pt x="82" y="789"/>
                  </a:lnTo>
                  <a:lnTo>
                    <a:pt x="82" y="789"/>
                  </a:lnTo>
                  <a:lnTo>
                    <a:pt x="82" y="805"/>
                  </a:lnTo>
                  <a:lnTo>
                    <a:pt x="82" y="821"/>
                  </a:lnTo>
                  <a:lnTo>
                    <a:pt x="76" y="838"/>
                  </a:lnTo>
                  <a:lnTo>
                    <a:pt x="55" y="854"/>
                  </a:lnTo>
                  <a:lnTo>
                    <a:pt x="0" y="881"/>
                  </a:lnTo>
                  <a:lnTo>
                    <a:pt x="0" y="881"/>
                  </a:lnTo>
                  <a:lnTo>
                    <a:pt x="0" y="881"/>
                  </a:lnTo>
                  <a:lnTo>
                    <a:pt x="357" y="1194"/>
                  </a:lnTo>
                  <a:lnTo>
                    <a:pt x="357" y="1194"/>
                  </a:lnTo>
                  <a:lnTo>
                    <a:pt x="368" y="1200"/>
                  </a:lnTo>
                  <a:lnTo>
                    <a:pt x="379" y="1211"/>
                  </a:lnTo>
                  <a:lnTo>
                    <a:pt x="384" y="1232"/>
                  </a:lnTo>
                  <a:lnTo>
                    <a:pt x="379" y="1265"/>
                  </a:lnTo>
                  <a:lnTo>
                    <a:pt x="379" y="1265"/>
                  </a:lnTo>
                  <a:lnTo>
                    <a:pt x="335" y="1383"/>
                  </a:lnTo>
                  <a:lnTo>
                    <a:pt x="335" y="1383"/>
                  </a:lnTo>
                  <a:lnTo>
                    <a:pt x="692" y="1314"/>
                  </a:lnTo>
                  <a:lnTo>
                    <a:pt x="692" y="1314"/>
                  </a:lnTo>
                  <a:lnTo>
                    <a:pt x="714" y="1308"/>
                  </a:lnTo>
                  <a:lnTo>
                    <a:pt x="735" y="1314"/>
                  </a:lnTo>
                  <a:lnTo>
                    <a:pt x="746" y="1329"/>
                  </a:lnTo>
                  <a:lnTo>
                    <a:pt x="751" y="1351"/>
                  </a:lnTo>
                  <a:lnTo>
                    <a:pt x="751" y="1351"/>
                  </a:lnTo>
                  <a:lnTo>
                    <a:pt x="741" y="1729"/>
                  </a:lnTo>
                  <a:lnTo>
                    <a:pt x="827" y="1729"/>
                  </a:lnTo>
                  <a:lnTo>
                    <a:pt x="827" y="1729"/>
                  </a:lnTo>
                  <a:lnTo>
                    <a:pt x="816" y="1351"/>
                  </a:lnTo>
                  <a:lnTo>
                    <a:pt x="816" y="1351"/>
                  </a:lnTo>
                  <a:lnTo>
                    <a:pt x="822" y="1329"/>
                  </a:lnTo>
                  <a:lnTo>
                    <a:pt x="833" y="1314"/>
                  </a:lnTo>
                  <a:lnTo>
                    <a:pt x="854" y="1308"/>
                  </a:lnTo>
                  <a:lnTo>
                    <a:pt x="875" y="1314"/>
                  </a:lnTo>
                  <a:lnTo>
                    <a:pt x="875" y="1314"/>
                  </a:lnTo>
                  <a:lnTo>
                    <a:pt x="1232" y="1383"/>
                  </a:lnTo>
                  <a:lnTo>
                    <a:pt x="1232" y="1383"/>
                  </a:lnTo>
                  <a:lnTo>
                    <a:pt x="1189" y="1265"/>
                  </a:lnTo>
                  <a:lnTo>
                    <a:pt x="1189" y="1265"/>
                  </a:lnTo>
                  <a:lnTo>
                    <a:pt x="1183" y="1232"/>
                  </a:lnTo>
                  <a:lnTo>
                    <a:pt x="1189" y="1211"/>
                  </a:lnTo>
                  <a:lnTo>
                    <a:pt x="1200" y="1200"/>
                  </a:lnTo>
                  <a:lnTo>
                    <a:pt x="1210" y="1194"/>
                  </a:lnTo>
                  <a:lnTo>
                    <a:pt x="1210" y="1194"/>
                  </a:lnTo>
                  <a:lnTo>
                    <a:pt x="1567" y="881"/>
                  </a:lnTo>
                  <a:lnTo>
                    <a:pt x="1567" y="881"/>
                  </a:lnTo>
                  <a:lnTo>
                    <a:pt x="1513" y="854"/>
                  </a:lnTo>
                </a:path>
              </a:pathLst>
            </a:custGeom>
            <a:solidFill>
              <a:srgbClr val="FF050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0" name="Freeform 7">
              <a:extLst>
                <a:ext uri="{FF2B5EF4-FFF2-40B4-BE49-F238E27FC236}">
                  <a16:creationId xmlns:a16="http://schemas.microsoft.com/office/drawing/2014/main" id="{EDDC396E-605C-A74B-9892-D22549F4B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7663" y="26654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1" name="Freeform 8">
              <a:extLst>
                <a:ext uri="{FF2B5EF4-FFF2-40B4-BE49-F238E27FC236}">
                  <a16:creationId xmlns:a16="http://schemas.microsoft.com/office/drawing/2014/main" id="{64754E00-6C91-7F44-B44F-DFEAB2BAAF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7663" y="26654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" name="Freeform 9">
              <a:extLst>
                <a:ext uri="{FF2B5EF4-FFF2-40B4-BE49-F238E27FC236}">
                  <a16:creationId xmlns:a16="http://schemas.microsoft.com/office/drawing/2014/main" id="{6C34EF31-427B-8647-9FF4-68BBF50F0F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75725" y="2973388"/>
              <a:ext cx="1588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" name="Freeform 10">
              <a:extLst>
                <a:ext uri="{FF2B5EF4-FFF2-40B4-BE49-F238E27FC236}">
                  <a16:creationId xmlns:a16="http://schemas.microsoft.com/office/drawing/2014/main" id="{931374F6-CFBD-2042-ADFC-65C6ED59D4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3375" y="32893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4" name="Freeform 11">
              <a:extLst>
                <a:ext uri="{FF2B5EF4-FFF2-40B4-BE49-F238E27FC236}">
                  <a16:creationId xmlns:a16="http://schemas.microsoft.com/office/drawing/2014/main" id="{4F999357-786F-E84A-BC9E-B1C50FCB86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3538" y="3289300"/>
              <a:ext cx="1587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5" name="Freeform 12">
              <a:extLst>
                <a:ext uri="{FF2B5EF4-FFF2-40B4-BE49-F238E27FC236}">
                  <a16:creationId xmlns:a16="http://schemas.microsoft.com/office/drawing/2014/main" id="{689CD318-FAB0-D443-99F4-0E200C72D7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07550" y="2609850"/>
              <a:ext cx="366713" cy="736600"/>
            </a:xfrm>
            <a:custGeom>
              <a:avLst/>
              <a:gdLst>
                <a:gd name="T0" fmla="*/ 1016 w 1017"/>
                <a:gd name="T1" fmla="*/ 2043 h 2044"/>
                <a:gd name="T2" fmla="*/ 1016 w 1017"/>
                <a:gd name="T3" fmla="*/ 0 h 2044"/>
                <a:gd name="T4" fmla="*/ 0 w 1017"/>
                <a:gd name="T5" fmla="*/ 0 h 2044"/>
                <a:gd name="T6" fmla="*/ 0 w 1017"/>
                <a:gd name="T7" fmla="*/ 2043 h 2044"/>
                <a:gd name="T8" fmla="*/ 1016 w 1017"/>
                <a:gd name="T9" fmla="*/ 2043 h 2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7" h="2044">
                  <a:moveTo>
                    <a:pt x="1016" y="2043"/>
                  </a:moveTo>
                  <a:lnTo>
                    <a:pt x="1016" y="0"/>
                  </a:lnTo>
                  <a:lnTo>
                    <a:pt x="0" y="0"/>
                  </a:lnTo>
                  <a:lnTo>
                    <a:pt x="0" y="2043"/>
                  </a:lnTo>
                  <a:lnTo>
                    <a:pt x="1016" y="2043"/>
                  </a:lnTo>
                </a:path>
              </a:pathLst>
            </a:custGeom>
            <a:solidFill>
              <a:srgbClr val="FF050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6" name="Freeform 13">
              <a:extLst>
                <a:ext uri="{FF2B5EF4-FFF2-40B4-BE49-F238E27FC236}">
                  <a16:creationId xmlns:a16="http://schemas.microsoft.com/office/drawing/2014/main" id="{59ADF2E8-B9D9-8442-AE2C-3271B5B4F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9788" y="3449638"/>
              <a:ext cx="1501775" cy="1525587"/>
            </a:xfrm>
            <a:custGeom>
              <a:avLst/>
              <a:gdLst>
                <a:gd name="T0" fmla="*/ 2333 w 4171"/>
                <a:gd name="T1" fmla="*/ 1512 h 4237"/>
                <a:gd name="T2" fmla="*/ 2193 w 4171"/>
                <a:gd name="T3" fmla="*/ 1783 h 4237"/>
                <a:gd name="T4" fmla="*/ 1912 w 4171"/>
                <a:gd name="T5" fmla="*/ 1934 h 4237"/>
                <a:gd name="T6" fmla="*/ 1021 w 4171"/>
                <a:gd name="T7" fmla="*/ 2129 h 4237"/>
                <a:gd name="T8" fmla="*/ 486 w 4171"/>
                <a:gd name="T9" fmla="*/ 2323 h 4237"/>
                <a:gd name="T10" fmla="*/ 146 w 4171"/>
                <a:gd name="T11" fmla="*/ 2642 h 4237"/>
                <a:gd name="T12" fmla="*/ 16 w 4171"/>
                <a:gd name="T13" fmla="*/ 2972 h 4237"/>
                <a:gd name="T14" fmla="*/ 16 w 4171"/>
                <a:gd name="T15" fmla="*/ 3328 h 4237"/>
                <a:gd name="T16" fmla="*/ 140 w 4171"/>
                <a:gd name="T17" fmla="*/ 3685 h 4237"/>
                <a:gd name="T18" fmla="*/ 378 w 4171"/>
                <a:gd name="T19" fmla="*/ 3939 h 4237"/>
                <a:gd name="T20" fmla="*/ 1021 w 4171"/>
                <a:gd name="T21" fmla="*/ 4204 h 4237"/>
                <a:gd name="T22" fmla="*/ 1534 w 4171"/>
                <a:gd name="T23" fmla="*/ 4215 h 4237"/>
                <a:gd name="T24" fmla="*/ 1982 w 4171"/>
                <a:gd name="T25" fmla="*/ 4090 h 4237"/>
                <a:gd name="T26" fmla="*/ 2371 w 4171"/>
                <a:gd name="T27" fmla="*/ 3842 h 4237"/>
                <a:gd name="T28" fmla="*/ 2468 w 4171"/>
                <a:gd name="T29" fmla="*/ 3901 h 4237"/>
                <a:gd name="T30" fmla="*/ 2798 w 4171"/>
                <a:gd name="T31" fmla="*/ 4128 h 4237"/>
                <a:gd name="T32" fmla="*/ 3300 w 4171"/>
                <a:gd name="T33" fmla="*/ 4236 h 4237"/>
                <a:gd name="T34" fmla="*/ 3786 w 4171"/>
                <a:gd name="T35" fmla="*/ 4188 h 4237"/>
                <a:gd name="T36" fmla="*/ 4067 w 4171"/>
                <a:gd name="T37" fmla="*/ 4014 h 4237"/>
                <a:gd name="T38" fmla="*/ 4164 w 4171"/>
                <a:gd name="T39" fmla="*/ 3831 h 4237"/>
                <a:gd name="T40" fmla="*/ 4105 w 4171"/>
                <a:gd name="T41" fmla="*/ 3717 h 4237"/>
                <a:gd name="T42" fmla="*/ 4030 w 4171"/>
                <a:gd name="T43" fmla="*/ 3777 h 4237"/>
                <a:gd name="T44" fmla="*/ 3824 w 4171"/>
                <a:gd name="T45" fmla="*/ 3982 h 4237"/>
                <a:gd name="T46" fmla="*/ 3603 w 4171"/>
                <a:gd name="T47" fmla="*/ 3993 h 4237"/>
                <a:gd name="T48" fmla="*/ 3370 w 4171"/>
                <a:gd name="T49" fmla="*/ 3825 h 4237"/>
                <a:gd name="T50" fmla="*/ 3224 w 4171"/>
                <a:gd name="T51" fmla="*/ 3231 h 4237"/>
                <a:gd name="T52" fmla="*/ 3197 w 4171"/>
                <a:gd name="T53" fmla="*/ 881 h 4237"/>
                <a:gd name="T54" fmla="*/ 3041 w 4171"/>
                <a:gd name="T55" fmla="*/ 530 h 4237"/>
                <a:gd name="T56" fmla="*/ 2782 w 4171"/>
                <a:gd name="T57" fmla="*/ 287 h 4237"/>
                <a:gd name="T58" fmla="*/ 2387 w 4171"/>
                <a:gd name="T59" fmla="*/ 108 h 4237"/>
                <a:gd name="T60" fmla="*/ 1528 w 4171"/>
                <a:gd name="T61" fmla="*/ 0 h 4237"/>
                <a:gd name="T62" fmla="*/ 1005 w 4171"/>
                <a:gd name="T63" fmla="*/ 43 h 4237"/>
                <a:gd name="T64" fmla="*/ 583 w 4171"/>
                <a:gd name="T65" fmla="*/ 184 h 4237"/>
                <a:gd name="T66" fmla="*/ 318 w 4171"/>
                <a:gd name="T67" fmla="*/ 411 h 4237"/>
                <a:gd name="T68" fmla="*/ 195 w 4171"/>
                <a:gd name="T69" fmla="*/ 811 h 4237"/>
                <a:gd name="T70" fmla="*/ 254 w 4171"/>
                <a:gd name="T71" fmla="*/ 1037 h 4237"/>
                <a:gd name="T72" fmla="*/ 448 w 4171"/>
                <a:gd name="T73" fmla="*/ 1166 h 4237"/>
                <a:gd name="T74" fmla="*/ 713 w 4171"/>
                <a:gd name="T75" fmla="*/ 1172 h 4237"/>
                <a:gd name="T76" fmla="*/ 913 w 4171"/>
                <a:gd name="T77" fmla="*/ 1009 h 4237"/>
                <a:gd name="T78" fmla="*/ 1059 w 4171"/>
                <a:gd name="T79" fmla="*/ 600 h 4237"/>
                <a:gd name="T80" fmla="*/ 1248 w 4171"/>
                <a:gd name="T81" fmla="*/ 308 h 4237"/>
                <a:gd name="T82" fmla="*/ 1610 w 4171"/>
                <a:gd name="T83" fmla="*/ 216 h 4237"/>
                <a:gd name="T84" fmla="*/ 2041 w 4171"/>
                <a:gd name="T85" fmla="*/ 373 h 4237"/>
                <a:gd name="T86" fmla="*/ 2295 w 4171"/>
                <a:gd name="T87" fmla="*/ 789 h 4237"/>
                <a:gd name="T88" fmla="*/ 2349 w 4171"/>
                <a:gd name="T89" fmla="*/ 1296 h 4237"/>
                <a:gd name="T90" fmla="*/ 2355 w 4171"/>
                <a:gd name="T91" fmla="*/ 3020 h 4237"/>
                <a:gd name="T92" fmla="*/ 2193 w 4171"/>
                <a:gd name="T93" fmla="*/ 3599 h 4237"/>
                <a:gd name="T94" fmla="*/ 1831 w 4171"/>
                <a:gd name="T95" fmla="*/ 3944 h 4237"/>
                <a:gd name="T96" fmla="*/ 1399 w 4171"/>
                <a:gd name="T97" fmla="*/ 3972 h 4237"/>
                <a:gd name="T98" fmla="*/ 1037 w 4171"/>
                <a:gd name="T99" fmla="*/ 3733 h 4237"/>
                <a:gd name="T100" fmla="*/ 907 w 4171"/>
                <a:gd name="T101" fmla="*/ 3410 h 4237"/>
                <a:gd name="T102" fmla="*/ 918 w 4171"/>
                <a:gd name="T103" fmla="*/ 3117 h 4237"/>
                <a:gd name="T104" fmla="*/ 1107 w 4171"/>
                <a:gd name="T105" fmla="*/ 2728 h 4237"/>
                <a:gd name="T106" fmla="*/ 1555 w 4171"/>
                <a:gd name="T107" fmla="*/ 2334 h 4237"/>
                <a:gd name="T108" fmla="*/ 2117 w 4171"/>
                <a:gd name="T109" fmla="*/ 2053 h 4237"/>
                <a:gd name="T110" fmla="*/ 2333 w 4171"/>
                <a:gd name="T111" fmla="*/ 1993 h 4237"/>
                <a:gd name="T112" fmla="*/ 2349 w 4171"/>
                <a:gd name="T113" fmla="*/ 2026 h 4237"/>
                <a:gd name="T114" fmla="*/ 2349 w 4171"/>
                <a:gd name="T115" fmla="*/ 2058 h 4237"/>
                <a:gd name="T116" fmla="*/ 2349 w 4171"/>
                <a:gd name="T117" fmla="*/ 2080 h 4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71" h="4237">
                  <a:moveTo>
                    <a:pt x="2344" y="1393"/>
                  </a:moveTo>
                  <a:lnTo>
                    <a:pt x="2344" y="1393"/>
                  </a:lnTo>
                  <a:lnTo>
                    <a:pt x="2333" y="1496"/>
                  </a:lnTo>
                  <a:lnTo>
                    <a:pt x="2333" y="1496"/>
                  </a:lnTo>
                  <a:lnTo>
                    <a:pt x="2333" y="1512"/>
                  </a:lnTo>
                  <a:lnTo>
                    <a:pt x="2333" y="1512"/>
                  </a:lnTo>
                  <a:lnTo>
                    <a:pt x="2333" y="1512"/>
                  </a:lnTo>
                  <a:lnTo>
                    <a:pt x="2317" y="1582"/>
                  </a:lnTo>
                  <a:lnTo>
                    <a:pt x="2295" y="1642"/>
                  </a:lnTo>
                  <a:lnTo>
                    <a:pt x="2269" y="1691"/>
                  </a:lnTo>
                  <a:lnTo>
                    <a:pt x="2231" y="1739"/>
                  </a:lnTo>
                  <a:lnTo>
                    <a:pt x="2193" y="1783"/>
                  </a:lnTo>
                  <a:lnTo>
                    <a:pt x="2144" y="1820"/>
                  </a:lnTo>
                  <a:lnTo>
                    <a:pt x="2085" y="1852"/>
                  </a:lnTo>
                  <a:lnTo>
                    <a:pt x="2020" y="1890"/>
                  </a:lnTo>
                  <a:lnTo>
                    <a:pt x="2020" y="1890"/>
                  </a:lnTo>
                  <a:lnTo>
                    <a:pt x="1972" y="1912"/>
                  </a:lnTo>
                  <a:lnTo>
                    <a:pt x="1912" y="1934"/>
                  </a:lnTo>
                  <a:lnTo>
                    <a:pt x="1777" y="1972"/>
                  </a:lnTo>
                  <a:lnTo>
                    <a:pt x="1620" y="2009"/>
                  </a:lnTo>
                  <a:lnTo>
                    <a:pt x="1463" y="2047"/>
                  </a:lnTo>
                  <a:lnTo>
                    <a:pt x="1177" y="2096"/>
                  </a:lnTo>
                  <a:lnTo>
                    <a:pt x="1021" y="2129"/>
                  </a:lnTo>
                  <a:lnTo>
                    <a:pt x="1021" y="2129"/>
                  </a:lnTo>
                  <a:lnTo>
                    <a:pt x="896" y="2156"/>
                  </a:lnTo>
                  <a:lnTo>
                    <a:pt x="827" y="2177"/>
                  </a:lnTo>
                  <a:lnTo>
                    <a:pt x="745" y="2204"/>
                  </a:lnTo>
                  <a:lnTo>
                    <a:pt x="659" y="2236"/>
                  </a:lnTo>
                  <a:lnTo>
                    <a:pt x="572" y="2280"/>
                  </a:lnTo>
                  <a:lnTo>
                    <a:pt x="486" y="2323"/>
                  </a:lnTo>
                  <a:lnTo>
                    <a:pt x="405" y="2377"/>
                  </a:lnTo>
                  <a:lnTo>
                    <a:pt x="324" y="2442"/>
                  </a:lnTo>
                  <a:lnTo>
                    <a:pt x="243" y="2512"/>
                  </a:lnTo>
                  <a:lnTo>
                    <a:pt x="211" y="2555"/>
                  </a:lnTo>
                  <a:lnTo>
                    <a:pt x="178" y="2599"/>
                  </a:lnTo>
                  <a:lnTo>
                    <a:pt x="146" y="2642"/>
                  </a:lnTo>
                  <a:lnTo>
                    <a:pt x="119" y="2691"/>
                  </a:lnTo>
                  <a:lnTo>
                    <a:pt x="92" y="2739"/>
                  </a:lnTo>
                  <a:lnTo>
                    <a:pt x="65" y="2793"/>
                  </a:lnTo>
                  <a:lnTo>
                    <a:pt x="48" y="2852"/>
                  </a:lnTo>
                  <a:lnTo>
                    <a:pt x="32" y="2912"/>
                  </a:lnTo>
                  <a:lnTo>
                    <a:pt x="16" y="2972"/>
                  </a:lnTo>
                  <a:lnTo>
                    <a:pt x="5" y="3042"/>
                  </a:lnTo>
                  <a:lnTo>
                    <a:pt x="5" y="3112"/>
                  </a:lnTo>
                  <a:lnTo>
                    <a:pt x="0" y="3182"/>
                  </a:lnTo>
                  <a:lnTo>
                    <a:pt x="0" y="3182"/>
                  </a:lnTo>
                  <a:lnTo>
                    <a:pt x="5" y="3258"/>
                  </a:lnTo>
                  <a:lnTo>
                    <a:pt x="16" y="3328"/>
                  </a:lnTo>
                  <a:lnTo>
                    <a:pt x="27" y="3393"/>
                  </a:lnTo>
                  <a:lnTo>
                    <a:pt x="43" y="3458"/>
                  </a:lnTo>
                  <a:lnTo>
                    <a:pt x="65" y="3517"/>
                  </a:lnTo>
                  <a:lnTo>
                    <a:pt x="86" y="3577"/>
                  </a:lnTo>
                  <a:lnTo>
                    <a:pt x="113" y="3631"/>
                  </a:lnTo>
                  <a:lnTo>
                    <a:pt x="140" y="3685"/>
                  </a:lnTo>
                  <a:lnTo>
                    <a:pt x="178" y="3733"/>
                  </a:lnTo>
                  <a:lnTo>
                    <a:pt x="211" y="3777"/>
                  </a:lnTo>
                  <a:lnTo>
                    <a:pt x="249" y="3825"/>
                  </a:lnTo>
                  <a:lnTo>
                    <a:pt x="291" y="3863"/>
                  </a:lnTo>
                  <a:lnTo>
                    <a:pt x="335" y="3907"/>
                  </a:lnTo>
                  <a:lnTo>
                    <a:pt x="378" y="3939"/>
                  </a:lnTo>
                  <a:lnTo>
                    <a:pt x="475" y="4009"/>
                  </a:lnTo>
                  <a:lnTo>
                    <a:pt x="578" y="4063"/>
                  </a:lnTo>
                  <a:lnTo>
                    <a:pt x="686" y="4112"/>
                  </a:lnTo>
                  <a:lnTo>
                    <a:pt x="794" y="4150"/>
                  </a:lnTo>
                  <a:lnTo>
                    <a:pt x="907" y="4182"/>
                  </a:lnTo>
                  <a:lnTo>
                    <a:pt x="1021" y="4204"/>
                  </a:lnTo>
                  <a:lnTo>
                    <a:pt x="1134" y="4220"/>
                  </a:lnTo>
                  <a:lnTo>
                    <a:pt x="1242" y="4225"/>
                  </a:lnTo>
                  <a:lnTo>
                    <a:pt x="1345" y="4231"/>
                  </a:lnTo>
                  <a:lnTo>
                    <a:pt x="1345" y="4231"/>
                  </a:lnTo>
                  <a:lnTo>
                    <a:pt x="1442" y="4225"/>
                  </a:lnTo>
                  <a:lnTo>
                    <a:pt x="1534" y="4215"/>
                  </a:lnTo>
                  <a:lnTo>
                    <a:pt x="1620" y="4198"/>
                  </a:lnTo>
                  <a:lnTo>
                    <a:pt x="1702" y="4182"/>
                  </a:lnTo>
                  <a:lnTo>
                    <a:pt x="1777" y="4166"/>
                  </a:lnTo>
                  <a:lnTo>
                    <a:pt x="1853" y="4139"/>
                  </a:lnTo>
                  <a:lnTo>
                    <a:pt x="1917" y="4117"/>
                  </a:lnTo>
                  <a:lnTo>
                    <a:pt x="1982" y="4090"/>
                  </a:lnTo>
                  <a:lnTo>
                    <a:pt x="2096" y="4031"/>
                  </a:lnTo>
                  <a:lnTo>
                    <a:pt x="2188" y="3976"/>
                  </a:lnTo>
                  <a:lnTo>
                    <a:pt x="2263" y="3923"/>
                  </a:lnTo>
                  <a:lnTo>
                    <a:pt x="2322" y="3874"/>
                  </a:lnTo>
                  <a:lnTo>
                    <a:pt x="2322" y="3874"/>
                  </a:lnTo>
                  <a:lnTo>
                    <a:pt x="2371" y="3842"/>
                  </a:lnTo>
                  <a:lnTo>
                    <a:pt x="2387" y="3836"/>
                  </a:lnTo>
                  <a:lnTo>
                    <a:pt x="2398" y="3836"/>
                  </a:lnTo>
                  <a:lnTo>
                    <a:pt x="2414" y="3842"/>
                  </a:lnTo>
                  <a:lnTo>
                    <a:pt x="2425" y="3858"/>
                  </a:lnTo>
                  <a:lnTo>
                    <a:pt x="2468" y="3901"/>
                  </a:lnTo>
                  <a:lnTo>
                    <a:pt x="2468" y="3901"/>
                  </a:lnTo>
                  <a:lnTo>
                    <a:pt x="2506" y="3939"/>
                  </a:lnTo>
                  <a:lnTo>
                    <a:pt x="2560" y="3993"/>
                  </a:lnTo>
                  <a:lnTo>
                    <a:pt x="2641" y="4047"/>
                  </a:lnTo>
                  <a:lnTo>
                    <a:pt x="2684" y="4074"/>
                  </a:lnTo>
                  <a:lnTo>
                    <a:pt x="2738" y="4101"/>
                  </a:lnTo>
                  <a:lnTo>
                    <a:pt x="2798" y="4128"/>
                  </a:lnTo>
                  <a:lnTo>
                    <a:pt x="2868" y="4155"/>
                  </a:lnTo>
                  <a:lnTo>
                    <a:pt x="2938" y="4177"/>
                  </a:lnTo>
                  <a:lnTo>
                    <a:pt x="3019" y="4198"/>
                  </a:lnTo>
                  <a:lnTo>
                    <a:pt x="3106" y="4215"/>
                  </a:lnTo>
                  <a:lnTo>
                    <a:pt x="3203" y="4225"/>
                  </a:lnTo>
                  <a:lnTo>
                    <a:pt x="3300" y="4236"/>
                  </a:lnTo>
                  <a:lnTo>
                    <a:pt x="3414" y="4236"/>
                  </a:lnTo>
                  <a:lnTo>
                    <a:pt x="3414" y="4236"/>
                  </a:lnTo>
                  <a:lnTo>
                    <a:pt x="3521" y="4231"/>
                  </a:lnTo>
                  <a:lnTo>
                    <a:pt x="3619" y="4225"/>
                  </a:lnTo>
                  <a:lnTo>
                    <a:pt x="3705" y="4209"/>
                  </a:lnTo>
                  <a:lnTo>
                    <a:pt x="3786" y="4188"/>
                  </a:lnTo>
                  <a:lnTo>
                    <a:pt x="3851" y="4166"/>
                  </a:lnTo>
                  <a:lnTo>
                    <a:pt x="3910" y="4139"/>
                  </a:lnTo>
                  <a:lnTo>
                    <a:pt x="3959" y="4106"/>
                  </a:lnTo>
                  <a:lnTo>
                    <a:pt x="4002" y="4079"/>
                  </a:lnTo>
                  <a:lnTo>
                    <a:pt x="4040" y="4047"/>
                  </a:lnTo>
                  <a:lnTo>
                    <a:pt x="4067" y="4014"/>
                  </a:lnTo>
                  <a:lnTo>
                    <a:pt x="4094" y="3982"/>
                  </a:lnTo>
                  <a:lnTo>
                    <a:pt x="4116" y="3950"/>
                  </a:lnTo>
                  <a:lnTo>
                    <a:pt x="4143" y="3896"/>
                  </a:lnTo>
                  <a:lnTo>
                    <a:pt x="4159" y="3852"/>
                  </a:lnTo>
                  <a:lnTo>
                    <a:pt x="4159" y="3852"/>
                  </a:lnTo>
                  <a:lnTo>
                    <a:pt x="4164" y="3831"/>
                  </a:lnTo>
                  <a:lnTo>
                    <a:pt x="4170" y="3809"/>
                  </a:lnTo>
                  <a:lnTo>
                    <a:pt x="4170" y="3793"/>
                  </a:lnTo>
                  <a:lnTo>
                    <a:pt x="4164" y="3771"/>
                  </a:lnTo>
                  <a:lnTo>
                    <a:pt x="4148" y="3744"/>
                  </a:lnTo>
                  <a:lnTo>
                    <a:pt x="4126" y="3728"/>
                  </a:lnTo>
                  <a:lnTo>
                    <a:pt x="4105" y="3717"/>
                  </a:lnTo>
                  <a:lnTo>
                    <a:pt x="4089" y="3717"/>
                  </a:lnTo>
                  <a:lnTo>
                    <a:pt x="4078" y="3723"/>
                  </a:lnTo>
                  <a:lnTo>
                    <a:pt x="4061" y="3728"/>
                  </a:lnTo>
                  <a:lnTo>
                    <a:pt x="4051" y="3739"/>
                  </a:lnTo>
                  <a:lnTo>
                    <a:pt x="4040" y="3755"/>
                  </a:lnTo>
                  <a:lnTo>
                    <a:pt x="4030" y="3777"/>
                  </a:lnTo>
                  <a:lnTo>
                    <a:pt x="4030" y="3777"/>
                  </a:lnTo>
                  <a:lnTo>
                    <a:pt x="3997" y="3836"/>
                  </a:lnTo>
                  <a:lnTo>
                    <a:pt x="3959" y="3885"/>
                  </a:lnTo>
                  <a:lnTo>
                    <a:pt x="3916" y="3928"/>
                  </a:lnTo>
                  <a:lnTo>
                    <a:pt x="3873" y="3955"/>
                  </a:lnTo>
                  <a:lnTo>
                    <a:pt x="3824" y="3982"/>
                  </a:lnTo>
                  <a:lnTo>
                    <a:pt x="3775" y="3993"/>
                  </a:lnTo>
                  <a:lnTo>
                    <a:pt x="3732" y="4004"/>
                  </a:lnTo>
                  <a:lnTo>
                    <a:pt x="3689" y="4004"/>
                  </a:lnTo>
                  <a:lnTo>
                    <a:pt x="3689" y="4004"/>
                  </a:lnTo>
                  <a:lnTo>
                    <a:pt x="3635" y="3999"/>
                  </a:lnTo>
                  <a:lnTo>
                    <a:pt x="3603" y="3993"/>
                  </a:lnTo>
                  <a:lnTo>
                    <a:pt x="3565" y="3982"/>
                  </a:lnTo>
                  <a:lnTo>
                    <a:pt x="3527" y="3972"/>
                  </a:lnTo>
                  <a:lnTo>
                    <a:pt x="3489" y="3944"/>
                  </a:lnTo>
                  <a:lnTo>
                    <a:pt x="3452" y="3917"/>
                  </a:lnTo>
                  <a:lnTo>
                    <a:pt x="3408" y="3874"/>
                  </a:lnTo>
                  <a:lnTo>
                    <a:pt x="3370" y="3825"/>
                  </a:lnTo>
                  <a:lnTo>
                    <a:pt x="3338" y="3760"/>
                  </a:lnTo>
                  <a:lnTo>
                    <a:pt x="3306" y="3685"/>
                  </a:lnTo>
                  <a:lnTo>
                    <a:pt x="3278" y="3599"/>
                  </a:lnTo>
                  <a:lnTo>
                    <a:pt x="3251" y="3490"/>
                  </a:lnTo>
                  <a:lnTo>
                    <a:pt x="3235" y="3372"/>
                  </a:lnTo>
                  <a:lnTo>
                    <a:pt x="3224" y="3231"/>
                  </a:lnTo>
                  <a:lnTo>
                    <a:pt x="3219" y="3068"/>
                  </a:lnTo>
                  <a:lnTo>
                    <a:pt x="3219" y="3068"/>
                  </a:lnTo>
                  <a:lnTo>
                    <a:pt x="3219" y="1101"/>
                  </a:lnTo>
                  <a:lnTo>
                    <a:pt x="3219" y="1101"/>
                  </a:lnTo>
                  <a:lnTo>
                    <a:pt x="3214" y="988"/>
                  </a:lnTo>
                  <a:lnTo>
                    <a:pt x="3197" y="881"/>
                  </a:lnTo>
                  <a:lnTo>
                    <a:pt x="3165" y="773"/>
                  </a:lnTo>
                  <a:lnTo>
                    <a:pt x="3149" y="724"/>
                  </a:lnTo>
                  <a:lnTo>
                    <a:pt x="3127" y="675"/>
                  </a:lnTo>
                  <a:lnTo>
                    <a:pt x="3100" y="627"/>
                  </a:lnTo>
                  <a:lnTo>
                    <a:pt x="3073" y="578"/>
                  </a:lnTo>
                  <a:lnTo>
                    <a:pt x="3041" y="530"/>
                  </a:lnTo>
                  <a:lnTo>
                    <a:pt x="3008" y="486"/>
                  </a:lnTo>
                  <a:lnTo>
                    <a:pt x="2971" y="443"/>
                  </a:lnTo>
                  <a:lnTo>
                    <a:pt x="2927" y="400"/>
                  </a:lnTo>
                  <a:lnTo>
                    <a:pt x="2884" y="362"/>
                  </a:lnTo>
                  <a:lnTo>
                    <a:pt x="2836" y="324"/>
                  </a:lnTo>
                  <a:lnTo>
                    <a:pt x="2782" y="287"/>
                  </a:lnTo>
                  <a:lnTo>
                    <a:pt x="2728" y="254"/>
                  </a:lnTo>
                  <a:lnTo>
                    <a:pt x="2663" y="216"/>
                  </a:lnTo>
                  <a:lnTo>
                    <a:pt x="2603" y="189"/>
                  </a:lnTo>
                  <a:lnTo>
                    <a:pt x="2533" y="157"/>
                  </a:lnTo>
                  <a:lnTo>
                    <a:pt x="2463" y="130"/>
                  </a:lnTo>
                  <a:lnTo>
                    <a:pt x="2387" y="108"/>
                  </a:lnTo>
                  <a:lnTo>
                    <a:pt x="2311" y="86"/>
                  </a:lnTo>
                  <a:lnTo>
                    <a:pt x="2225" y="65"/>
                  </a:lnTo>
                  <a:lnTo>
                    <a:pt x="2139" y="48"/>
                  </a:lnTo>
                  <a:lnTo>
                    <a:pt x="1955" y="22"/>
                  </a:lnTo>
                  <a:lnTo>
                    <a:pt x="1750" y="6"/>
                  </a:lnTo>
                  <a:lnTo>
                    <a:pt x="1528" y="0"/>
                  </a:lnTo>
                  <a:lnTo>
                    <a:pt x="1528" y="0"/>
                  </a:lnTo>
                  <a:lnTo>
                    <a:pt x="1409" y="0"/>
                  </a:lnTo>
                  <a:lnTo>
                    <a:pt x="1296" y="6"/>
                  </a:lnTo>
                  <a:lnTo>
                    <a:pt x="1193" y="16"/>
                  </a:lnTo>
                  <a:lnTo>
                    <a:pt x="1097" y="27"/>
                  </a:lnTo>
                  <a:lnTo>
                    <a:pt x="1005" y="43"/>
                  </a:lnTo>
                  <a:lnTo>
                    <a:pt x="918" y="59"/>
                  </a:lnTo>
                  <a:lnTo>
                    <a:pt x="837" y="81"/>
                  </a:lnTo>
                  <a:lnTo>
                    <a:pt x="767" y="103"/>
                  </a:lnTo>
                  <a:lnTo>
                    <a:pt x="697" y="130"/>
                  </a:lnTo>
                  <a:lnTo>
                    <a:pt x="637" y="157"/>
                  </a:lnTo>
                  <a:lnTo>
                    <a:pt x="583" y="184"/>
                  </a:lnTo>
                  <a:lnTo>
                    <a:pt x="529" y="211"/>
                  </a:lnTo>
                  <a:lnTo>
                    <a:pt x="486" y="243"/>
                  </a:lnTo>
                  <a:lnTo>
                    <a:pt x="443" y="276"/>
                  </a:lnTo>
                  <a:lnTo>
                    <a:pt x="405" y="308"/>
                  </a:lnTo>
                  <a:lnTo>
                    <a:pt x="373" y="346"/>
                  </a:lnTo>
                  <a:lnTo>
                    <a:pt x="318" y="411"/>
                  </a:lnTo>
                  <a:lnTo>
                    <a:pt x="275" y="481"/>
                  </a:lnTo>
                  <a:lnTo>
                    <a:pt x="243" y="551"/>
                  </a:lnTo>
                  <a:lnTo>
                    <a:pt x="222" y="616"/>
                  </a:lnTo>
                  <a:lnTo>
                    <a:pt x="211" y="675"/>
                  </a:lnTo>
                  <a:lnTo>
                    <a:pt x="200" y="729"/>
                  </a:lnTo>
                  <a:lnTo>
                    <a:pt x="195" y="811"/>
                  </a:lnTo>
                  <a:lnTo>
                    <a:pt x="195" y="811"/>
                  </a:lnTo>
                  <a:lnTo>
                    <a:pt x="200" y="876"/>
                  </a:lnTo>
                  <a:lnTo>
                    <a:pt x="211" y="946"/>
                  </a:lnTo>
                  <a:lnTo>
                    <a:pt x="222" y="977"/>
                  </a:lnTo>
                  <a:lnTo>
                    <a:pt x="238" y="1009"/>
                  </a:lnTo>
                  <a:lnTo>
                    <a:pt x="254" y="1037"/>
                  </a:lnTo>
                  <a:lnTo>
                    <a:pt x="275" y="1064"/>
                  </a:lnTo>
                  <a:lnTo>
                    <a:pt x="302" y="1091"/>
                  </a:lnTo>
                  <a:lnTo>
                    <a:pt x="335" y="1112"/>
                  </a:lnTo>
                  <a:lnTo>
                    <a:pt x="367" y="1134"/>
                  </a:lnTo>
                  <a:lnTo>
                    <a:pt x="405" y="1150"/>
                  </a:lnTo>
                  <a:lnTo>
                    <a:pt x="448" y="1166"/>
                  </a:lnTo>
                  <a:lnTo>
                    <a:pt x="502" y="1177"/>
                  </a:lnTo>
                  <a:lnTo>
                    <a:pt x="557" y="1183"/>
                  </a:lnTo>
                  <a:lnTo>
                    <a:pt x="616" y="1183"/>
                  </a:lnTo>
                  <a:lnTo>
                    <a:pt x="616" y="1183"/>
                  </a:lnTo>
                  <a:lnTo>
                    <a:pt x="664" y="1183"/>
                  </a:lnTo>
                  <a:lnTo>
                    <a:pt x="713" y="1172"/>
                  </a:lnTo>
                  <a:lnTo>
                    <a:pt x="756" y="1156"/>
                  </a:lnTo>
                  <a:lnTo>
                    <a:pt x="799" y="1134"/>
                  </a:lnTo>
                  <a:lnTo>
                    <a:pt x="831" y="1107"/>
                  </a:lnTo>
                  <a:lnTo>
                    <a:pt x="864" y="1074"/>
                  </a:lnTo>
                  <a:lnTo>
                    <a:pt x="891" y="1042"/>
                  </a:lnTo>
                  <a:lnTo>
                    <a:pt x="913" y="1009"/>
                  </a:lnTo>
                  <a:lnTo>
                    <a:pt x="956" y="935"/>
                  </a:lnTo>
                  <a:lnTo>
                    <a:pt x="983" y="859"/>
                  </a:lnTo>
                  <a:lnTo>
                    <a:pt x="1026" y="740"/>
                  </a:lnTo>
                  <a:lnTo>
                    <a:pt x="1026" y="740"/>
                  </a:lnTo>
                  <a:lnTo>
                    <a:pt x="1042" y="675"/>
                  </a:lnTo>
                  <a:lnTo>
                    <a:pt x="1059" y="600"/>
                  </a:lnTo>
                  <a:lnTo>
                    <a:pt x="1091" y="513"/>
                  </a:lnTo>
                  <a:lnTo>
                    <a:pt x="1107" y="470"/>
                  </a:lnTo>
                  <a:lnTo>
                    <a:pt x="1134" y="427"/>
                  </a:lnTo>
                  <a:lnTo>
                    <a:pt x="1166" y="384"/>
                  </a:lnTo>
                  <a:lnTo>
                    <a:pt x="1204" y="341"/>
                  </a:lnTo>
                  <a:lnTo>
                    <a:pt x="1248" y="308"/>
                  </a:lnTo>
                  <a:lnTo>
                    <a:pt x="1302" y="276"/>
                  </a:lnTo>
                  <a:lnTo>
                    <a:pt x="1361" y="249"/>
                  </a:lnTo>
                  <a:lnTo>
                    <a:pt x="1436" y="232"/>
                  </a:lnTo>
                  <a:lnTo>
                    <a:pt x="1518" y="216"/>
                  </a:lnTo>
                  <a:lnTo>
                    <a:pt x="1610" y="216"/>
                  </a:lnTo>
                  <a:lnTo>
                    <a:pt x="1610" y="216"/>
                  </a:lnTo>
                  <a:lnTo>
                    <a:pt x="1696" y="222"/>
                  </a:lnTo>
                  <a:lnTo>
                    <a:pt x="1771" y="232"/>
                  </a:lnTo>
                  <a:lnTo>
                    <a:pt x="1847" y="254"/>
                  </a:lnTo>
                  <a:lnTo>
                    <a:pt x="1917" y="287"/>
                  </a:lnTo>
                  <a:lnTo>
                    <a:pt x="1982" y="324"/>
                  </a:lnTo>
                  <a:lnTo>
                    <a:pt x="2041" y="373"/>
                  </a:lnTo>
                  <a:lnTo>
                    <a:pt x="2096" y="427"/>
                  </a:lnTo>
                  <a:lnTo>
                    <a:pt x="2150" y="486"/>
                  </a:lnTo>
                  <a:lnTo>
                    <a:pt x="2193" y="551"/>
                  </a:lnTo>
                  <a:lnTo>
                    <a:pt x="2231" y="627"/>
                  </a:lnTo>
                  <a:lnTo>
                    <a:pt x="2269" y="702"/>
                  </a:lnTo>
                  <a:lnTo>
                    <a:pt x="2295" y="789"/>
                  </a:lnTo>
                  <a:lnTo>
                    <a:pt x="2317" y="881"/>
                  </a:lnTo>
                  <a:lnTo>
                    <a:pt x="2333" y="972"/>
                  </a:lnTo>
                  <a:lnTo>
                    <a:pt x="2344" y="1074"/>
                  </a:lnTo>
                  <a:lnTo>
                    <a:pt x="2349" y="1177"/>
                  </a:lnTo>
                  <a:lnTo>
                    <a:pt x="2349" y="1177"/>
                  </a:lnTo>
                  <a:lnTo>
                    <a:pt x="2349" y="1296"/>
                  </a:lnTo>
                  <a:lnTo>
                    <a:pt x="2344" y="1393"/>
                  </a:lnTo>
                  <a:close/>
                  <a:moveTo>
                    <a:pt x="2355" y="2085"/>
                  </a:moveTo>
                  <a:lnTo>
                    <a:pt x="2355" y="2912"/>
                  </a:lnTo>
                  <a:lnTo>
                    <a:pt x="2355" y="2912"/>
                  </a:lnTo>
                  <a:lnTo>
                    <a:pt x="2355" y="2912"/>
                  </a:lnTo>
                  <a:lnTo>
                    <a:pt x="2355" y="3020"/>
                  </a:lnTo>
                  <a:lnTo>
                    <a:pt x="2344" y="3128"/>
                  </a:lnTo>
                  <a:lnTo>
                    <a:pt x="2328" y="3231"/>
                  </a:lnTo>
                  <a:lnTo>
                    <a:pt x="2301" y="3334"/>
                  </a:lnTo>
                  <a:lnTo>
                    <a:pt x="2269" y="3425"/>
                  </a:lnTo>
                  <a:lnTo>
                    <a:pt x="2236" y="3517"/>
                  </a:lnTo>
                  <a:lnTo>
                    <a:pt x="2193" y="3599"/>
                  </a:lnTo>
                  <a:lnTo>
                    <a:pt x="2144" y="3680"/>
                  </a:lnTo>
                  <a:lnTo>
                    <a:pt x="2090" y="3750"/>
                  </a:lnTo>
                  <a:lnTo>
                    <a:pt x="2031" y="3809"/>
                  </a:lnTo>
                  <a:lnTo>
                    <a:pt x="1972" y="3863"/>
                  </a:lnTo>
                  <a:lnTo>
                    <a:pt x="1901" y="3907"/>
                  </a:lnTo>
                  <a:lnTo>
                    <a:pt x="1831" y="3944"/>
                  </a:lnTo>
                  <a:lnTo>
                    <a:pt x="1755" y="3972"/>
                  </a:lnTo>
                  <a:lnTo>
                    <a:pt x="1675" y="3988"/>
                  </a:lnTo>
                  <a:lnTo>
                    <a:pt x="1588" y="3993"/>
                  </a:lnTo>
                  <a:lnTo>
                    <a:pt x="1588" y="3993"/>
                  </a:lnTo>
                  <a:lnTo>
                    <a:pt x="1491" y="3988"/>
                  </a:lnTo>
                  <a:lnTo>
                    <a:pt x="1399" y="3972"/>
                  </a:lnTo>
                  <a:lnTo>
                    <a:pt x="1318" y="3950"/>
                  </a:lnTo>
                  <a:lnTo>
                    <a:pt x="1248" y="3917"/>
                  </a:lnTo>
                  <a:lnTo>
                    <a:pt x="1183" y="3880"/>
                  </a:lnTo>
                  <a:lnTo>
                    <a:pt x="1129" y="3836"/>
                  </a:lnTo>
                  <a:lnTo>
                    <a:pt x="1080" y="3787"/>
                  </a:lnTo>
                  <a:lnTo>
                    <a:pt x="1037" y="3733"/>
                  </a:lnTo>
                  <a:lnTo>
                    <a:pt x="1005" y="3680"/>
                  </a:lnTo>
                  <a:lnTo>
                    <a:pt x="972" y="3626"/>
                  </a:lnTo>
                  <a:lnTo>
                    <a:pt x="950" y="3571"/>
                  </a:lnTo>
                  <a:lnTo>
                    <a:pt x="929" y="3512"/>
                  </a:lnTo>
                  <a:lnTo>
                    <a:pt x="913" y="3458"/>
                  </a:lnTo>
                  <a:lnTo>
                    <a:pt x="907" y="3410"/>
                  </a:lnTo>
                  <a:lnTo>
                    <a:pt x="896" y="3318"/>
                  </a:lnTo>
                  <a:lnTo>
                    <a:pt x="896" y="3318"/>
                  </a:lnTo>
                  <a:lnTo>
                    <a:pt x="896" y="3274"/>
                  </a:lnTo>
                  <a:lnTo>
                    <a:pt x="902" y="3225"/>
                  </a:lnTo>
                  <a:lnTo>
                    <a:pt x="907" y="3171"/>
                  </a:lnTo>
                  <a:lnTo>
                    <a:pt x="918" y="3117"/>
                  </a:lnTo>
                  <a:lnTo>
                    <a:pt x="940" y="3058"/>
                  </a:lnTo>
                  <a:lnTo>
                    <a:pt x="961" y="2993"/>
                  </a:lnTo>
                  <a:lnTo>
                    <a:pt x="988" y="2928"/>
                  </a:lnTo>
                  <a:lnTo>
                    <a:pt x="1021" y="2863"/>
                  </a:lnTo>
                  <a:lnTo>
                    <a:pt x="1059" y="2793"/>
                  </a:lnTo>
                  <a:lnTo>
                    <a:pt x="1107" y="2728"/>
                  </a:lnTo>
                  <a:lnTo>
                    <a:pt x="1161" y="2658"/>
                  </a:lnTo>
                  <a:lnTo>
                    <a:pt x="1221" y="2588"/>
                  </a:lnTo>
                  <a:lnTo>
                    <a:pt x="1291" y="2523"/>
                  </a:lnTo>
                  <a:lnTo>
                    <a:pt x="1367" y="2458"/>
                  </a:lnTo>
                  <a:lnTo>
                    <a:pt x="1458" y="2393"/>
                  </a:lnTo>
                  <a:lnTo>
                    <a:pt x="1555" y="2334"/>
                  </a:lnTo>
                  <a:lnTo>
                    <a:pt x="1555" y="2334"/>
                  </a:lnTo>
                  <a:lnTo>
                    <a:pt x="1599" y="2307"/>
                  </a:lnTo>
                  <a:lnTo>
                    <a:pt x="1739" y="2231"/>
                  </a:lnTo>
                  <a:lnTo>
                    <a:pt x="1842" y="2177"/>
                  </a:lnTo>
                  <a:lnTo>
                    <a:pt x="1972" y="2118"/>
                  </a:lnTo>
                  <a:lnTo>
                    <a:pt x="2117" y="2053"/>
                  </a:lnTo>
                  <a:lnTo>
                    <a:pt x="2290" y="1988"/>
                  </a:lnTo>
                  <a:lnTo>
                    <a:pt x="2290" y="1988"/>
                  </a:lnTo>
                  <a:lnTo>
                    <a:pt x="2317" y="1982"/>
                  </a:lnTo>
                  <a:lnTo>
                    <a:pt x="2328" y="1982"/>
                  </a:lnTo>
                  <a:lnTo>
                    <a:pt x="2333" y="1993"/>
                  </a:lnTo>
                  <a:lnTo>
                    <a:pt x="2333" y="1993"/>
                  </a:lnTo>
                  <a:lnTo>
                    <a:pt x="2333" y="1993"/>
                  </a:lnTo>
                  <a:lnTo>
                    <a:pt x="2344" y="2004"/>
                  </a:lnTo>
                  <a:lnTo>
                    <a:pt x="2349" y="2026"/>
                  </a:lnTo>
                  <a:lnTo>
                    <a:pt x="2349" y="2026"/>
                  </a:lnTo>
                  <a:lnTo>
                    <a:pt x="2349" y="2026"/>
                  </a:lnTo>
                  <a:lnTo>
                    <a:pt x="2349" y="2026"/>
                  </a:lnTo>
                  <a:lnTo>
                    <a:pt x="2349" y="2026"/>
                  </a:lnTo>
                  <a:lnTo>
                    <a:pt x="2349" y="2026"/>
                  </a:lnTo>
                  <a:lnTo>
                    <a:pt x="2349" y="2031"/>
                  </a:lnTo>
                  <a:lnTo>
                    <a:pt x="2349" y="2031"/>
                  </a:lnTo>
                  <a:lnTo>
                    <a:pt x="2349" y="2058"/>
                  </a:lnTo>
                  <a:lnTo>
                    <a:pt x="2349" y="2058"/>
                  </a:lnTo>
                  <a:lnTo>
                    <a:pt x="2349" y="2058"/>
                  </a:lnTo>
                  <a:lnTo>
                    <a:pt x="2349" y="2058"/>
                  </a:lnTo>
                  <a:lnTo>
                    <a:pt x="2349" y="2064"/>
                  </a:lnTo>
                  <a:lnTo>
                    <a:pt x="2349" y="2064"/>
                  </a:lnTo>
                  <a:lnTo>
                    <a:pt x="2349" y="2080"/>
                  </a:lnTo>
                  <a:lnTo>
                    <a:pt x="2349" y="2080"/>
                  </a:lnTo>
                  <a:lnTo>
                    <a:pt x="2355" y="2085"/>
                  </a:lnTo>
                  <a:lnTo>
                    <a:pt x="2355" y="2085"/>
                  </a:lnTo>
                  <a:lnTo>
                    <a:pt x="2355" y="2080"/>
                  </a:lnTo>
                  <a:lnTo>
                    <a:pt x="2355" y="2080"/>
                  </a:lnTo>
                  <a:lnTo>
                    <a:pt x="2355" y="20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7" name="Freeform 14">
              <a:extLst>
                <a:ext uri="{FF2B5EF4-FFF2-40B4-BE49-F238E27FC236}">
                  <a16:creationId xmlns:a16="http://schemas.microsoft.com/office/drawing/2014/main" id="{BE627B78-5936-DE4F-9540-86F9B4E8AF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9175" y="3448050"/>
              <a:ext cx="1771650" cy="1484313"/>
            </a:xfrm>
            <a:custGeom>
              <a:avLst/>
              <a:gdLst>
                <a:gd name="T0" fmla="*/ 3435 w 4920"/>
                <a:gd name="T1" fmla="*/ 3366 h 4123"/>
                <a:gd name="T2" fmla="*/ 3327 w 4920"/>
                <a:gd name="T3" fmla="*/ 3738 h 4123"/>
                <a:gd name="T4" fmla="*/ 3148 w 4920"/>
                <a:gd name="T5" fmla="*/ 3928 h 4123"/>
                <a:gd name="T6" fmla="*/ 2960 w 4920"/>
                <a:gd name="T7" fmla="*/ 3993 h 4123"/>
                <a:gd name="T8" fmla="*/ 2874 w 4920"/>
                <a:gd name="T9" fmla="*/ 4063 h 4123"/>
                <a:gd name="T10" fmla="*/ 2960 w 4920"/>
                <a:gd name="T11" fmla="*/ 4122 h 4123"/>
                <a:gd name="T12" fmla="*/ 4870 w 4920"/>
                <a:gd name="T13" fmla="*/ 4106 h 4123"/>
                <a:gd name="T14" fmla="*/ 4919 w 4920"/>
                <a:gd name="T15" fmla="*/ 4041 h 4123"/>
                <a:gd name="T16" fmla="*/ 4757 w 4920"/>
                <a:gd name="T17" fmla="*/ 3966 h 4123"/>
                <a:gd name="T18" fmla="*/ 4623 w 4920"/>
                <a:gd name="T19" fmla="*/ 3901 h 4123"/>
                <a:gd name="T20" fmla="*/ 4455 w 4920"/>
                <a:gd name="T21" fmla="*/ 3674 h 4123"/>
                <a:gd name="T22" fmla="*/ 4341 w 4920"/>
                <a:gd name="T23" fmla="*/ 3182 h 4123"/>
                <a:gd name="T24" fmla="*/ 4325 w 4920"/>
                <a:gd name="T25" fmla="*/ 1323 h 4123"/>
                <a:gd name="T26" fmla="*/ 4288 w 4920"/>
                <a:gd name="T27" fmla="*/ 848 h 4123"/>
                <a:gd name="T28" fmla="*/ 4159 w 4920"/>
                <a:gd name="T29" fmla="*/ 518 h 4123"/>
                <a:gd name="T30" fmla="*/ 3937 w 4920"/>
                <a:gd name="T31" fmla="*/ 270 h 4123"/>
                <a:gd name="T32" fmla="*/ 3570 w 4920"/>
                <a:gd name="T33" fmla="*/ 86 h 4123"/>
                <a:gd name="T34" fmla="*/ 3025 w 4920"/>
                <a:gd name="T35" fmla="*/ 0 h 4123"/>
                <a:gd name="T36" fmla="*/ 2495 w 4920"/>
                <a:gd name="T37" fmla="*/ 32 h 4123"/>
                <a:gd name="T38" fmla="*/ 2003 w 4920"/>
                <a:gd name="T39" fmla="*/ 194 h 4123"/>
                <a:gd name="T40" fmla="*/ 1647 w 4920"/>
                <a:gd name="T41" fmla="*/ 416 h 4123"/>
                <a:gd name="T42" fmla="*/ 1555 w 4920"/>
                <a:gd name="T43" fmla="*/ 459 h 4123"/>
                <a:gd name="T44" fmla="*/ 1436 w 4920"/>
                <a:gd name="T45" fmla="*/ 124 h 4123"/>
                <a:gd name="T46" fmla="*/ 1361 w 4920"/>
                <a:gd name="T47" fmla="*/ 27 h 4123"/>
                <a:gd name="T48" fmla="*/ 664 w 4920"/>
                <a:gd name="T49" fmla="*/ 108 h 4123"/>
                <a:gd name="T50" fmla="*/ 16 w 4920"/>
                <a:gd name="T51" fmla="*/ 243 h 4123"/>
                <a:gd name="T52" fmla="*/ 54 w 4920"/>
                <a:gd name="T53" fmla="*/ 319 h 4123"/>
                <a:gd name="T54" fmla="*/ 270 w 4920"/>
                <a:gd name="T55" fmla="*/ 372 h 4123"/>
                <a:gd name="T56" fmla="*/ 508 w 4920"/>
                <a:gd name="T57" fmla="*/ 562 h 4123"/>
                <a:gd name="T58" fmla="*/ 653 w 4920"/>
                <a:gd name="T59" fmla="*/ 1042 h 4123"/>
                <a:gd name="T60" fmla="*/ 653 w 4920"/>
                <a:gd name="T61" fmla="*/ 3036 h 4123"/>
                <a:gd name="T62" fmla="*/ 583 w 4920"/>
                <a:gd name="T63" fmla="*/ 3631 h 4123"/>
                <a:gd name="T64" fmla="*/ 443 w 4920"/>
                <a:gd name="T65" fmla="*/ 3890 h 4123"/>
                <a:gd name="T66" fmla="*/ 276 w 4920"/>
                <a:gd name="T67" fmla="*/ 3977 h 4123"/>
                <a:gd name="T68" fmla="*/ 140 w 4920"/>
                <a:gd name="T69" fmla="*/ 4052 h 4123"/>
                <a:gd name="T70" fmla="*/ 184 w 4920"/>
                <a:gd name="T71" fmla="*/ 4106 h 4123"/>
                <a:gd name="T72" fmla="*/ 2047 w 4920"/>
                <a:gd name="T73" fmla="*/ 4122 h 4123"/>
                <a:gd name="T74" fmla="*/ 2150 w 4920"/>
                <a:gd name="T75" fmla="*/ 4057 h 4123"/>
                <a:gd name="T76" fmla="*/ 2058 w 4920"/>
                <a:gd name="T77" fmla="*/ 3987 h 4123"/>
                <a:gd name="T78" fmla="*/ 1852 w 4920"/>
                <a:gd name="T79" fmla="*/ 3933 h 4123"/>
                <a:gd name="T80" fmla="*/ 1669 w 4920"/>
                <a:gd name="T81" fmla="*/ 3771 h 4123"/>
                <a:gd name="T82" fmla="*/ 1550 w 4920"/>
                <a:gd name="T83" fmla="*/ 3398 h 4123"/>
                <a:gd name="T84" fmla="*/ 1528 w 4920"/>
                <a:gd name="T85" fmla="*/ 1960 h 4123"/>
                <a:gd name="T86" fmla="*/ 1539 w 4920"/>
                <a:gd name="T87" fmla="*/ 1393 h 4123"/>
                <a:gd name="T88" fmla="*/ 1647 w 4920"/>
                <a:gd name="T89" fmla="*/ 902 h 4123"/>
                <a:gd name="T90" fmla="*/ 1825 w 4920"/>
                <a:gd name="T91" fmla="*/ 589 h 4123"/>
                <a:gd name="T92" fmla="*/ 2122 w 4920"/>
                <a:gd name="T93" fmla="*/ 367 h 4123"/>
                <a:gd name="T94" fmla="*/ 2571 w 4920"/>
                <a:gd name="T95" fmla="*/ 275 h 4123"/>
                <a:gd name="T96" fmla="*/ 2841 w 4920"/>
                <a:gd name="T97" fmla="*/ 297 h 4123"/>
                <a:gd name="T98" fmla="*/ 3089 w 4920"/>
                <a:gd name="T99" fmla="*/ 399 h 4123"/>
                <a:gd name="T100" fmla="*/ 3262 w 4920"/>
                <a:gd name="T101" fmla="*/ 562 h 4123"/>
                <a:gd name="T102" fmla="*/ 3424 w 4920"/>
                <a:gd name="T103" fmla="*/ 998 h 4123"/>
                <a:gd name="T104" fmla="*/ 3451 w 4920"/>
                <a:gd name="T105" fmla="*/ 3031 h 4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920" h="4123">
                  <a:moveTo>
                    <a:pt x="3451" y="3031"/>
                  </a:moveTo>
                  <a:lnTo>
                    <a:pt x="3451" y="3031"/>
                  </a:lnTo>
                  <a:lnTo>
                    <a:pt x="3451" y="3155"/>
                  </a:lnTo>
                  <a:lnTo>
                    <a:pt x="3446" y="3263"/>
                  </a:lnTo>
                  <a:lnTo>
                    <a:pt x="3435" y="3366"/>
                  </a:lnTo>
                  <a:lnTo>
                    <a:pt x="3419" y="3457"/>
                  </a:lnTo>
                  <a:lnTo>
                    <a:pt x="3403" y="3544"/>
                  </a:lnTo>
                  <a:lnTo>
                    <a:pt x="3381" y="3614"/>
                  </a:lnTo>
                  <a:lnTo>
                    <a:pt x="3354" y="3685"/>
                  </a:lnTo>
                  <a:lnTo>
                    <a:pt x="3327" y="3738"/>
                  </a:lnTo>
                  <a:lnTo>
                    <a:pt x="3295" y="3792"/>
                  </a:lnTo>
                  <a:lnTo>
                    <a:pt x="3262" y="3836"/>
                  </a:lnTo>
                  <a:lnTo>
                    <a:pt x="3230" y="3874"/>
                  </a:lnTo>
                  <a:lnTo>
                    <a:pt x="3192" y="3906"/>
                  </a:lnTo>
                  <a:lnTo>
                    <a:pt x="3148" y="3928"/>
                  </a:lnTo>
                  <a:lnTo>
                    <a:pt x="3111" y="3949"/>
                  </a:lnTo>
                  <a:lnTo>
                    <a:pt x="3068" y="3966"/>
                  </a:lnTo>
                  <a:lnTo>
                    <a:pt x="3025" y="3977"/>
                  </a:lnTo>
                  <a:lnTo>
                    <a:pt x="3025" y="3977"/>
                  </a:lnTo>
                  <a:lnTo>
                    <a:pt x="2960" y="3993"/>
                  </a:lnTo>
                  <a:lnTo>
                    <a:pt x="2911" y="4014"/>
                  </a:lnTo>
                  <a:lnTo>
                    <a:pt x="2895" y="4025"/>
                  </a:lnTo>
                  <a:lnTo>
                    <a:pt x="2884" y="4041"/>
                  </a:lnTo>
                  <a:lnTo>
                    <a:pt x="2878" y="4052"/>
                  </a:lnTo>
                  <a:lnTo>
                    <a:pt x="2874" y="4063"/>
                  </a:lnTo>
                  <a:lnTo>
                    <a:pt x="2874" y="4073"/>
                  </a:lnTo>
                  <a:lnTo>
                    <a:pt x="2878" y="4084"/>
                  </a:lnTo>
                  <a:lnTo>
                    <a:pt x="2895" y="4101"/>
                  </a:lnTo>
                  <a:lnTo>
                    <a:pt x="2922" y="4117"/>
                  </a:lnTo>
                  <a:lnTo>
                    <a:pt x="2960" y="4122"/>
                  </a:lnTo>
                  <a:lnTo>
                    <a:pt x="2960" y="4122"/>
                  </a:lnTo>
                  <a:lnTo>
                    <a:pt x="4774" y="4122"/>
                  </a:lnTo>
                  <a:lnTo>
                    <a:pt x="4774" y="4122"/>
                  </a:lnTo>
                  <a:lnTo>
                    <a:pt x="4828" y="4117"/>
                  </a:lnTo>
                  <a:lnTo>
                    <a:pt x="4870" y="4106"/>
                  </a:lnTo>
                  <a:lnTo>
                    <a:pt x="4903" y="4090"/>
                  </a:lnTo>
                  <a:lnTo>
                    <a:pt x="4914" y="4079"/>
                  </a:lnTo>
                  <a:lnTo>
                    <a:pt x="4919" y="4068"/>
                  </a:lnTo>
                  <a:lnTo>
                    <a:pt x="4919" y="4052"/>
                  </a:lnTo>
                  <a:lnTo>
                    <a:pt x="4919" y="4041"/>
                  </a:lnTo>
                  <a:lnTo>
                    <a:pt x="4908" y="4030"/>
                  </a:lnTo>
                  <a:lnTo>
                    <a:pt x="4893" y="4014"/>
                  </a:lnTo>
                  <a:lnTo>
                    <a:pt x="4870" y="4004"/>
                  </a:lnTo>
                  <a:lnTo>
                    <a:pt x="4844" y="3987"/>
                  </a:lnTo>
                  <a:lnTo>
                    <a:pt x="4757" y="3966"/>
                  </a:lnTo>
                  <a:lnTo>
                    <a:pt x="4757" y="3966"/>
                  </a:lnTo>
                  <a:lnTo>
                    <a:pt x="4730" y="3955"/>
                  </a:lnTo>
                  <a:lnTo>
                    <a:pt x="4692" y="3944"/>
                  </a:lnTo>
                  <a:lnTo>
                    <a:pt x="4660" y="3928"/>
                  </a:lnTo>
                  <a:lnTo>
                    <a:pt x="4623" y="3901"/>
                  </a:lnTo>
                  <a:lnTo>
                    <a:pt x="4590" y="3874"/>
                  </a:lnTo>
                  <a:lnTo>
                    <a:pt x="4552" y="3836"/>
                  </a:lnTo>
                  <a:lnTo>
                    <a:pt x="4520" y="3792"/>
                  </a:lnTo>
                  <a:lnTo>
                    <a:pt x="4487" y="3738"/>
                  </a:lnTo>
                  <a:lnTo>
                    <a:pt x="4455" y="3674"/>
                  </a:lnTo>
                  <a:lnTo>
                    <a:pt x="4422" y="3598"/>
                  </a:lnTo>
                  <a:lnTo>
                    <a:pt x="4395" y="3511"/>
                  </a:lnTo>
                  <a:lnTo>
                    <a:pt x="4374" y="3415"/>
                  </a:lnTo>
                  <a:lnTo>
                    <a:pt x="4357" y="3306"/>
                  </a:lnTo>
                  <a:lnTo>
                    <a:pt x="4341" y="3182"/>
                  </a:lnTo>
                  <a:lnTo>
                    <a:pt x="4336" y="3047"/>
                  </a:lnTo>
                  <a:lnTo>
                    <a:pt x="4330" y="2895"/>
                  </a:lnTo>
                  <a:lnTo>
                    <a:pt x="4330" y="2895"/>
                  </a:lnTo>
                  <a:lnTo>
                    <a:pt x="4325" y="1323"/>
                  </a:lnTo>
                  <a:lnTo>
                    <a:pt x="4325" y="1323"/>
                  </a:lnTo>
                  <a:lnTo>
                    <a:pt x="4325" y="1323"/>
                  </a:lnTo>
                  <a:lnTo>
                    <a:pt x="4325" y="1155"/>
                  </a:lnTo>
                  <a:lnTo>
                    <a:pt x="4320" y="1058"/>
                  </a:lnTo>
                  <a:lnTo>
                    <a:pt x="4309" y="956"/>
                  </a:lnTo>
                  <a:lnTo>
                    <a:pt x="4288" y="848"/>
                  </a:lnTo>
                  <a:lnTo>
                    <a:pt x="4261" y="740"/>
                  </a:lnTo>
                  <a:lnTo>
                    <a:pt x="4239" y="680"/>
                  </a:lnTo>
                  <a:lnTo>
                    <a:pt x="4217" y="627"/>
                  </a:lnTo>
                  <a:lnTo>
                    <a:pt x="4190" y="573"/>
                  </a:lnTo>
                  <a:lnTo>
                    <a:pt x="4159" y="518"/>
                  </a:lnTo>
                  <a:lnTo>
                    <a:pt x="4126" y="464"/>
                  </a:lnTo>
                  <a:lnTo>
                    <a:pt x="4088" y="416"/>
                  </a:lnTo>
                  <a:lnTo>
                    <a:pt x="4040" y="367"/>
                  </a:lnTo>
                  <a:lnTo>
                    <a:pt x="3992" y="319"/>
                  </a:lnTo>
                  <a:lnTo>
                    <a:pt x="3937" y="270"/>
                  </a:lnTo>
                  <a:lnTo>
                    <a:pt x="3878" y="227"/>
                  </a:lnTo>
                  <a:lnTo>
                    <a:pt x="3808" y="189"/>
                  </a:lnTo>
                  <a:lnTo>
                    <a:pt x="3738" y="151"/>
                  </a:lnTo>
                  <a:lnTo>
                    <a:pt x="3657" y="118"/>
                  </a:lnTo>
                  <a:lnTo>
                    <a:pt x="3570" y="86"/>
                  </a:lnTo>
                  <a:lnTo>
                    <a:pt x="3479" y="59"/>
                  </a:lnTo>
                  <a:lnTo>
                    <a:pt x="3376" y="38"/>
                  </a:lnTo>
                  <a:lnTo>
                    <a:pt x="3268" y="21"/>
                  </a:lnTo>
                  <a:lnTo>
                    <a:pt x="3148" y="11"/>
                  </a:lnTo>
                  <a:lnTo>
                    <a:pt x="3025" y="0"/>
                  </a:lnTo>
                  <a:lnTo>
                    <a:pt x="2889" y="0"/>
                  </a:lnTo>
                  <a:lnTo>
                    <a:pt x="2889" y="0"/>
                  </a:lnTo>
                  <a:lnTo>
                    <a:pt x="2749" y="0"/>
                  </a:lnTo>
                  <a:lnTo>
                    <a:pt x="2619" y="16"/>
                  </a:lnTo>
                  <a:lnTo>
                    <a:pt x="2495" y="32"/>
                  </a:lnTo>
                  <a:lnTo>
                    <a:pt x="2382" y="59"/>
                  </a:lnTo>
                  <a:lnTo>
                    <a:pt x="2273" y="86"/>
                  </a:lnTo>
                  <a:lnTo>
                    <a:pt x="2177" y="118"/>
                  </a:lnTo>
                  <a:lnTo>
                    <a:pt x="2085" y="156"/>
                  </a:lnTo>
                  <a:lnTo>
                    <a:pt x="2003" y="194"/>
                  </a:lnTo>
                  <a:lnTo>
                    <a:pt x="1928" y="232"/>
                  </a:lnTo>
                  <a:lnTo>
                    <a:pt x="1863" y="270"/>
                  </a:lnTo>
                  <a:lnTo>
                    <a:pt x="1755" y="335"/>
                  </a:lnTo>
                  <a:lnTo>
                    <a:pt x="1685" y="389"/>
                  </a:lnTo>
                  <a:lnTo>
                    <a:pt x="1647" y="416"/>
                  </a:lnTo>
                  <a:lnTo>
                    <a:pt x="1647" y="416"/>
                  </a:lnTo>
                  <a:lnTo>
                    <a:pt x="1604" y="448"/>
                  </a:lnTo>
                  <a:lnTo>
                    <a:pt x="1588" y="459"/>
                  </a:lnTo>
                  <a:lnTo>
                    <a:pt x="1572" y="459"/>
                  </a:lnTo>
                  <a:lnTo>
                    <a:pt x="1555" y="459"/>
                  </a:lnTo>
                  <a:lnTo>
                    <a:pt x="1545" y="448"/>
                  </a:lnTo>
                  <a:lnTo>
                    <a:pt x="1534" y="426"/>
                  </a:lnTo>
                  <a:lnTo>
                    <a:pt x="1523" y="394"/>
                  </a:lnTo>
                  <a:lnTo>
                    <a:pt x="1523" y="394"/>
                  </a:lnTo>
                  <a:lnTo>
                    <a:pt x="1436" y="124"/>
                  </a:lnTo>
                  <a:lnTo>
                    <a:pt x="1436" y="124"/>
                  </a:lnTo>
                  <a:lnTo>
                    <a:pt x="1415" y="76"/>
                  </a:lnTo>
                  <a:lnTo>
                    <a:pt x="1399" y="53"/>
                  </a:lnTo>
                  <a:lnTo>
                    <a:pt x="1383" y="38"/>
                  </a:lnTo>
                  <a:lnTo>
                    <a:pt x="1361" y="27"/>
                  </a:lnTo>
                  <a:lnTo>
                    <a:pt x="1329" y="16"/>
                  </a:lnTo>
                  <a:lnTo>
                    <a:pt x="1291" y="16"/>
                  </a:lnTo>
                  <a:lnTo>
                    <a:pt x="1242" y="21"/>
                  </a:lnTo>
                  <a:lnTo>
                    <a:pt x="1242" y="21"/>
                  </a:lnTo>
                  <a:lnTo>
                    <a:pt x="664" y="108"/>
                  </a:lnTo>
                  <a:lnTo>
                    <a:pt x="313" y="172"/>
                  </a:lnTo>
                  <a:lnTo>
                    <a:pt x="92" y="210"/>
                  </a:lnTo>
                  <a:lnTo>
                    <a:pt x="92" y="210"/>
                  </a:lnTo>
                  <a:lnTo>
                    <a:pt x="48" y="227"/>
                  </a:lnTo>
                  <a:lnTo>
                    <a:pt x="16" y="243"/>
                  </a:lnTo>
                  <a:lnTo>
                    <a:pt x="0" y="259"/>
                  </a:lnTo>
                  <a:lnTo>
                    <a:pt x="0" y="275"/>
                  </a:lnTo>
                  <a:lnTo>
                    <a:pt x="10" y="292"/>
                  </a:lnTo>
                  <a:lnTo>
                    <a:pt x="27" y="308"/>
                  </a:lnTo>
                  <a:lnTo>
                    <a:pt x="54" y="319"/>
                  </a:lnTo>
                  <a:lnTo>
                    <a:pt x="92" y="324"/>
                  </a:lnTo>
                  <a:lnTo>
                    <a:pt x="92" y="324"/>
                  </a:lnTo>
                  <a:lnTo>
                    <a:pt x="146" y="335"/>
                  </a:lnTo>
                  <a:lnTo>
                    <a:pt x="221" y="357"/>
                  </a:lnTo>
                  <a:lnTo>
                    <a:pt x="270" y="372"/>
                  </a:lnTo>
                  <a:lnTo>
                    <a:pt x="318" y="394"/>
                  </a:lnTo>
                  <a:lnTo>
                    <a:pt x="367" y="421"/>
                  </a:lnTo>
                  <a:lnTo>
                    <a:pt x="416" y="459"/>
                  </a:lnTo>
                  <a:lnTo>
                    <a:pt x="459" y="508"/>
                  </a:lnTo>
                  <a:lnTo>
                    <a:pt x="508" y="562"/>
                  </a:lnTo>
                  <a:lnTo>
                    <a:pt x="546" y="632"/>
                  </a:lnTo>
                  <a:lnTo>
                    <a:pt x="583" y="713"/>
                  </a:lnTo>
                  <a:lnTo>
                    <a:pt x="615" y="810"/>
                  </a:lnTo>
                  <a:lnTo>
                    <a:pt x="637" y="919"/>
                  </a:lnTo>
                  <a:lnTo>
                    <a:pt x="653" y="1042"/>
                  </a:lnTo>
                  <a:lnTo>
                    <a:pt x="653" y="1182"/>
                  </a:lnTo>
                  <a:lnTo>
                    <a:pt x="653" y="1182"/>
                  </a:lnTo>
                  <a:lnTo>
                    <a:pt x="653" y="2868"/>
                  </a:lnTo>
                  <a:lnTo>
                    <a:pt x="653" y="2868"/>
                  </a:lnTo>
                  <a:lnTo>
                    <a:pt x="653" y="3036"/>
                  </a:lnTo>
                  <a:lnTo>
                    <a:pt x="648" y="3193"/>
                  </a:lnTo>
                  <a:lnTo>
                    <a:pt x="637" y="3323"/>
                  </a:lnTo>
                  <a:lnTo>
                    <a:pt x="621" y="3441"/>
                  </a:lnTo>
                  <a:lnTo>
                    <a:pt x="605" y="3544"/>
                  </a:lnTo>
                  <a:lnTo>
                    <a:pt x="583" y="3631"/>
                  </a:lnTo>
                  <a:lnTo>
                    <a:pt x="561" y="3706"/>
                  </a:lnTo>
                  <a:lnTo>
                    <a:pt x="535" y="3765"/>
                  </a:lnTo>
                  <a:lnTo>
                    <a:pt x="508" y="3820"/>
                  </a:lnTo>
                  <a:lnTo>
                    <a:pt x="475" y="3857"/>
                  </a:lnTo>
                  <a:lnTo>
                    <a:pt x="443" y="3890"/>
                  </a:lnTo>
                  <a:lnTo>
                    <a:pt x="410" y="3917"/>
                  </a:lnTo>
                  <a:lnTo>
                    <a:pt x="378" y="3939"/>
                  </a:lnTo>
                  <a:lnTo>
                    <a:pt x="340" y="3955"/>
                  </a:lnTo>
                  <a:lnTo>
                    <a:pt x="276" y="3977"/>
                  </a:lnTo>
                  <a:lnTo>
                    <a:pt x="276" y="3977"/>
                  </a:lnTo>
                  <a:lnTo>
                    <a:pt x="205" y="3998"/>
                  </a:lnTo>
                  <a:lnTo>
                    <a:pt x="178" y="4014"/>
                  </a:lnTo>
                  <a:lnTo>
                    <a:pt x="157" y="4025"/>
                  </a:lnTo>
                  <a:lnTo>
                    <a:pt x="146" y="4036"/>
                  </a:lnTo>
                  <a:lnTo>
                    <a:pt x="140" y="4052"/>
                  </a:lnTo>
                  <a:lnTo>
                    <a:pt x="135" y="4063"/>
                  </a:lnTo>
                  <a:lnTo>
                    <a:pt x="140" y="4073"/>
                  </a:lnTo>
                  <a:lnTo>
                    <a:pt x="146" y="4084"/>
                  </a:lnTo>
                  <a:lnTo>
                    <a:pt x="157" y="4090"/>
                  </a:lnTo>
                  <a:lnTo>
                    <a:pt x="184" y="4106"/>
                  </a:lnTo>
                  <a:lnTo>
                    <a:pt x="221" y="4117"/>
                  </a:lnTo>
                  <a:lnTo>
                    <a:pt x="265" y="4122"/>
                  </a:lnTo>
                  <a:lnTo>
                    <a:pt x="265" y="4122"/>
                  </a:lnTo>
                  <a:lnTo>
                    <a:pt x="2047" y="4122"/>
                  </a:lnTo>
                  <a:lnTo>
                    <a:pt x="2047" y="4122"/>
                  </a:lnTo>
                  <a:lnTo>
                    <a:pt x="2090" y="4117"/>
                  </a:lnTo>
                  <a:lnTo>
                    <a:pt x="2122" y="4101"/>
                  </a:lnTo>
                  <a:lnTo>
                    <a:pt x="2144" y="4084"/>
                  </a:lnTo>
                  <a:lnTo>
                    <a:pt x="2150" y="4068"/>
                  </a:lnTo>
                  <a:lnTo>
                    <a:pt x="2150" y="4057"/>
                  </a:lnTo>
                  <a:lnTo>
                    <a:pt x="2144" y="4046"/>
                  </a:lnTo>
                  <a:lnTo>
                    <a:pt x="2139" y="4036"/>
                  </a:lnTo>
                  <a:lnTo>
                    <a:pt x="2128" y="4019"/>
                  </a:lnTo>
                  <a:lnTo>
                    <a:pt x="2106" y="4009"/>
                  </a:lnTo>
                  <a:lnTo>
                    <a:pt x="2058" y="3987"/>
                  </a:lnTo>
                  <a:lnTo>
                    <a:pt x="1977" y="3971"/>
                  </a:lnTo>
                  <a:lnTo>
                    <a:pt x="1977" y="3971"/>
                  </a:lnTo>
                  <a:lnTo>
                    <a:pt x="1934" y="3960"/>
                  </a:lnTo>
                  <a:lnTo>
                    <a:pt x="1896" y="3949"/>
                  </a:lnTo>
                  <a:lnTo>
                    <a:pt x="1852" y="3933"/>
                  </a:lnTo>
                  <a:lnTo>
                    <a:pt x="1809" y="3917"/>
                  </a:lnTo>
                  <a:lnTo>
                    <a:pt x="1771" y="3890"/>
                  </a:lnTo>
                  <a:lnTo>
                    <a:pt x="1733" y="3857"/>
                  </a:lnTo>
                  <a:lnTo>
                    <a:pt x="1701" y="3820"/>
                  </a:lnTo>
                  <a:lnTo>
                    <a:pt x="1669" y="3771"/>
                  </a:lnTo>
                  <a:lnTo>
                    <a:pt x="1637" y="3717"/>
                  </a:lnTo>
                  <a:lnTo>
                    <a:pt x="1609" y="3652"/>
                  </a:lnTo>
                  <a:lnTo>
                    <a:pt x="1588" y="3582"/>
                  </a:lnTo>
                  <a:lnTo>
                    <a:pt x="1566" y="3495"/>
                  </a:lnTo>
                  <a:lnTo>
                    <a:pt x="1550" y="3398"/>
                  </a:lnTo>
                  <a:lnTo>
                    <a:pt x="1539" y="3290"/>
                  </a:lnTo>
                  <a:lnTo>
                    <a:pt x="1534" y="3171"/>
                  </a:lnTo>
                  <a:lnTo>
                    <a:pt x="1534" y="3031"/>
                  </a:lnTo>
                  <a:lnTo>
                    <a:pt x="1534" y="3031"/>
                  </a:lnTo>
                  <a:lnTo>
                    <a:pt x="1528" y="1960"/>
                  </a:lnTo>
                  <a:lnTo>
                    <a:pt x="1528" y="1960"/>
                  </a:lnTo>
                  <a:lnTo>
                    <a:pt x="1528" y="1771"/>
                  </a:lnTo>
                  <a:lnTo>
                    <a:pt x="1528" y="1652"/>
                  </a:lnTo>
                  <a:lnTo>
                    <a:pt x="1528" y="1528"/>
                  </a:lnTo>
                  <a:lnTo>
                    <a:pt x="1539" y="1393"/>
                  </a:lnTo>
                  <a:lnTo>
                    <a:pt x="1555" y="1253"/>
                  </a:lnTo>
                  <a:lnTo>
                    <a:pt x="1582" y="1112"/>
                  </a:lnTo>
                  <a:lnTo>
                    <a:pt x="1599" y="1042"/>
                  </a:lnTo>
                  <a:lnTo>
                    <a:pt x="1620" y="972"/>
                  </a:lnTo>
                  <a:lnTo>
                    <a:pt x="1647" y="902"/>
                  </a:lnTo>
                  <a:lnTo>
                    <a:pt x="1674" y="837"/>
                  </a:lnTo>
                  <a:lnTo>
                    <a:pt x="1707" y="772"/>
                  </a:lnTo>
                  <a:lnTo>
                    <a:pt x="1739" y="707"/>
                  </a:lnTo>
                  <a:lnTo>
                    <a:pt x="1777" y="648"/>
                  </a:lnTo>
                  <a:lnTo>
                    <a:pt x="1825" y="589"/>
                  </a:lnTo>
                  <a:lnTo>
                    <a:pt x="1874" y="535"/>
                  </a:lnTo>
                  <a:lnTo>
                    <a:pt x="1928" y="486"/>
                  </a:lnTo>
                  <a:lnTo>
                    <a:pt x="1988" y="443"/>
                  </a:lnTo>
                  <a:lnTo>
                    <a:pt x="2052" y="399"/>
                  </a:lnTo>
                  <a:lnTo>
                    <a:pt x="2122" y="367"/>
                  </a:lnTo>
                  <a:lnTo>
                    <a:pt x="2198" y="335"/>
                  </a:lnTo>
                  <a:lnTo>
                    <a:pt x="2285" y="313"/>
                  </a:lnTo>
                  <a:lnTo>
                    <a:pt x="2371" y="292"/>
                  </a:lnTo>
                  <a:lnTo>
                    <a:pt x="2468" y="281"/>
                  </a:lnTo>
                  <a:lnTo>
                    <a:pt x="2571" y="275"/>
                  </a:lnTo>
                  <a:lnTo>
                    <a:pt x="2571" y="275"/>
                  </a:lnTo>
                  <a:lnTo>
                    <a:pt x="2646" y="275"/>
                  </a:lnTo>
                  <a:lnTo>
                    <a:pt x="2717" y="281"/>
                  </a:lnTo>
                  <a:lnTo>
                    <a:pt x="2782" y="286"/>
                  </a:lnTo>
                  <a:lnTo>
                    <a:pt x="2841" y="297"/>
                  </a:lnTo>
                  <a:lnTo>
                    <a:pt x="2895" y="313"/>
                  </a:lnTo>
                  <a:lnTo>
                    <a:pt x="2949" y="329"/>
                  </a:lnTo>
                  <a:lnTo>
                    <a:pt x="2997" y="351"/>
                  </a:lnTo>
                  <a:lnTo>
                    <a:pt x="3046" y="372"/>
                  </a:lnTo>
                  <a:lnTo>
                    <a:pt x="3089" y="399"/>
                  </a:lnTo>
                  <a:lnTo>
                    <a:pt x="3127" y="426"/>
                  </a:lnTo>
                  <a:lnTo>
                    <a:pt x="3165" y="459"/>
                  </a:lnTo>
                  <a:lnTo>
                    <a:pt x="3203" y="491"/>
                  </a:lnTo>
                  <a:lnTo>
                    <a:pt x="3230" y="524"/>
                  </a:lnTo>
                  <a:lnTo>
                    <a:pt x="3262" y="562"/>
                  </a:lnTo>
                  <a:lnTo>
                    <a:pt x="3311" y="642"/>
                  </a:lnTo>
                  <a:lnTo>
                    <a:pt x="3349" y="729"/>
                  </a:lnTo>
                  <a:lnTo>
                    <a:pt x="3381" y="816"/>
                  </a:lnTo>
                  <a:lnTo>
                    <a:pt x="3408" y="908"/>
                  </a:lnTo>
                  <a:lnTo>
                    <a:pt x="3424" y="998"/>
                  </a:lnTo>
                  <a:lnTo>
                    <a:pt x="3435" y="1090"/>
                  </a:lnTo>
                  <a:lnTo>
                    <a:pt x="3446" y="1182"/>
                  </a:lnTo>
                  <a:lnTo>
                    <a:pt x="3451" y="1360"/>
                  </a:lnTo>
                  <a:lnTo>
                    <a:pt x="3451" y="1360"/>
                  </a:lnTo>
                  <a:lnTo>
                    <a:pt x="3451" y="303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42" name="Rectangle 141">
            <a:extLst>
              <a:ext uri="{FF2B5EF4-FFF2-40B4-BE49-F238E27FC236}">
                <a16:creationId xmlns:a16="http://schemas.microsoft.com/office/drawing/2014/main" id="{331EB8BB-F2E0-5A42-9A20-92533B308508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rgbClr val="97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7" name="Group 206" title="Transformation Management Branch Visual Identifier">
            <a:extLst>
              <a:ext uri="{FF2B5EF4-FFF2-40B4-BE49-F238E27FC236}">
                <a16:creationId xmlns:a16="http://schemas.microsoft.com/office/drawing/2014/main" id="{240A97E0-BBAE-944D-8657-BFD476402D89}"/>
              </a:ext>
            </a:extLst>
          </p:cNvPr>
          <p:cNvGrpSpPr/>
          <p:nvPr userDrawn="1"/>
        </p:nvGrpSpPr>
        <p:grpSpPr>
          <a:xfrm>
            <a:off x="737747" y="691990"/>
            <a:ext cx="3814965" cy="514350"/>
            <a:chOff x="22225" y="3117850"/>
            <a:chExt cx="10079038" cy="1358900"/>
          </a:xfrm>
        </p:grpSpPr>
        <p:sp>
          <p:nvSpPr>
            <p:cNvPr id="208" name="Freeform 1">
              <a:extLst>
                <a:ext uri="{FF2B5EF4-FFF2-40B4-BE49-F238E27FC236}">
                  <a16:creationId xmlns:a16="http://schemas.microsoft.com/office/drawing/2014/main" id="{FD992A67-A019-8F4C-9A65-EB93742F7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4363" y="3290888"/>
              <a:ext cx="398462" cy="457200"/>
            </a:xfrm>
            <a:custGeom>
              <a:avLst/>
              <a:gdLst>
                <a:gd name="T0" fmla="*/ 409 w 1108"/>
                <a:gd name="T1" fmla="*/ 240 h 1272"/>
                <a:gd name="T2" fmla="*/ 0 w 1108"/>
                <a:gd name="T3" fmla="*/ 240 h 1272"/>
                <a:gd name="T4" fmla="*/ 0 w 1108"/>
                <a:gd name="T5" fmla="*/ 0 h 1272"/>
                <a:gd name="T6" fmla="*/ 1107 w 1108"/>
                <a:gd name="T7" fmla="*/ 0 h 1272"/>
                <a:gd name="T8" fmla="*/ 1107 w 1108"/>
                <a:gd name="T9" fmla="*/ 240 h 1272"/>
                <a:gd name="T10" fmla="*/ 699 w 1108"/>
                <a:gd name="T11" fmla="*/ 240 h 1272"/>
                <a:gd name="T12" fmla="*/ 699 w 1108"/>
                <a:gd name="T13" fmla="*/ 1271 h 1272"/>
                <a:gd name="T14" fmla="*/ 409 w 1108"/>
                <a:gd name="T15" fmla="*/ 1271 h 1272"/>
                <a:gd name="T16" fmla="*/ 409 w 1108"/>
                <a:gd name="T17" fmla="*/ 24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8" h="1272">
                  <a:moveTo>
                    <a:pt x="409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107" y="0"/>
                  </a:lnTo>
                  <a:lnTo>
                    <a:pt x="1107" y="240"/>
                  </a:lnTo>
                  <a:lnTo>
                    <a:pt x="699" y="240"/>
                  </a:lnTo>
                  <a:lnTo>
                    <a:pt x="699" y="1271"/>
                  </a:lnTo>
                  <a:lnTo>
                    <a:pt x="409" y="1271"/>
                  </a:lnTo>
                  <a:lnTo>
                    <a:pt x="409" y="24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9" name="Freeform 2">
              <a:extLst>
                <a:ext uri="{FF2B5EF4-FFF2-40B4-BE49-F238E27FC236}">
                  <a16:creationId xmlns:a16="http://schemas.microsoft.com/office/drawing/2014/main" id="{061CA9E6-E3C5-B74E-AAC6-CB08599BE1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9975" y="3290888"/>
              <a:ext cx="404813" cy="457200"/>
            </a:xfrm>
            <a:custGeom>
              <a:avLst/>
              <a:gdLst>
                <a:gd name="T0" fmla="*/ 805 w 1125"/>
                <a:gd name="T1" fmla="*/ 1271 h 1272"/>
                <a:gd name="T2" fmla="*/ 565 w 1125"/>
                <a:gd name="T3" fmla="*/ 912 h 1272"/>
                <a:gd name="T4" fmla="*/ 549 w 1125"/>
                <a:gd name="T5" fmla="*/ 912 h 1272"/>
                <a:gd name="T6" fmla="*/ 291 w 1125"/>
                <a:gd name="T7" fmla="*/ 912 h 1272"/>
                <a:gd name="T8" fmla="*/ 291 w 1125"/>
                <a:gd name="T9" fmla="*/ 1271 h 1272"/>
                <a:gd name="T10" fmla="*/ 0 w 1125"/>
                <a:gd name="T11" fmla="*/ 1271 h 1272"/>
                <a:gd name="T12" fmla="*/ 0 w 1125"/>
                <a:gd name="T13" fmla="*/ 0 h 1272"/>
                <a:gd name="T14" fmla="*/ 549 w 1125"/>
                <a:gd name="T15" fmla="*/ 0 h 1272"/>
                <a:gd name="T16" fmla="*/ 549 w 1125"/>
                <a:gd name="T17" fmla="*/ 0 h 1272"/>
                <a:gd name="T18" fmla="*/ 610 w 1125"/>
                <a:gd name="T19" fmla="*/ 0 h 1272"/>
                <a:gd name="T20" fmla="*/ 672 w 1125"/>
                <a:gd name="T21" fmla="*/ 5 h 1272"/>
                <a:gd name="T22" fmla="*/ 727 w 1125"/>
                <a:gd name="T23" fmla="*/ 16 h 1272"/>
                <a:gd name="T24" fmla="*/ 778 w 1125"/>
                <a:gd name="T25" fmla="*/ 28 h 1272"/>
                <a:gd name="T26" fmla="*/ 828 w 1125"/>
                <a:gd name="T27" fmla="*/ 50 h 1272"/>
                <a:gd name="T28" fmla="*/ 873 w 1125"/>
                <a:gd name="T29" fmla="*/ 67 h 1272"/>
                <a:gd name="T30" fmla="*/ 912 w 1125"/>
                <a:gd name="T31" fmla="*/ 95 h 1272"/>
                <a:gd name="T32" fmla="*/ 951 w 1125"/>
                <a:gd name="T33" fmla="*/ 123 h 1272"/>
                <a:gd name="T34" fmla="*/ 985 w 1125"/>
                <a:gd name="T35" fmla="*/ 151 h 1272"/>
                <a:gd name="T36" fmla="*/ 1013 w 1125"/>
                <a:gd name="T37" fmla="*/ 190 h 1272"/>
                <a:gd name="T38" fmla="*/ 1041 w 1125"/>
                <a:gd name="T39" fmla="*/ 224 h 1272"/>
                <a:gd name="T40" fmla="*/ 1063 w 1125"/>
                <a:gd name="T41" fmla="*/ 269 h 1272"/>
                <a:gd name="T42" fmla="*/ 1080 w 1125"/>
                <a:gd name="T43" fmla="*/ 313 h 1272"/>
                <a:gd name="T44" fmla="*/ 1091 w 1125"/>
                <a:gd name="T45" fmla="*/ 358 h 1272"/>
                <a:gd name="T46" fmla="*/ 1097 w 1125"/>
                <a:gd name="T47" fmla="*/ 408 h 1272"/>
                <a:gd name="T48" fmla="*/ 1102 w 1125"/>
                <a:gd name="T49" fmla="*/ 459 h 1272"/>
                <a:gd name="T50" fmla="*/ 1102 w 1125"/>
                <a:gd name="T51" fmla="*/ 459 h 1272"/>
                <a:gd name="T52" fmla="*/ 1097 w 1125"/>
                <a:gd name="T53" fmla="*/ 526 h 1272"/>
                <a:gd name="T54" fmla="*/ 1080 w 1125"/>
                <a:gd name="T55" fmla="*/ 593 h 1272"/>
                <a:gd name="T56" fmla="*/ 1063 w 1125"/>
                <a:gd name="T57" fmla="*/ 649 h 1272"/>
                <a:gd name="T58" fmla="*/ 1029 w 1125"/>
                <a:gd name="T59" fmla="*/ 705 h 1272"/>
                <a:gd name="T60" fmla="*/ 996 w 1125"/>
                <a:gd name="T61" fmla="*/ 750 h 1272"/>
                <a:gd name="T62" fmla="*/ 951 w 1125"/>
                <a:gd name="T63" fmla="*/ 795 h 1272"/>
                <a:gd name="T64" fmla="*/ 896 w 1125"/>
                <a:gd name="T65" fmla="*/ 829 h 1272"/>
                <a:gd name="T66" fmla="*/ 839 w 1125"/>
                <a:gd name="T67" fmla="*/ 862 h 1272"/>
                <a:gd name="T68" fmla="*/ 1124 w 1125"/>
                <a:gd name="T69" fmla="*/ 1271 h 1272"/>
                <a:gd name="T70" fmla="*/ 805 w 1125"/>
                <a:gd name="T71" fmla="*/ 1271 h 1272"/>
                <a:gd name="T72" fmla="*/ 532 w 1125"/>
                <a:gd name="T73" fmla="*/ 240 h 1272"/>
                <a:gd name="T74" fmla="*/ 291 w 1125"/>
                <a:gd name="T75" fmla="*/ 240 h 1272"/>
                <a:gd name="T76" fmla="*/ 291 w 1125"/>
                <a:gd name="T77" fmla="*/ 683 h 1272"/>
                <a:gd name="T78" fmla="*/ 532 w 1125"/>
                <a:gd name="T79" fmla="*/ 683 h 1272"/>
                <a:gd name="T80" fmla="*/ 532 w 1125"/>
                <a:gd name="T81" fmla="*/ 683 h 1272"/>
                <a:gd name="T82" fmla="*/ 593 w 1125"/>
                <a:gd name="T83" fmla="*/ 677 h 1272"/>
                <a:gd name="T84" fmla="*/ 649 w 1125"/>
                <a:gd name="T85" fmla="*/ 666 h 1272"/>
                <a:gd name="T86" fmla="*/ 694 w 1125"/>
                <a:gd name="T87" fmla="*/ 649 h 1272"/>
                <a:gd name="T88" fmla="*/ 733 w 1125"/>
                <a:gd name="T89" fmla="*/ 621 h 1272"/>
                <a:gd name="T90" fmla="*/ 767 w 1125"/>
                <a:gd name="T91" fmla="*/ 588 h 1272"/>
                <a:gd name="T92" fmla="*/ 783 w 1125"/>
                <a:gd name="T93" fmla="*/ 554 h 1272"/>
                <a:gd name="T94" fmla="*/ 800 w 1125"/>
                <a:gd name="T95" fmla="*/ 509 h 1272"/>
                <a:gd name="T96" fmla="*/ 800 w 1125"/>
                <a:gd name="T97" fmla="*/ 459 h 1272"/>
                <a:gd name="T98" fmla="*/ 800 w 1125"/>
                <a:gd name="T99" fmla="*/ 459 h 1272"/>
                <a:gd name="T100" fmla="*/ 800 w 1125"/>
                <a:gd name="T101" fmla="*/ 408 h 1272"/>
                <a:gd name="T102" fmla="*/ 783 w 1125"/>
                <a:gd name="T103" fmla="*/ 364 h 1272"/>
                <a:gd name="T104" fmla="*/ 767 w 1125"/>
                <a:gd name="T105" fmla="*/ 330 h 1272"/>
                <a:gd name="T106" fmla="*/ 733 w 1125"/>
                <a:gd name="T107" fmla="*/ 297 h 1272"/>
                <a:gd name="T108" fmla="*/ 694 w 1125"/>
                <a:gd name="T109" fmla="*/ 269 h 1272"/>
                <a:gd name="T110" fmla="*/ 649 w 1125"/>
                <a:gd name="T111" fmla="*/ 252 h 1272"/>
                <a:gd name="T112" fmla="*/ 593 w 1125"/>
                <a:gd name="T113" fmla="*/ 240 h 1272"/>
                <a:gd name="T114" fmla="*/ 532 w 1125"/>
                <a:gd name="T115" fmla="*/ 24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25" h="1272">
                  <a:moveTo>
                    <a:pt x="805" y="1271"/>
                  </a:moveTo>
                  <a:lnTo>
                    <a:pt x="565" y="912"/>
                  </a:lnTo>
                  <a:lnTo>
                    <a:pt x="549" y="912"/>
                  </a:lnTo>
                  <a:lnTo>
                    <a:pt x="291" y="912"/>
                  </a:lnTo>
                  <a:lnTo>
                    <a:pt x="291" y="1271"/>
                  </a:lnTo>
                  <a:lnTo>
                    <a:pt x="0" y="1271"/>
                  </a:lnTo>
                  <a:lnTo>
                    <a:pt x="0" y="0"/>
                  </a:lnTo>
                  <a:lnTo>
                    <a:pt x="549" y="0"/>
                  </a:lnTo>
                  <a:lnTo>
                    <a:pt x="549" y="0"/>
                  </a:lnTo>
                  <a:lnTo>
                    <a:pt x="610" y="0"/>
                  </a:lnTo>
                  <a:lnTo>
                    <a:pt x="672" y="5"/>
                  </a:lnTo>
                  <a:lnTo>
                    <a:pt x="727" y="16"/>
                  </a:lnTo>
                  <a:lnTo>
                    <a:pt x="778" y="28"/>
                  </a:lnTo>
                  <a:lnTo>
                    <a:pt x="828" y="50"/>
                  </a:lnTo>
                  <a:lnTo>
                    <a:pt x="873" y="67"/>
                  </a:lnTo>
                  <a:lnTo>
                    <a:pt x="912" y="95"/>
                  </a:lnTo>
                  <a:lnTo>
                    <a:pt x="951" y="123"/>
                  </a:lnTo>
                  <a:lnTo>
                    <a:pt x="985" y="151"/>
                  </a:lnTo>
                  <a:lnTo>
                    <a:pt x="1013" y="190"/>
                  </a:lnTo>
                  <a:lnTo>
                    <a:pt x="1041" y="224"/>
                  </a:lnTo>
                  <a:lnTo>
                    <a:pt x="1063" y="269"/>
                  </a:lnTo>
                  <a:lnTo>
                    <a:pt x="1080" y="313"/>
                  </a:lnTo>
                  <a:lnTo>
                    <a:pt x="1091" y="358"/>
                  </a:lnTo>
                  <a:lnTo>
                    <a:pt x="1097" y="408"/>
                  </a:lnTo>
                  <a:lnTo>
                    <a:pt x="1102" y="459"/>
                  </a:lnTo>
                  <a:lnTo>
                    <a:pt x="1102" y="459"/>
                  </a:lnTo>
                  <a:lnTo>
                    <a:pt x="1097" y="526"/>
                  </a:lnTo>
                  <a:lnTo>
                    <a:pt x="1080" y="593"/>
                  </a:lnTo>
                  <a:lnTo>
                    <a:pt x="1063" y="649"/>
                  </a:lnTo>
                  <a:lnTo>
                    <a:pt x="1029" y="705"/>
                  </a:lnTo>
                  <a:lnTo>
                    <a:pt x="996" y="750"/>
                  </a:lnTo>
                  <a:lnTo>
                    <a:pt x="951" y="795"/>
                  </a:lnTo>
                  <a:lnTo>
                    <a:pt x="896" y="829"/>
                  </a:lnTo>
                  <a:lnTo>
                    <a:pt x="839" y="862"/>
                  </a:lnTo>
                  <a:lnTo>
                    <a:pt x="1124" y="1271"/>
                  </a:lnTo>
                  <a:lnTo>
                    <a:pt x="805" y="1271"/>
                  </a:lnTo>
                  <a:close/>
                  <a:moveTo>
                    <a:pt x="532" y="240"/>
                  </a:moveTo>
                  <a:lnTo>
                    <a:pt x="291" y="240"/>
                  </a:lnTo>
                  <a:lnTo>
                    <a:pt x="291" y="683"/>
                  </a:lnTo>
                  <a:lnTo>
                    <a:pt x="532" y="683"/>
                  </a:lnTo>
                  <a:lnTo>
                    <a:pt x="532" y="683"/>
                  </a:lnTo>
                  <a:lnTo>
                    <a:pt x="593" y="677"/>
                  </a:lnTo>
                  <a:lnTo>
                    <a:pt x="649" y="666"/>
                  </a:lnTo>
                  <a:lnTo>
                    <a:pt x="694" y="649"/>
                  </a:lnTo>
                  <a:lnTo>
                    <a:pt x="733" y="621"/>
                  </a:lnTo>
                  <a:lnTo>
                    <a:pt x="767" y="588"/>
                  </a:lnTo>
                  <a:lnTo>
                    <a:pt x="783" y="554"/>
                  </a:lnTo>
                  <a:lnTo>
                    <a:pt x="800" y="509"/>
                  </a:lnTo>
                  <a:lnTo>
                    <a:pt x="800" y="459"/>
                  </a:lnTo>
                  <a:lnTo>
                    <a:pt x="800" y="459"/>
                  </a:lnTo>
                  <a:lnTo>
                    <a:pt x="800" y="408"/>
                  </a:lnTo>
                  <a:lnTo>
                    <a:pt x="783" y="364"/>
                  </a:lnTo>
                  <a:lnTo>
                    <a:pt x="767" y="330"/>
                  </a:lnTo>
                  <a:lnTo>
                    <a:pt x="733" y="297"/>
                  </a:lnTo>
                  <a:lnTo>
                    <a:pt x="694" y="269"/>
                  </a:lnTo>
                  <a:lnTo>
                    <a:pt x="649" y="252"/>
                  </a:lnTo>
                  <a:lnTo>
                    <a:pt x="593" y="240"/>
                  </a:lnTo>
                  <a:lnTo>
                    <a:pt x="532" y="2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0" name="Freeform 3">
              <a:extLst>
                <a:ext uri="{FF2B5EF4-FFF2-40B4-BE49-F238E27FC236}">
                  <a16:creationId xmlns:a16="http://schemas.microsoft.com/office/drawing/2014/main" id="{6DB4C07C-DB55-224A-B4A9-7CB81C9BE9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9075" y="3290888"/>
              <a:ext cx="514350" cy="457200"/>
            </a:xfrm>
            <a:custGeom>
              <a:avLst/>
              <a:gdLst>
                <a:gd name="T0" fmla="*/ 1001 w 1427"/>
                <a:gd name="T1" fmla="*/ 997 h 1272"/>
                <a:gd name="T2" fmla="*/ 414 w 1427"/>
                <a:gd name="T3" fmla="*/ 997 h 1272"/>
                <a:gd name="T4" fmla="*/ 302 w 1427"/>
                <a:gd name="T5" fmla="*/ 1271 h 1272"/>
                <a:gd name="T6" fmla="*/ 0 w 1427"/>
                <a:gd name="T7" fmla="*/ 1271 h 1272"/>
                <a:gd name="T8" fmla="*/ 565 w 1427"/>
                <a:gd name="T9" fmla="*/ 0 h 1272"/>
                <a:gd name="T10" fmla="*/ 856 w 1427"/>
                <a:gd name="T11" fmla="*/ 0 h 1272"/>
                <a:gd name="T12" fmla="*/ 1426 w 1427"/>
                <a:gd name="T13" fmla="*/ 1271 h 1272"/>
                <a:gd name="T14" fmla="*/ 1119 w 1427"/>
                <a:gd name="T15" fmla="*/ 1271 h 1272"/>
                <a:gd name="T16" fmla="*/ 1001 w 1427"/>
                <a:gd name="T17" fmla="*/ 997 h 1272"/>
                <a:gd name="T18" fmla="*/ 912 w 1427"/>
                <a:gd name="T19" fmla="*/ 772 h 1272"/>
                <a:gd name="T20" fmla="*/ 710 w 1427"/>
                <a:gd name="T21" fmla="*/ 285 h 1272"/>
                <a:gd name="T22" fmla="*/ 509 w 1427"/>
                <a:gd name="T23" fmla="*/ 772 h 1272"/>
                <a:gd name="T24" fmla="*/ 912 w 1427"/>
                <a:gd name="T25" fmla="*/ 772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7" h="1272">
                  <a:moveTo>
                    <a:pt x="1001" y="997"/>
                  </a:moveTo>
                  <a:lnTo>
                    <a:pt x="414" y="997"/>
                  </a:lnTo>
                  <a:lnTo>
                    <a:pt x="302" y="1271"/>
                  </a:lnTo>
                  <a:lnTo>
                    <a:pt x="0" y="1271"/>
                  </a:lnTo>
                  <a:lnTo>
                    <a:pt x="565" y="0"/>
                  </a:lnTo>
                  <a:lnTo>
                    <a:pt x="856" y="0"/>
                  </a:lnTo>
                  <a:lnTo>
                    <a:pt x="1426" y="1271"/>
                  </a:lnTo>
                  <a:lnTo>
                    <a:pt x="1119" y="1271"/>
                  </a:lnTo>
                  <a:lnTo>
                    <a:pt x="1001" y="997"/>
                  </a:lnTo>
                  <a:close/>
                  <a:moveTo>
                    <a:pt x="912" y="772"/>
                  </a:moveTo>
                  <a:lnTo>
                    <a:pt x="710" y="285"/>
                  </a:lnTo>
                  <a:lnTo>
                    <a:pt x="509" y="772"/>
                  </a:lnTo>
                  <a:lnTo>
                    <a:pt x="912" y="7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1" name="Freeform 4">
              <a:extLst>
                <a:ext uri="{FF2B5EF4-FFF2-40B4-BE49-F238E27FC236}">
                  <a16:creationId xmlns:a16="http://schemas.microsoft.com/office/drawing/2014/main" id="{65D7D199-96F9-FF46-991C-C88080A54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9463" y="3290888"/>
              <a:ext cx="419100" cy="457200"/>
            </a:xfrm>
            <a:custGeom>
              <a:avLst/>
              <a:gdLst>
                <a:gd name="T0" fmla="*/ 1164 w 1165"/>
                <a:gd name="T1" fmla="*/ 0 h 1272"/>
                <a:gd name="T2" fmla="*/ 1164 w 1165"/>
                <a:gd name="T3" fmla="*/ 1271 h 1272"/>
                <a:gd name="T4" fmla="*/ 923 w 1165"/>
                <a:gd name="T5" fmla="*/ 1271 h 1272"/>
                <a:gd name="T6" fmla="*/ 291 w 1165"/>
                <a:gd name="T7" fmla="*/ 498 h 1272"/>
                <a:gd name="T8" fmla="*/ 291 w 1165"/>
                <a:gd name="T9" fmla="*/ 1271 h 1272"/>
                <a:gd name="T10" fmla="*/ 0 w 1165"/>
                <a:gd name="T11" fmla="*/ 1271 h 1272"/>
                <a:gd name="T12" fmla="*/ 0 w 1165"/>
                <a:gd name="T13" fmla="*/ 0 h 1272"/>
                <a:gd name="T14" fmla="*/ 246 w 1165"/>
                <a:gd name="T15" fmla="*/ 0 h 1272"/>
                <a:gd name="T16" fmla="*/ 873 w 1165"/>
                <a:gd name="T17" fmla="*/ 767 h 1272"/>
                <a:gd name="T18" fmla="*/ 873 w 1165"/>
                <a:gd name="T19" fmla="*/ 0 h 1272"/>
                <a:gd name="T20" fmla="*/ 1164 w 1165"/>
                <a:gd name="T21" fmla="*/ 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5" h="1272">
                  <a:moveTo>
                    <a:pt x="1164" y="0"/>
                  </a:moveTo>
                  <a:lnTo>
                    <a:pt x="1164" y="1271"/>
                  </a:lnTo>
                  <a:lnTo>
                    <a:pt x="923" y="1271"/>
                  </a:lnTo>
                  <a:lnTo>
                    <a:pt x="291" y="498"/>
                  </a:lnTo>
                  <a:lnTo>
                    <a:pt x="291" y="1271"/>
                  </a:lnTo>
                  <a:lnTo>
                    <a:pt x="0" y="1271"/>
                  </a:lnTo>
                  <a:lnTo>
                    <a:pt x="0" y="0"/>
                  </a:lnTo>
                  <a:lnTo>
                    <a:pt x="246" y="0"/>
                  </a:lnTo>
                  <a:lnTo>
                    <a:pt x="873" y="767"/>
                  </a:lnTo>
                  <a:lnTo>
                    <a:pt x="873" y="0"/>
                  </a:lnTo>
                  <a:lnTo>
                    <a:pt x="1164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2" name="Freeform 5">
              <a:extLst>
                <a:ext uri="{FF2B5EF4-FFF2-40B4-BE49-F238E27FC236}">
                  <a16:creationId xmlns:a16="http://schemas.microsoft.com/office/drawing/2014/main" id="{9D7000F6-874C-C945-BA32-C82E54A9E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0000" y="3282950"/>
              <a:ext cx="381000" cy="473075"/>
            </a:xfrm>
            <a:custGeom>
              <a:avLst/>
              <a:gdLst>
                <a:gd name="T0" fmla="*/ 101 w 1059"/>
                <a:gd name="T1" fmla="*/ 947 h 1312"/>
                <a:gd name="T2" fmla="*/ 241 w 1059"/>
                <a:gd name="T3" fmla="*/ 1020 h 1312"/>
                <a:gd name="T4" fmla="*/ 409 w 1059"/>
                <a:gd name="T5" fmla="*/ 1070 h 1312"/>
                <a:gd name="T6" fmla="*/ 520 w 1059"/>
                <a:gd name="T7" fmla="*/ 1076 h 1312"/>
                <a:gd name="T8" fmla="*/ 677 w 1059"/>
                <a:gd name="T9" fmla="*/ 1053 h 1312"/>
                <a:gd name="T10" fmla="*/ 750 w 1059"/>
                <a:gd name="T11" fmla="*/ 997 h 1312"/>
                <a:gd name="T12" fmla="*/ 766 w 1059"/>
                <a:gd name="T13" fmla="*/ 941 h 1312"/>
                <a:gd name="T14" fmla="*/ 744 w 1059"/>
                <a:gd name="T15" fmla="*/ 885 h 1312"/>
                <a:gd name="T16" fmla="*/ 649 w 1059"/>
                <a:gd name="T17" fmla="*/ 824 h 1312"/>
                <a:gd name="T18" fmla="*/ 397 w 1059"/>
                <a:gd name="T19" fmla="*/ 757 h 1312"/>
                <a:gd name="T20" fmla="*/ 196 w 1059"/>
                <a:gd name="T21" fmla="*/ 684 h 1312"/>
                <a:gd name="T22" fmla="*/ 95 w 1059"/>
                <a:gd name="T23" fmla="*/ 599 h 1312"/>
                <a:gd name="T24" fmla="*/ 45 w 1059"/>
                <a:gd name="T25" fmla="*/ 510 h 1312"/>
                <a:gd name="T26" fmla="*/ 28 w 1059"/>
                <a:gd name="T27" fmla="*/ 398 h 1312"/>
                <a:gd name="T28" fmla="*/ 34 w 1059"/>
                <a:gd name="T29" fmla="*/ 314 h 1312"/>
                <a:gd name="T30" fmla="*/ 78 w 1059"/>
                <a:gd name="T31" fmla="*/ 207 h 1312"/>
                <a:gd name="T32" fmla="*/ 157 w 1059"/>
                <a:gd name="T33" fmla="*/ 118 h 1312"/>
                <a:gd name="T34" fmla="*/ 280 w 1059"/>
                <a:gd name="T35" fmla="*/ 51 h 1312"/>
                <a:gd name="T36" fmla="*/ 437 w 1059"/>
                <a:gd name="T37" fmla="*/ 6 h 1312"/>
                <a:gd name="T38" fmla="*/ 560 w 1059"/>
                <a:gd name="T39" fmla="*/ 0 h 1312"/>
                <a:gd name="T40" fmla="*/ 739 w 1059"/>
                <a:gd name="T41" fmla="*/ 17 h 1312"/>
                <a:gd name="T42" fmla="*/ 907 w 1059"/>
                <a:gd name="T43" fmla="*/ 62 h 1312"/>
                <a:gd name="T44" fmla="*/ 912 w 1059"/>
                <a:gd name="T45" fmla="*/ 336 h 1312"/>
                <a:gd name="T46" fmla="*/ 733 w 1059"/>
                <a:gd name="T47" fmla="*/ 258 h 1312"/>
                <a:gd name="T48" fmla="*/ 560 w 1059"/>
                <a:gd name="T49" fmla="*/ 235 h 1312"/>
                <a:gd name="T50" fmla="*/ 409 w 1059"/>
                <a:gd name="T51" fmla="*/ 258 h 1312"/>
                <a:gd name="T52" fmla="*/ 330 w 1059"/>
                <a:gd name="T53" fmla="*/ 325 h 1312"/>
                <a:gd name="T54" fmla="*/ 319 w 1059"/>
                <a:gd name="T55" fmla="*/ 381 h 1312"/>
                <a:gd name="T56" fmla="*/ 336 w 1059"/>
                <a:gd name="T57" fmla="*/ 437 h 1312"/>
                <a:gd name="T58" fmla="*/ 437 w 1059"/>
                <a:gd name="T59" fmla="*/ 499 h 1312"/>
                <a:gd name="T60" fmla="*/ 688 w 1059"/>
                <a:gd name="T61" fmla="*/ 560 h 1312"/>
                <a:gd name="T62" fmla="*/ 884 w 1059"/>
                <a:gd name="T63" fmla="*/ 633 h 1312"/>
                <a:gd name="T64" fmla="*/ 990 w 1059"/>
                <a:gd name="T65" fmla="*/ 717 h 1312"/>
                <a:gd name="T66" fmla="*/ 1040 w 1059"/>
                <a:gd name="T67" fmla="*/ 807 h 1312"/>
                <a:gd name="T68" fmla="*/ 1058 w 1059"/>
                <a:gd name="T69" fmla="*/ 919 h 1312"/>
                <a:gd name="T70" fmla="*/ 1046 w 1059"/>
                <a:gd name="T71" fmla="*/ 997 h 1312"/>
                <a:gd name="T72" fmla="*/ 1007 w 1059"/>
                <a:gd name="T73" fmla="*/ 1104 h 1312"/>
                <a:gd name="T74" fmla="*/ 923 w 1059"/>
                <a:gd name="T75" fmla="*/ 1199 h 1312"/>
                <a:gd name="T76" fmla="*/ 806 w 1059"/>
                <a:gd name="T77" fmla="*/ 1266 h 1312"/>
                <a:gd name="T78" fmla="*/ 643 w 1059"/>
                <a:gd name="T79" fmla="*/ 1305 h 1312"/>
                <a:gd name="T80" fmla="*/ 520 w 1059"/>
                <a:gd name="T81" fmla="*/ 1311 h 1312"/>
                <a:gd name="T82" fmla="*/ 296 w 1059"/>
                <a:gd name="T83" fmla="*/ 1289 h 1312"/>
                <a:gd name="T84" fmla="*/ 101 w 1059"/>
                <a:gd name="T85" fmla="*/ 1227 h 1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9" h="1312">
                  <a:moveTo>
                    <a:pt x="0" y="1165"/>
                  </a:moveTo>
                  <a:lnTo>
                    <a:pt x="101" y="947"/>
                  </a:lnTo>
                  <a:lnTo>
                    <a:pt x="101" y="947"/>
                  </a:lnTo>
                  <a:lnTo>
                    <a:pt x="146" y="975"/>
                  </a:lnTo>
                  <a:lnTo>
                    <a:pt x="191" y="997"/>
                  </a:lnTo>
                  <a:lnTo>
                    <a:pt x="241" y="1020"/>
                  </a:lnTo>
                  <a:lnTo>
                    <a:pt x="296" y="1042"/>
                  </a:lnTo>
                  <a:lnTo>
                    <a:pt x="347" y="1059"/>
                  </a:lnTo>
                  <a:lnTo>
                    <a:pt x="409" y="1070"/>
                  </a:lnTo>
                  <a:lnTo>
                    <a:pt x="465" y="1076"/>
                  </a:lnTo>
                  <a:lnTo>
                    <a:pt x="520" y="1076"/>
                  </a:lnTo>
                  <a:lnTo>
                    <a:pt x="520" y="1076"/>
                  </a:lnTo>
                  <a:lnTo>
                    <a:pt x="582" y="1076"/>
                  </a:lnTo>
                  <a:lnTo>
                    <a:pt x="632" y="1070"/>
                  </a:lnTo>
                  <a:lnTo>
                    <a:pt x="677" y="1053"/>
                  </a:lnTo>
                  <a:lnTo>
                    <a:pt x="711" y="1036"/>
                  </a:lnTo>
                  <a:lnTo>
                    <a:pt x="733" y="1020"/>
                  </a:lnTo>
                  <a:lnTo>
                    <a:pt x="750" y="997"/>
                  </a:lnTo>
                  <a:lnTo>
                    <a:pt x="761" y="969"/>
                  </a:lnTo>
                  <a:lnTo>
                    <a:pt x="766" y="941"/>
                  </a:lnTo>
                  <a:lnTo>
                    <a:pt x="766" y="941"/>
                  </a:lnTo>
                  <a:lnTo>
                    <a:pt x="761" y="919"/>
                  </a:lnTo>
                  <a:lnTo>
                    <a:pt x="755" y="902"/>
                  </a:lnTo>
                  <a:lnTo>
                    <a:pt x="744" y="885"/>
                  </a:lnTo>
                  <a:lnTo>
                    <a:pt x="733" y="868"/>
                  </a:lnTo>
                  <a:lnTo>
                    <a:pt x="699" y="840"/>
                  </a:lnTo>
                  <a:lnTo>
                    <a:pt x="649" y="824"/>
                  </a:lnTo>
                  <a:lnTo>
                    <a:pt x="593" y="807"/>
                  </a:lnTo>
                  <a:lnTo>
                    <a:pt x="532" y="790"/>
                  </a:lnTo>
                  <a:lnTo>
                    <a:pt x="397" y="757"/>
                  </a:lnTo>
                  <a:lnTo>
                    <a:pt x="330" y="734"/>
                  </a:lnTo>
                  <a:lnTo>
                    <a:pt x="263" y="712"/>
                  </a:lnTo>
                  <a:lnTo>
                    <a:pt x="196" y="684"/>
                  </a:lnTo>
                  <a:lnTo>
                    <a:pt x="140" y="644"/>
                  </a:lnTo>
                  <a:lnTo>
                    <a:pt x="118" y="622"/>
                  </a:lnTo>
                  <a:lnTo>
                    <a:pt x="95" y="599"/>
                  </a:lnTo>
                  <a:lnTo>
                    <a:pt x="78" y="571"/>
                  </a:lnTo>
                  <a:lnTo>
                    <a:pt x="62" y="544"/>
                  </a:lnTo>
                  <a:lnTo>
                    <a:pt x="45" y="510"/>
                  </a:lnTo>
                  <a:lnTo>
                    <a:pt x="34" y="476"/>
                  </a:lnTo>
                  <a:lnTo>
                    <a:pt x="28" y="437"/>
                  </a:lnTo>
                  <a:lnTo>
                    <a:pt x="28" y="398"/>
                  </a:lnTo>
                  <a:lnTo>
                    <a:pt x="28" y="398"/>
                  </a:lnTo>
                  <a:lnTo>
                    <a:pt x="28" y="353"/>
                  </a:lnTo>
                  <a:lnTo>
                    <a:pt x="34" y="314"/>
                  </a:lnTo>
                  <a:lnTo>
                    <a:pt x="45" y="280"/>
                  </a:lnTo>
                  <a:lnTo>
                    <a:pt x="62" y="241"/>
                  </a:lnTo>
                  <a:lnTo>
                    <a:pt x="78" y="207"/>
                  </a:lnTo>
                  <a:lnTo>
                    <a:pt x="101" y="174"/>
                  </a:lnTo>
                  <a:lnTo>
                    <a:pt x="129" y="146"/>
                  </a:lnTo>
                  <a:lnTo>
                    <a:pt x="157" y="118"/>
                  </a:lnTo>
                  <a:lnTo>
                    <a:pt x="196" y="90"/>
                  </a:lnTo>
                  <a:lnTo>
                    <a:pt x="235" y="67"/>
                  </a:lnTo>
                  <a:lnTo>
                    <a:pt x="280" y="51"/>
                  </a:lnTo>
                  <a:lnTo>
                    <a:pt x="324" y="34"/>
                  </a:lnTo>
                  <a:lnTo>
                    <a:pt x="380" y="17"/>
                  </a:lnTo>
                  <a:lnTo>
                    <a:pt x="437" y="6"/>
                  </a:lnTo>
                  <a:lnTo>
                    <a:pt x="498" y="0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621" y="0"/>
                  </a:lnTo>
                  <a:lnTo>
                    <a:pt x="683" y="6"/>
                  </a:lnTo>
                  <a:lnTo>
                    <a:pt x="739" y="17"/>
                  </a:lnTo>
                  <a:lnTo>
                    <a:pt x="800" y="28"/>
                  </a:lnTo>
                  <a:lnTo>
                    <a:pt x="856" y="45"/>
                  </a:lnTo>
                  <a:lnTo>
                    <a:pt x="907" y="62"/>
                  </a:lnTo>
                  <a:lnTo>
                    <a:pt x="957" y="84"/>
                  </a:lnTo>
                  <a:lnTo>
                    <a:pt x="1002" y="112"/>
                  </a:lnTo>
                  <a:lnTo>
                    <a:pt x="912" y="336"/>
                  </a:lnTo>
                  <a:lnTo>
                    <a:pt x="912" y="336"/>
                  </a:lnTo>
                  <a:lnTo>
                    <a:pt x="822" y="292"/>
                  </a:lnTo>
                  <a:lnTo>
                    <a:pt x="733" y="258"/>
                  </a:lnTo>
                  <a:lnTo>
                    <a:pt x="643" y="241"/>
                  </a:lnTo>
                  <a:lnTo>
                    <a:pt x="560" y="235"/>
                  </a:lnTo>
                  <a:lnTo>
                    <a:pt x="560" y="235"/>
                  </a:lnTo>
                  <a:lnTo>
                    <a:pt x="498" y="241"/>
                  </a:lnTo>
                  <a:lnTo>
                    <a:pt x="447" y="247"/>
                  </a:lnTo>
                  <a:lnTo>
                    <a:pt x="409" y="258"/>
                  </a:lnTo>
                  <a:lnTo>
                    <a:pt x="375" y="280"/>
                  </a:lnTo>
                  <a:lnTo>
                    <a:pt x="347" y="297"/>
                  </a:lnTo>
                  <a:lnTo>
                    <a:pt x="330" y="325"/>
                  </a:lnTo>
                  <a:lnTo>
                    <a:pt x="324" y="353"/>
                  </a:lnTo>
                  <a:lnTo>
                    <a:pt x="319" y="381"/>
                  </a:lnTo>
                  <a:lnTo>
                    <a:pt x="319" y="381"/>
                  </a:lnTo>
                  <a:lnTo>
                    <a:pt x="319" y="403"/>
                  </a:lnTo>
                  <a:lnTo>
                    <a:pt x="330" y="421"/>
                  </a:lnTo>
                  <a:lnTo>
                    <a:pt x="336" y="437"/>
                  </a:lnTo>
                  <a:lnTo>
                    <a:pt x="352" y="454"/>
                  </a:lnTo>
                  <a:lnTo>
                    <a:pt x="386" y="476"/>
                  </a:lnTo>
                  <a:lnTo>
                    <a:pt x="437" y="499"/>
                  </a:lnTo>
                  <a:lnTo>
                    <a:pt x="492" y="516"/>
                  </a:lnTo>
                  <a:lnTo>
                    <a:pt x="554" y="532"/>
                  </a:lnTo>
                  <a:lnTo>
                    <a:pt x="688" y="560"/>
                  </a:lnTo>
                  <a:lnTo>
                    <a:pt x="755" y="583"/>
                  </a:lnTo>
                  <a:lnTo>
                    <a:pt x="822" y="605"/>
                  </a:lnTo>
                  <a:lnTo>
                    <a:pt x="884" y="633"/>
                  </a:lnTo>
                  <a:lnTo>
                    <a:pt x="940" y="672"/>
                  </a:lnTo>
                  <a:lnTo>
                    <a:pt x="968" y="694"/>
                  </a:lnTo>
                  <a:lnTo>
                    <a:pt x="990" y="717"/>
                  </a:lnTo>
                  <a:lnTo>
                    <a:pt x="1007" y="745"/>
                  </a:lnTo>
                  <a:lnTo>
                    <a:pt x="1024" y="773"/>
                  </a:lnTo>
                  <a:lnTo>
                    <a:pt x="1040" y="807"/>
                  </a:lnTo>
                  <a:lnTo>
                    <a:pt x="1046" y="840"/>
                  </a:lnTo>
                  <a:lnTo>
                    <a:pt x="1058" y="880"/>
                  </a:lnTo>
                  <a:lnTo>
                    <a:pt x="1058" y="919"/>
                  </a:lnTo>
                  <a:lnTo>
                    <a:pt x="1058" y="919"/>
                  </a:lnTo>
                  <a:lnTo>
                    <a:pt x="1058" y="958"/>
                  </a:lnTo>
                  <a:lnTo>
                    <a:pt x="1046" y="997"/>
                  </a:lnTo>
                  <a:lnTo>
                    <a:pt x="1040" y="1036"/>
                  </a:lnTo>
                  <a:lnTo>
                    <a:pt x="1024" y="1070"/>
                  </a:lnTo>
                  <a:lnTo>
                    <a:pt x="1007" y="1104"/>
                  </a:lnTo>
                  <a:lnTo>
                    <a:pt x="985" y="1137"/>
                  </a:lnTo>
                  <a:lnTo>
                    <a:pt x="957" y="1165"/>
                  </a:lnTo>
                  <a:lnTo>
                    <a:pt x="923" y="1199"/>
                  </a:lnTo>
                  <a:lnTo>
                    <a:pt x="889" y="1221"/>
                  </a:lnTo>
                  <a:lnTo>
                    <a:pt x="850" y="1244"/>
                  </a:lnTo>
                  <a:lnTo>
                    <a:pt x="806" y="1266"/>
                  </a:lnTo>
                  <a:lnTo>
                    <a:pt x="755" y="1283"/>
                  </a:lnTo>
                  <a:lnTo>
                    <a:pt x="705" y="1294"/>
                  </a:lnTo>
                  <a:lnTo>
                    <a:pt x="643" y="1305"/>
                  </a:lnTo>
                  <a:lnTo>
                    <a:pt x="582" y="1311"/>
                  </a:lnTo>
                  <a:lnTo>
                    <a:pt x="520" y="1311"/>
                  </a:lnTo>
                  <a:lnTo>
                    <a:pt x="520" y="1311"/>
                  </a:lnTo>
                  <a:lnTo>
                    <a:pt x="442" y="1311"/>
                  </a:lnTo>
                  <a:lnTo>
                    <a:pt x="369" y="1305"/>
                  </a:lnTo>
                  <a:lnTo>
                    <a:pt x="296" y="1289"/>
                  </a:lnTo>
                  <a:lnTo>
                    <a:pt x="229" y="1272"/>
                  </a:lnTo>
                  <a:lnTo>
                    <a:pt x="162" y="1249"/>
                  </a:lnTo>
                  <a:lnTo>
                    <a:pt x="101" y="1227"/>
                  </a:lnTo>
                  <a:lnTo>
                    <a:pt x="50" y="1199"/>
                  </a:lnTo>
                  <a:lnTo>
                    <a:pt x="0" y="116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3" name="Freeform 6">
              <a:extLst>
                <a:ext uri="{FF2B5EF4-FFF2-40B4-BE49-F238E27FC236}">
                  <a16:creationId xmlns:a16="http://schemas.microsoft.com/office/drawing/2014/main" id="{9E5F24EC-4421-D645-B33E-6EFF02C940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025" y="3290888"/>
              <a:ext cx="344488" cy="457200"/>
            </a:xfrm>
            <a:custGeom>
              <a:avLst/>
              <a:gdLst>
                <a:gd name="T0" fmla="*/ 291 w 958"/>
                <a:gd name="T1" fmla="*/ 235 h 1272"/>
                <a:gd name="T2" fmla="*/ 291 w 958"/>
                <a:gd name="T3" fmla="*/ 571 h 1272"/>
                <a:gd name="T4" fmla="*/ 878 w 958"/>
                <a:gd name="T5" fmla="*/ 571 h 1272"/>
                <a:gd name="T6" fmla="*/ 878 w 958"/>
                <a:gd name="T7" fmla="*/ 806 h 1272"/>
                <a:gd name="T8" fmla="*/ 291 w 958"/>
                <a:gd name="T9" fmla="*/ 806 h 1272"/>
                <a:gd name="T10" fmla="*/ 291 w 958"/>
                <a:gd name="T11" fmla="*/ 1271 h 1272"/>
                <a:gd name="T12" fmla="*/ 0 w 958"/>
                <a:gd name="T13" fmla="*/ 1271 h 1272"/>
                <a:gd name="T14" fmla="*/ 0 w 958"/>
                <a:gd name="T15" fmla="*/ 0 h 1272"/>
                <a:gd name="T16" fmla="*/ 957 w 958"/>
                <a:gd name="T17" fmla="*/ 0 h 1272"/>
                <a:gd name="T18" fmla="*/ 957 w 958"/>
                <a:gd name="T19" fmla="*/ 235 h 1272"/>
                <a:gd name="T20" fmla="*/ 291 w 958"/>
                <a:gd name="T21" fmla="*/ 235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8" h="1272">
                  <a:moveTo>
                    <a:pt x="291" y="235"/>
                  </a:moveTo>
                  <a:lnTo>
                    <a:pt x="291" y="571"/>
                  </a:lnTo>
                  <a:lnTo>
                    <a:pt x="878" y="571"/>
                  </a:lnTo>
                  <a:lnTo>
                    <a:pt x="878" y="806"/>
                  </a:lnTo>
                  <a:lnTo>
                    <a:pt x="291" y="806"/>
                  </a:lnTo>
                  <a:lnTo>
                    <a:pt x="291" y="1271"/>
                  </a:lnTo>
                  <a:lnTo>
                    <a:pt x="0" y="1271"/>
                  </a:lnTo>
                  <a:lnTo>
                    <a:pt x="0" y="0"/>
                  </a:lnTo>
                  <a:lnTo>
                    <a:pt x="957" y="0"/>
                  </a:lnTo>
                  <a:lnTo>
                    <a:pt x="957" y="235"/>
                  </a:lnTo>
                  <a:lnTo>
                    <a:pt x="291" y="23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4" name="Freeform 7">
              <a:extLst>
                <a:ext uri="{FF2B5EF4-FFF2-40B4-BE49-F238E27FC236}">
                  <a16:creationId xmlns:a16="http://schemas.microsoft.com/office/drawing/2014/main" id="{A7C6300C-FB54-5D4A-9FE8-272A230B0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5025" y="3282950"/>
              <a:ext cx="501650" cy="473075"/>
            </a:xfrm>
            <a:custGeom>
              <a:avLst/>
              <a:gdLst>
                <a:gd name="T0" fmla="*/ 6 w 1394"/>
                <a:gd name="T1" fmla="*/ 589 h 1312"/>
                <a:gd name="T2" fmla="*/ 57 w 1394"/>
                <a:gd name="T3" fmla="*/ 393 h 1312"/>
                <a:gd name="T4" fmla="*/ 157 w 1394"/>
                <a:gd name="T5" fmla="*/ 230 h 1312"/>
                <a:gd name="T6" fmla="*/ 303 w 1394"/>
                <a:gd name="T7" fmla="*/ 107 h 1312"/>
                <a:gd name="T8" fmla="*/ 488 w 1394"/>
                <a:gd name="T9" fmla="*/ 28 h 1312"/>
                <a:gd name="T10" fmla="*/ 700 w 1394"/>
                <a:gd name="T11" fmla="*/ 0 h 1312"/>
                <a:gd name="T12" fmla="*/ 840 w 1394"/>
                <a:gd name="T13" fmla="*/ 12 h 1312"/>
                <a:gd name="T14" fmla="*/ 1036 w 1394"/>
                <a:gd name="T15" fmla="*/ 73 h 1312"/>
                <a:gd name="T16" fmla="*/ 1191 w 1394"/>
                <a:gd name="T17" fmla="*/ 185 h 1312"/>
                <a:gd name="T18" fmla="*/ 1309 w 1394"/>
                <a:gd name="T19" fmla="*/ 336 h 1312"/>
                <a:gd name="T20" fmla="*/ 1376 w 1394"/>
                <a:gd name="T21" fmla="*/ 521 h 1312"/>
                <a:gd name="T22" fmla="*/ 1393 w 1394"/>
                <a:gd name="T23" fmla="*/ 656 h 1312"/>
                <a:gd name="T24" fmla="*/ 1359 w 1394"/>
                <a:gd name="T25" fmla="*/ 857 h 1312"/>
                <a:gd name="T26" fmla="*/ 1275 w 1394"/>
                <a:gd name="T27" fmla="*/ 1031 h 1312"/>
                <a:gd name="T28" fmla="*/ 1148 w 1394"/>
                <a:gd name="T29" fmla="*/ 1171 h 1312"/>
                <a:gd name="T30" fmla="*/ 974 w 1394"/>
                <a:gd name="T31" fmla="*/ 1266 h 1312"/>
                <a:gd name="T32" fmla="*/ 773 w 1394"/>
                <a:gd name="T33" fmla="*/ 1311 h 1312"/>
                <a:gd name="T34" fmla="*/ 622 w 1394"/>
                <a:gd name="T35" fmla="*/ 1311 h 1312"/>
                <a:gd name="T36" fmla="*/ 420 w 1394"/>
                <a:gd name="T37" fmla="*/ 1266 h 1312"/>
                <a:gd name="T38" fmla="*/ 247 w 1394"/>
                <a:gd name="T39" fmla="*/ 1171 h 1312"/>
                <a:gd name="T40" fmla="*/ 118 w 1394"/>
                <a:gd name="T41" fmla="*/ 1031 h 1312"/>
                <a:gd name="T42" fmla="*/ 34 w 1394"/>
                <a:gd name="T43" fmla="*/ 857 h 1312"/>
                <a:gd name="T44" fmla="*/ 0 w 1394"/>
                <a:gd name="T45" fmla="*/ 656 h 1312"/>
                <a:gd name="T46" fmla="*/ 1092 w 1394"/>
                <a:gd name="T47" fmla="*/ 611 h 1312"/>
                <a:gd name="T48" fmla="*/ 1063 w 1394"/>
                <a:gd name="T49" fmla="*/ 493 h 1312"/>
                <a:gd name="T50" fmla="*/ 1008 w 1394"/>
                <a:gd name="T51" fmla="*/ 393 h 1312"/>
                <a:gd name="T52" fmla="*/ 924 w 1394"/>
                <a:gd name="T53" fmla="*/ 314 h 1312"/>
                <a:gd name="T54" fmla="*/ 817 w 1394"/>
                <a:gd name="T55" fmla="*/ 269 h 1312"/>
                <a:gd name="T56" fmla="*/ 700 w 1394"/>
                <a:gd name="T57" fmla="*/ 252 h 1312"/>
                <a:gd name="T58" fmla="*/ 616 w 1394"/>
                <a:gd name="T59" fmla="*/ 258 h 1312"/>
                <a:gd name="T60" fmla="*/ 504 w 1394"/>
                <a:gd name="T61" fmla="*/ 297 h 1312"/>
                <a:gd name="T62" fmla="*/ 415 w 1394"/>
                <a:gd name="T63" fmla="*/ 364 h 1312"/>
                <a:gd name="T64" fmla="*/ 347 w 1394"/>
                <a:gd name="T65" fmla="*/ 454 h 1312"/>
                <a:gd name="T66" fmla="*/ 309 w 1394"/>
                <a:gd name="T67" fmla="*/ 571 h 1312"/>
                <a:gd name="T68" fmla="*/ 303 w 1394"/>
                <a:gd name="T69" fmla="*/ 656 h 1312"/>
                <a:gd name="T70" fmla="*/ 319 w 1394"/>
                <a:gd name="T71" fmla="*/ 785 h 1312"/>
                <a:gd name="T72" fmla="*/ 365 w 1394"/>
                <a:gd name="T73" fmla="*/ 891 h 1312"/>
                <a:gd name="T74" fmla="*/ 443 w 1394"/>
                <a:gd name="T75" fmla="*/ 975 h 1312"/>
                <a:gd name="T76" fmla="*/ 538 w 1394"/>
                <a:gd name="T77" fmla="*/ 1031 h 1312"/>
                <a:gd name="T78" fmla="*/ 656 w 1394"/>
                <a:gd name="T79" fmla="*/ 1059 h 1312"/>
                <a:gd name="T80" fmla="*/ 739 w 1394"/>
                <a:gd name="T81" fmla="*/ 1059 h 1312"/>
                <a:gd name="T82" fmla="*/ 857 w 1394"/>
                <a:gd name="T83" fmla="*/ 1031 h 1312"/>
                <a:gd name="T84" fmla="*/ 952 w 1394"/>
                <a:gd name="T85" fmla="*/ 975 h 1312"/>
                <a:gd name="T86" fmla="*/ 1030 w 1394"/>
                <a:gd name="T87" fmla="*/ 891 h 1312"/>
                <a:gd name="T88" fmla="*/ 1075 w 1394"/>
                <a:gd name="T89" fmla="*/ 785 h 1312"/>
                <a:gd name="T90" fmla="*/ 1097 w 1394"/>
                <a:gd name="T91" fmla="*/ 656 h 1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94" h="1312">
                  <a:moveTo>
                    <a:pt x="0" y="656"/>
                  </a:moveTo>
                  <a:lnTo>
                    <a:pt x="0" y="656"/>
                  </a:lnTo>
                  <a:lnTo>
                    <a:pt x="6" y="589"/>
                  </a:lnTo>
                  <a:lnTo>
                    <a:pt x="18" y="521"/>
                  </a:lnTo>
                  <a:lnTo>
                    <a:pt x="34" y="454"/>
                  </a:lnTo>
                  <a:lnTo>
                    <a:pt x="57" y="393"/>
                  </a:lnTo>
                  <a:lnTo>
                    <a:pt x="85" y="336"/>
                  </a:lnTo>
                  <a:lnTo>
                    <a:pt x="118" y="280"/>
                  </a:lnTo>
                  <a:lnTo>
                    <a:pt x="157" y="230"/>
                  </a:lnTo>
                  <a:lnTo>
                    <a:pt x="202" y="185"/>
                  </a:lnTo>
                  <a:lnTo>
                    <a:pt x="247" y="146"/>
                  </a:lnTo>
                  <a:lnTo>
                    <a:pt x="303" y="107"/>
                  </a:lnTo>
                  <a:lnTo>
                    <a:pt x="359" y="79"/>
                  </a:lnTo>
                  <a:lnTo>
                    <a:pt x="420" y="51"/>
                  </a:lnTo>
                  <a:lnTo>
                    <a:pt x="488" y="28"/>
                  </a:lnTo>
                  <a:lnTo>
                    <a:pt x="555" y="12"/>
                  </a:lnTo>
                  <a:lnTo>
                    <a:pt x="622" y="0"/>
                  </a:lnTo>
                  <a:lnTo>
                    <a:pt x="700" y="0"/>
                  </a:lnTo>
                  <a:lnTo>
                    <a:pt x="700" y="0"/>
                  </a:lnTo>
                  <a:lnTo>
                    <a:pt x="773" y="0"/>
                  </a:lnTo>
                  <a:lnTo>
                    <a:pt x="840" y="12"/>
                  </a:lnTo>
                  <a:lnTo>
                    <a:pt x="907" y="28"/>
                  </a:lnTo>
                  <a:lnTo>
                    <a:pt x="974" y="51"/>
                  </a:lnTo>
                  <a:lnTo>
                    <a:pt x="1036" y="73"/>
                  </a:lnTo>
                  <a:lnTo>
                    <a:pt x="1092" y="107"/>
                  </a:lnTo>
                  <a:lnTo>
                    <a:pt x="1148" y="146"/>
                  </a:lnTo>
                  <a:lnTo>
                    <a:pt x="1191" y="185"/>
                  </a:lnTo>
                  <a:lnTo>
                    <a:pt x="1236" y="230"/>
                  </a:lnTo>
                  <a:lnTo>
                    <a:pt x="1275" y="280"/>
                  </a:lnTo>
                  <a:lnTo>
                    <a:pt x="1309" y="336"/>
                  </a:lnTo>
                  <a:lnTo>
                    <a:pt x="1337" y="393"/>
                  </a:lnTo>
                  <a:lnTo>
                    <a:pt x="1359" y="454"/>
                  </a:lnTo>
                  <a:lnTo>
                    <a:pt x="1376" y="521"/>
                  </a:lnTo>
                  <a:lnTo>
                    <a:pt x="1387" y="589"/>
                  </a:lnTo>
                  <a:lnTo>
                    <a:pt x="1393" y="656"/>
                  </a:lnTo>
                  <a:lnTo>
                    <a:pt x="1393" y="656"/>
                  </a:lnTo>
                  <a:lnTo>
                    <a:pt x="1387" y="728"/>
                  </a:lnTo>
                  <a:lnTo>
                    <a:pt x="1376" y="795"/>
                  </a:lnTo>
                  <a:lnTo>
                    <a:pt x="1359" y="857"/>
                  </a:lnTo>
                  <a:lnTo>
                    <a:pt x="1337" y="919"/>
                  </a:lnTo>
                  <a:lnTo>
                    <a:pt x="1309" y="975"/>
                  </a:lnTo>
                  <a:lnTo>
                    <a:pt x="1275" y="1031"/>
                  </a:lnTo>
                  <a:lnTo>
                    <a:pt x="1236" y="1081"/>
                  </a:lnTo>
                  <a:lnTo>
                    <a:pt x="1191" y="1126"/>
                  </a:lnTo>
                  <a:lnTo>
                    <a:pt x="1148" y="1171"/>
                  </a:lnTo>
                  <a:lnTo>
                    <a:pt x="1092" y="1204"/>
                  </a:lnTo>
                  <a:lnTo>
                    <a:pt x="1036" y="1238"/>
                  </a:lnTo>
                  <a:lnTo>
                    <a:pt x="974" y="1266"/>
                  </a:lnTo>
                  <a:lnTo>
                    <a:pt x="907" y="1283"/>
                  </a:lnTo>
                  <a:lnTo>
                    <a:pt x="840" y="1299"/>
                  </a:lnTo>
                  <a:lnTo>
                    <a:pt x="773" y="1311"/>
                  </a:lnTo>
                  <a:lnTo>
                    <a:pt x="700" y="1311"/>
                  </a:lnTo>
                  <a:lnTo>
                    <a:pt x="700" y="1311"/>
                  </a:lnTo>
                  <a:lnTo>
                    <a:pt x="622" y="1311"/>
                  </a:lnTo>
                  <a:lnTo>
                    <a:pt x="555" y="1299"/>
                  </a:lnTo>
                  <a:lnTo>
                    <a:pt x="488" y="1283"/>
                  </a:lnTo>
                  <a:lnTo>
                    <a:pt x="420" y="1266"/>
                  </a:lnTo>
                  <a:lnTo>
                    <a:pt x="359" y="1238"/>
                  </a:lnTo>
                  <a:lnTo>
                    <a:pt x="303" y="1204"/>
                  </a:lnTo>
                  <a:lnTo>
                    <a:pt x="247" y="1171"/>
                  </a:lnTo>
                  <a:lnTo>
                    <a:pt x="202" y="1126"/>
                  </a:lnTo>
                  <a:lnTo>
                    <a:pt x="157" y="1081"/>
                  </a:lnTo>
                  <a:lnTo>
                    <a:pt x="118" y="1031"/>
                  </a:lnTo>
                  <a:lnTo>
                    <a:pt x="85" y="975"/>
                  </a:lnTo>
                  <a:lnTo>
                    <a:pt x="57" y="919"/>
                  </a:lnTo>
                  <a:lnTo>
                    <a:pt x="34" y="857"/>
                  </a:lnTo>
                  <a:lnTo>
                    <a:pt x="18" y="795"/>
                  </a:lnTo>
                  <a:lnTo>
                    <a:pt x="6" y="728"/>
                  </a:lnTo>
                  <a:lnTo>
                    <a:pt x="0" y="656"/>
                  </a:lnTo>
                  <a:close/>
                  <a:moveTo>
                    <a:pt x="1097" y="656"/>
                  </a:moveTo>
                  <a:lnTo>
                    <a:pt x="1097" y="656"/>
                  </a:lnTo>
                  <a:lnTo>
                    <a:pt x="1092" y="611"/>
                  </a:lnTo>
                  <a:lnTo>
                    <a:pt x="1086" y="571"/>
                  </a:lnTo>
                  <a:lnTo>
                    <a:pt x="1075" y="526"/>
                  </a:lnTo>
                  <a:lnTo>
                    <a:pt x="1063" y="493"/>
                  </a:lnTo>
                  <a:lnTo>
                    <a:pt x="1047" y="454"/>
                  </a:lnTo>
                  <a:lnTo>
                    <a:pt x="1030" y="421"/>
                  </a:lnTo>
                  <a:lnTo>
                    <a:pt x="1008" y="393"/>
                  </a:lnTo>
                  <a:lnTo>
                    <a:pt x="980" y="364"/>
                  </a:lnTo>
                  <a:lnTo>
                    <a:pt x="952" y="336"/>
                  </a:lnTo>
                  <a:lnTo>
                    <a:pt x="924" y="314"/>
                  </a:lnTo>
                  <a:lnTo>
                    <a:pt x="890" y="297"/>
                  </a:lnTo>
                  <a:lnTo>
                    <a:pt x="857" y="280"/>
                  </a:lnTo>
                  <a:lnTo>
                    <a:pt x="817" y="269"/>
                  </a:lnTo>
                  <a:lnTo>
                    <a:pt x="779" y="258"/>
                  </a:lnTo>
                  <a:lnTo>
                    <a:pt x="739" y="252"/>
                  </a:lnTo>
                  <a:lnTo>
                    <a:pt x="700" y="252"/>
                  </a:lnTo>
                  <a:lnTo>
                    <a:pt x="700" y="252"/>
                  </a:lnTo>
                  <a:lnTo>
                    <a:pt x="656" y="252"/>
                  </a:lnTo>
                  <a:lnTo>
                    <a:pt x="616" y="258"/>
                  </a:lnTo>
                  <a:lnTo>
                    <a:pt x="577" y="269"/>
                  </a:lnTo>
                  <a:lnTo>
                    <a:pt x="538" y="280"/>
                  </a:lnTo>
                  <a:lnTo>
                    <a:pt x="504" y="297"/>
                  </a:lnTo>
                  <a:lnTo>
                    <a:pt x="470" y="314"/>
                  </a:lnTo>
                  <a:lnTo>
                    <a:pt x="443" y="336"/>
                  </a:lnTo>
                  <a:lnTo>
                    <a:pt x="415" y="364"/>
                  </a:lnTo>
                  <a:lnTo>
                    <a:pt x="387" y="393"/>
                  </a:lnTo>
                  <a:lnTo>
                    <a:pt x="365" y="421"/>
                  </a:lnTo>
                  <a:lnTo>
                    <a:pt x="347" y="454"/>
                  </a:lnTo>
                  <a:lnTo>
                    <a:pt x="331" y="493"/>
                  </a:lnTo>
                  <a:lnTo>
                    <a:pt x="319" y="526"/>
                  </a:lnTo>
                  <a:lnTo>
                    <a:pt x="309" y="571"/>
                  </a:lnTo>
                  <a:lnTo>
                    <a:pt x="303" y="611"/>
                  </a:lnTo>
                  <a:lnTo>
                    <a:pt x="303" y="656"/>
                  </a:lnTo>
                  <a:lnTo>
                    <a:pt x="303" y="656"/>
                  </a:lnTo>
                  <a:lnTo>
                    <a:pt x="303" y="700"/>
                  </a:lnTo>
                  <a:lnTo>
                    <a:pt x="309" y="745"/>
                  </a:lnTo>
                  <a:lnTo>
                    <a:pt x="319" y="785"/>
                  </a:lnTo>
                  <a:lnTo>
                    <a:pt x="331" y="824"/>
                  </a:lnTo>
                  <a:lnTo>
                    <a:pt x="347" y="857"/>
                  </a:lnTo>
                  <a:lnTo>
                    <a:pt x="365" y="891"/>
                  </a:lnTo>
                  <a:lnTo>
                    <a:pt x="387" y="925"/>
                  </a:lnTo>
                  <a:lnTo>
                    <a:pt x="415" y="953"/>
                  </a:lnTo>
                  <a:lnTo>
                    <a:pt x="443" y="975"/>
                  </a:lnTo>
                  <a:lnTo>
                    <a:pt x="470" y="997"/>
                  </a:lnTo>
                  <a:lnTo>
                    <a:pt x="504" y="1020"/>
                  </a:lnTo>
                  <a:lnTo>
                    <a:pt x="538" y="1031"/>
                  </a:lnTo>
                  <a:lnTo>
                    <a:pt x="577" y="1048"/>
                  </a:lnTo>
                  <a:lnTo>
                    <a:pt x="616" y="1053"/>
                  </a:lnTo>
                  <a:lnTo>
                    <a:pt x="656" y="1059"/>
                  </a:lnTo>
                  <a:lnTo>
                    <a:pt x="700" y="1064"/>
                  </a:lnTo>
                  <a:lnTo>
                    <a:pt x="700" y="1064"/>
                  </a:lnTo>
                  <a:lnTo>
                    <a:pt x="739" y="1059"/>
                  </a:lnTo>
                  <a:lnTo>
                    <a:pt x="779" y="1053"/>
                  </a:lnTo>
                  <a:lnTo>
                    <a:pt x="817" y="1048"/>
                  </a:lnTo>
                  <a:lnTo>
                    <a:pt x="857" y="1031"/>
                  </a:lnTo>
                  <a:lnTo>
                    <a:pt x="890" y="1020"/>
                  </a:lnTo>
                  <a:lnTo>
                    <a:pt x="924" y="997"/>
                  </a:lnTo>
                  <a:lnTo>
                    <a:pt x="952" y="975"/>
                  </a:lnTo>
                  <a:lnTo>
                    <a:pt x="980" y="953"/>
                  </a:lnTo>
                  <a:lnTo>
                    <a:pt x="1008" y="925"/>
                  </a:lnTo>
                  <a:lnTo>
                    <a:pt x="1030" y="891"/>
                  </a:lnTo>
                  <a:lnTo>
                    <a:pt x="1047" y="857"/>
                  </a:lnTo>
                  <a:lnTo>
                    <a:pt x="1063" y="824"/>
                  </a:lnTo>
                  <a:lnTo>
                    <a:pt x="1075" y="785"/>
                  </a:lnTo>
                  <a:lnTo>
                    <a:pt x="1086" y="745"/>
                  </a:lnTo>
                  <a:lnTo>
                    <a:pt x="1092" y="700"/>
                  </a:lnTo>
                  <a:lnTo>
                    <a:pt x="1097" y="6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5" name="Freeform 8">
              <a:extLst>
                <a:ext uri="{FF2B5EF4-FFF2-40B4-BE49-F238E27FC236}">
                  <a16:creationId xmlns:a16="http://schemas.microsoft.com/office/drawing/2014/main" id="{0EB5F0D2-BA8D-CE49-9075-4A54C1B2D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6050" y="3290888"/>
              <a:ext cx="404813" cy="457200"/>
            </a:xfrm>
            <a:custGeom>
              <a:avLst/>
              <a:gdLst>
                <a:gd name="T0" fmla="*/ 811 w 1125"/>
                <a:gd name="T1" fmla="*/ 1271 h 1272"/>
                <a:gd name="T2" fmla="*/ 565 w 1125"/>
                <a:gd name="T3" fmla="*/ 912 h 1272"/>
                <a:gd name="T4" fmla="*/ 548 w 1125"/>
                <a:gd name="T5" fmla="*/ 912 h 1272"/>
                <a:gd name="T6" fmla="*/ 296 w 1125"/>
                <a:gd name="T7" fmla="*/ 912 h 1272"/>
                <a:gd name="T8" fmla="*/ 296 w 1125"/>
                <a:gd name="T9" fmla="*/ 1271 h 1272"/>
                <a:gd name="T10" fmla="*/ 0 w 1125"/>
                <a:gd name="T11" fmla="*/ 1271 h 1272"/>
                <a:gd name="T12" fmla="*/ 0 w 1125"/>
                <a:gd name="T13" fmla="*/ 0 h 1272"/>
                <a:gd name="T14" fmla="*/ 548 w 1125"/>
                <a:gd name="T15" fmla="*/ 0 h 1272"/>
                <a:gd name="T16" fmla="*/ 548 w 1125"/>
                <a:gd name="T17" fmla="*/ 0 h 1272"/>
                <a:gd name="T18" fmla="*/ 615 w 1125"/>
                <a:gd name="T19" fmla="*/ 0 h 1272"/>
                <a:gd name="T20" fmla="*/ 671 w 1125"/>
                <a:gd name="T21" fmla="*/ 5 h 1272"/>
                <a:gd name="T22" fmla="*/ 727 w 1125"/>
                <a:gd name="T23" fmla="*/ 16 h 1272"/>
                <a:gd name="T24" fmla="*/ 778 w 1125"/>
                <a:gd name="T25" fmla="*/ 28 h 1272"/>
                <a:gd name="T26" fmla="*/ 828 w 1125"/>
                <a:gd name="T27" fmla="*/ 50 h 1272"/>
                <a:gd name="T28" fmla="*/ 873 w 1125"/>
                <a:gd name="T29" fmla="*/ 67 h 1272"/>
                <a:gd name="T30" fmla="*/ 918 w 1125"/>
                <a:gd name="T31" fmla="*/ 95 h 1272"/>
                <a:gd name="T32" fmla="*/ 951 w 1125"/>
                <a:gd name="T33" fmla="*/ 123 h 1272"/>
                <a:gd name="T34" fmla="*/ 984 w 1125"/>
                <a:gd name="T35" fmla="*/ 151 h 1272"/>
                <a:gd name="T36" fmla="*/ 1018 w 1125"/>
                <a:gd name="T37" fmla="*/ 190 h 1272"/>
                <a:gd name="T38" fmla="*/ 1041 w 1125"/>
                <a:gd name="T39" fmla="*/ 224 h 1272"/>
                <a:gd name="T40" fmla="*/ 1063 w 1125"/>
                <a:gd name="T41" fmla="*/ 269 h 1272"/>
                <a:gd name="T42" fmla="*/ 1079 w 1125"/>
                <a:gd name="T43" fmla="*/ 313 h 1272"/>
                <a:gd name="T44" fmla="*/ 1091 w 1125"/>
                <a:gd name="T45" fmla="*/ 358 h 1272"/>
                <a:gd name="T46" fmla="*/ 1097 w 1125"/>
                <a:gd name="T47" fmla="*/ 408 h 1272"/>
                <a:gd name="T48" fmla="*/ 1102 w 1125"/>
                <a:gd name="T49" fmla="*/ 459 h 1272"/>
                <a:gd name="T50" fmla="*/ 1102 w 1125"/>
                <a:gd name="T51" fmla="*/ 459 h 1272"/>
                <a:gd name="T52" fmla="*/ 1097 w 1125"/>
                <a:gd name="T53" fmla="*/ 526 h 1272"/>
                <a:gd name="T54" fmla="*/ 1085 w 1125"/>
                <a:gd name="T55" fmla="*/ 593 h 1272"/>
                <a:gd name="T56" fmla="*/ 1063 w 1125"/>
                <a:gd name="T57" fmla="*/ 649 h 1272"/>
                <a:gd name="T58" fmla="*/ 1035 w 1125"/>
                <a:gd name="T59" fmla="*/ 705 h 1272"/>
                <a:gd name="T60" fmla="*/ 996 w 1125"/>
                <a:gd name="T61" fmla="*/ 750 h 1272"/>
                <a:gd name="T62" fmla="*/ 951 w 1125"/>
                <a:gd name="T63" fmla="*/ 795 h 1272"/>
                <a:gd name="T64" fmla="*/ 901 w 1125"/>
                <a:gd name="T65" fmla="*/ 829 h 1272"/>
                <a:gd name="T66" fmla="*/ 839 w 1125"/>
                <a:gd name="T67" fmla="*/ 862 h 1272"/>
                <a:gd name="T68" fmla="*/ 1124 w 1125"/>
                <a:gd name="T69" fmla="*/ 1271 h 1272"/>
                <a:gd name="T70" fmla="*/ 811 w 1125"/>
                <a:gd name="T71" fmla="*/ 1271 h 1272"/>
                <a:gd name="T72" fmla="*/ 537 w 1125"/>
                <a:gd name="T73" fmla="*/ 240 h 1272"/>
                <a:gd name="T74" fmla="*/ 296 w 1125"/>
                <a:gd name="T75" fmla="*/ 240 h 1272"/>
                <a:gd name="T76" fmla="*/ 296 w 1125"/>
                <a:gd name="T77" fmla="*/ 683 h 1272"/>
                <a:gd name="T78" fmla="*/ 537 w 1125"/>
                <a:gd name="T79" fmla="*/ 683 h 1272"/>
                <a:gd name="T80" fmla="*/ 537 w 1125"/>
                <a:gd name="T81" fmla="*/ 683 h 1272"/>
                <a:gd name="T82" fmla="*/ 599 w 1125"/>
                <a:gd name="T83" fmla="*/ 677 h 1272"/>
                <a:gd name="T84" fmla="*/ 654 w 1125"/>
                <a:gd name="T85" fmla="*/ 666 h 1272"/>
                <a:gd name="T86" fmla="*/ 700 w 1125"/>
                <a:gd name="T87" fmla="*/ 649 h 1272"/>
                <a:gd name="T88" fmla="*/ 738 w 1125"/>
                <a:gd name="T89" fmla="*/ 621 h 1272"/>
                <a:gd name="T90" fmla="*/ 766 w 1125"/>
                <a:gd name="T91" fmla="*/ 588 h 1272"/>
                <a:gd name="T92" fmla="*/ 789 w 1125"/>
                <a:gd name="T93" fmla="*/ 554 h 1272"/>
                <a:gd name="T94" fmla="*/ 800 w 1125"/>
                <a:gd name="T95" fmla="*/ 509 h 1272"/>
                <a:gd name="T96" fmla="*/ 805 w 1125"/>
                <a:gd name="T97" fmla="*/ 459 h 1272"/>
                <a:gd name="T98" fmla="*/ 805 w 1125"/>
                <a:gd name="T99" fmla="*/ 459 h 1272"/>
                <a:gd name="T100" fmla="*/ 800 w 1125"/>
                <a:gd name="T101" fmla="*/ 408 h 1272"/>
                <a:gd name="T102" fmla="*/ 789 w 1125"/>
                <a:gd name="T103" fmla="*/ 364 h 1272"/>
                <a:gd name="T104" fmla="*/ 766 w 1125"/>
                <a:gd name="T105" fmla="*/ 330 h 1272"/>
                <a:gd name="T106" fmla="*/ 738 w 1125"/>
                <a:gd name="T107" fmla="*/ 297 h 1272"/>
                <a:gd name="T108" fmla="*/ 700 w 1125"/>
                <a:gd name="T109" fmla="*/ 269 h 1272"/>
                <a:gd name="T110" fmla="*/ 654 w 1125"/>
                <a:gd name="T111" fmla="*/ 252 h 1272"/>
                <a:gd name="T112" fmla="*/ 599 w 1125"/>
                <a:gd name="T113" fmla="*/ 240 h 1272"/>
                <a:gd name="T114" fmla="*/ 537 w 1125"/>
                <a:gd name="T115" fmla="*/ 24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25" h="1272">
                  <a:moveTo>
                    <a:pt x="811" y="1271"/>
                  </a:moveTo>
                  <a:lnTo>
                    <a:pt x="565" y="912"/>
                  </a:lnTo>
                  <a:lnTo>
                    <a:pt x="548" y="912"/>
                  </a:lnTo>
                  <a:lnTo>
                    <a:pt x="296" y="912"/>
                  </a:lnTo>
                  <a:lnTo>
                    <a:pt x="296" y="1271"/>
                  </a:lnTo>
                  <a:lnTo>
                    <a:pt x="0" y="1271"/>
                  </a:lnTo>
                  <a:lnTo>
                    <a:pt x="0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615" y="0"/>
                  </a:lnTo>
                  <a:lnTo>
                    <a:pt x="671" y="5"/>
                  </a:lnTo>
                  <a:lnTo>
                    <a:pt x="727" y="16"/>
                  </a:lnTo>
                  <a:lnTo>
                    <a:pt x="778" y="28"/>
                  </a:lnTo>
                  <a:lnTo>
                    <a:pt x="828" y="50"/>
                  </a:lnTo>
                  <a:lnTo>
                    <a:pt x="873" y="67"/>
                  </a:lnTo>
                  <a:lnTo>
                    <a:pt x="918" y="95"/>
                  </a:lnTo>
                  <a:lnTo>
                    <a:pt x="951" y="123"/>
                  </a:lnTo>
                  <a:lnTo>
                    <a:pt x="984" y="151"/>
                  </a:lnTo>
                  <a:lnTo>
                    <a:pt x="1018" y="190"/>
                  </a:lnTo>
                  <a:lnTo>
                    <a:pt x="1041" y="224"/>
                  </a:lnTo>
                  <a:lnTo>
                    <a:pt x="1063" y="269"/>
                  </a:lnTo>
                  <a:lnTo>
                    <a:pt x="1079" y="313"/>
                  </a:lnTo>
                  <a:lnTo>
                    <a:pt x="1091" y="358"/>
                  </a:lnTo>
                  <a:lnTo>
                    <a:pt x="1097" y="408"/>
                  </a:lnTo>
                  <a:lnTo>
                    <a:pt x="1102" y="459"/>
                  </a:lnTo>
                  <a:lnTo>
                    <a:pt x="1102" y="459"/>
                  </a:lnTo>
                  <a:lnTo>
                    <a:pt x="1097" y="526"/>
                  </a:lnTo>
                  <a:lnTo>
                    <a:pt x="1085" y="593"/>
                  </a:lnTo>
                  <a:lnTo>
                    <a:pt x="1063" y="649"/>
                  </a:lnTo>
                  <a:lnTo>
                    <a:pt x="1035" y="705"/>
                  </a:lnTo>
                  <a:lnTo>
                    <a:pt x="996" y="750"/>
                  </a:lnTo>
                  <a:lnTo>
                    <a:pt x="951" y="795"/>
                  </a:lnTo>
                  <a:lnTo>
                    <a:pt x="901" y="829"/>
                  </a:lnTo>
                  <a:lnTo>
                    <a:pt x="839" y="862"/>
                  </a:lnTo>
                  <a:lnTo>
                    <a:pt x="1124" y="1271"/>
                  </a:lnTo>
                  <a:lnTo>
                    <a:pt x="811" y="1271"/>
                  </a:lnTo>
                  <a:close/>
                  <a:moveTo>
                    <a:pt x="537" y="240"/>
                  </a:moveTo>
                  <a:lnTo>
                    <a:pt x="296" y="240"/>
                  </a:lnTo>
                  <a:lnTo>
                    <a:pt x="296" y="683"/>
                  </a:lnTo>
                  <a:lnTo>
                    <a:pt x="537" y="683"/>
                  </a:lnTo>
                  <a:lnTo>
                    <a:pt x="537" y="683"/>
                  </a:lnTo>
                  <a:lnTo>
                    <a:pt x="599" y="677"/>
                  </a:lnTo>
                  <a:lnTo>
                    <a:pt x="654" y="666"/>
                  </a:lnTo>
                  <a:lnTo>
                    <a:pt x="700" y="649"/>
                  </a:lnTo>
                  <a:lnTo>
                    <a:pt x="738" y="621"/>
                  </a:lnTo>
                  <a:lnTo>
                    <a:pt x="766" y="588"/>
                  </a:lnTo>
                  <a:lnTo>
                    <a:pt x="789" y="554"/>
                  </a:lnTo>
                  <a:lnTo>
                    <a:pt x="800" y="509"/>
                  </a:lnTo>
                  <a:lnTo>
                    <a:pt x="805" y="459"/>
                  </a:lnTo>
                  <a:lnTo>
                    <a:pt x="805" y="459"/>
                  </a:lnTo>
                  <a:lnTo>
                    <a:pt x="800" y="408"/>
                  </a:lnTo>
                  <a:lnTo>
                    <a:pt x="789" y="364"/>
                  </a:lnTo>
                  <a:lnTo>
                    <a:pt x="766" y="330"/>
                  </a:lnTo>
                  <a:lnTo>
                    <a:pt x="738" y="297"/>
                  </a:lnTo>
                  <a:lnTo>
                    <a:pt x="700" y="269"/>
                  </a:lnTo>
                  <a:lnTo>
                    <a:pt x="654" y="252"/>
                  </a:lnTo>
                  <a:lnTo>
                    <a:pt x="599" y="240"/>
                  </a:lnTo>
                  <a:lnTo>
                    <a:pt x="537" y="2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6" name="Freeform 9">
              <a:extLst>
                <a:ext uri="{FF2B5EF4-FFF2-40B4-BE49-F238E27FC236}">
                  <a16:creationId xmlns:a16="http://schemas.microsoft.com/office/drawing/2014/main" id="{AB06604F-5C2C-7E4B-BDCB-1ACCC878E5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5475" y="3290888"/>
              <a:ext cx="515938" cy="457200"/>
            </a:xfrm>
            <a:custGeom>
              <a:avLst/>
              <a:gdLst>
                <a:gd name="T0" fmla="*/ 1158 w 1434"/>
                <a:gd name="T1" fmla="*/ 1271 h 1272"/>
                <a:gd name="T2" fmla="*/ 1158 w 1434"/>
                <a:gd name="T3" fmla="*/ 503 h 1272"/>
                <a:gd name="T4" fmla="*/ 783 w 1434"/>
                <a:gd name="T5" fmla="*/ 1137 h 1272"/>
                <a:gd name="T6" fmla="*/ 650 w 1434"/>
                <a:gd name="T7" fmla="*/ 1137 h 1272"/>
                <a:gd name="T8" fmla="*/ 280 w 1434"/>
                <a:gd name="T9" fmla="*/ 521 h 1272"/>
                <a:gd name="T10" fmla="*/ 280 w 1434"/>
                <a:gd name="T11" fmla="*/ 1271 h 1272"/>
                <a:gd name="T12" fmla="*/ 0 w 1434"/>
                <a:gd name="T13" fmla="*/ 1271 h 1272"/>
                <a:gd name="T14" fmla="*/ 0 w 1434"/>
                <a:gd name="T15" fmla="*/ 0 h 1272"/>
                <a:gd name="T16" fmla="*/ 246 w 1434"/>
                <a:gd name="T17" fmla="*/ 0 h 1272"/>
                <a:gd name="T18" fmla="*/ 722 w 1434"/>
                <a:gd name="T19" fmla="*/ 789 h 1272"/>
                <a:gd name="T20" fmla="*/ 1186 w 1434"/>
                <a:gd name="T21" fmla="*/ 0 h 1272"/>
                <a:gd name="T22" fmla="*/ 1427 w 1434"/>
                <a:gd name="T23" fmla="*/ 0 h 1272"/>
                <a:gd name="T24" fmla="*/ 1433 w 1434"/>
                <a:gd name="T25" fmla="*/ 1271 h 1272"/>
                <a:gd name="T26" fmla="*/ 1158 w 1434"/>
                <a:gd name="T27" fmla="*/ 1271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4" h="1272">
                  <a:moveTo>
                    <a:pt x="1158" y="1271"/>
                  </a:moveTo>
                  <a:lnTo>
                    <a:pt x="1158" y="503"/>
                  </a:lnTo>
                  <a:lnTo>
                    <a:pt x="783" y="1137"/>
                  </a:lnTo>
                  <a:lnTo>
                    <a:pt x="650" y="1137"/>
                  </a:lnTo>
                  <a:lnTo>
                    <a:pt x="280" y="521"/>
                  </a:lnTo>
                  <a:lnTo>
                    <a:pt x="280" y="1271"/>
                  </a:lnTo>
                  <a:lnTo>
                    <a:pt x="0" y="1271"/>
                  </a:lnTo>
                  <a:lnTo>
                    <a:pt x="0" y="0"/>
                  </a:lnTo>
                  <a:lnTo>
                    <a:pt x="246" y="0"/>
                  </a:lnTo>
                  <a:lnTo>
                    <a:pt x="722" y="789"/>
                  </a:lnTo>
                  <a:lnTo>
                    <a:pt x="1186" y="0"/>
                  </a:lnTo>
                  <a:lnTo>
                    <a:pt x="1427" y="0"/>
                  </a:lnTo>
                  <a:lnTo>
                    <a:pt x="1433" y="1271"/>
                  </a:lnTo>
                  <a:lnTo>
                    <a:pt x="1158" y="127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7" name="Freeform 10">
              <a:extLst>
                <a:ext uri="{FF2B5EF4-FFF2-40B4-BE49-F238E27FC236}">
                  <a16:creationId xmlns:a16="http://schemas.microsoft.com/office/drawing/2014/main" id="{C3B2E190-92F6-194F-AF1F-FC6CABC411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9038" y="3290888"/>
              <a:ext cx="511175" cy="457200"/>
            </a:xfrm>
            <a:custGeom>
              <a:avLst/>
              <a:gdLst>
                <a:gd name="T0" fmla="*/ 1001 w 1422"/>
                <a:gd name="T1" fmla="*/ 997 h 1272"/>
                <a:gd name="T2" fmla="*/ 414 w 1422"/>
                <a:gd name="T3" fmla="*/ 997 h 1272"/>
                <a:gd name="T4" fmla="*/ 302 w 1422"/>
                <a:gd name="T5" fmla="*/ 1271 h 1272"/>
                <a:gd name="T6" fmla="*/ 0 w 1422"/>
                <a:gd name="T7" fmla="*/ 1271 h 1272"/>
                <a:gd name="T8" fmla="*/ 565 w 1422"/>
                <a:gd name="T9" fmla="*/ 0 h 1272"/>
                <a:gd name="T10" fmla="*/ 856 w 1422"/>
                <a:gd name="T11" fmla="*/ 0 h 1272"/>
                <a:gd name="T12" fmla="*/ 1421 w 1422"/>
                <a:gd name="T13" fmla="*/ 1271 h 1272"/>
                <a:gd name="T14" fmla="*/ 1113 w 1422"/>
                <a:gd name="T15" fmla="*/ 1271 h 1272"/>
                <a:gd name="T16" fmla="*/ 1001 w 1422"/>
                <a:gd name="T17" fmla="*/ 997 h 1272"/>
                <a:gd name="T18" fmla="*/ 912 w 1422"/>
                <a:gd name="T19" fmla="*/ 772 h 1272"/>
                <a:gd name="T20" fmla="*/ 711 w 1422"/>
                <a:gd name="T21" fmla="*/ 285 h 1272"/>
                <a:gd name="T22" fmla="*/ 509 w 1422"/>
                <a:gd name="T23" fmla="*/ 772 h 1272"/>
                <a:gd name="T24" fmla="*/ 912 w 1422"/>
                <a:gd name="T25" fmla="*/ 772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2" h="1272">
                  <a:moveTo>
                    <a:pt x="1001" y="997"/>
                  </a:moveTo>
                  <a:lnTo>
                    <a:pt x="414" y="997"/>
                  </a:lnTo>
                  <a:lnTo>
                    <a:pt x="302" y="1271"/>
                  </a:lnTo>
                  <a:lnTo>
                    <a:pt x="0" y="1271"/>
                  </a:lnTo>
                  <a:lnTo>
                    <a:pt x="565" y="0"/>
                  </a:lnTo>
                  <a:lnTo>
                    <a:pt x="856" y="0"/>
                  </a:lnTo>
                  <a:lnTo>
                    <a:pt x="1421" y="1271"/>
                  </a:lnTo>
                  <a:lnTo>
                    <a:pt x="1113" y="1271"/>
                  </a:lnTo>
                  <a:lnTo>
                    <a:pt x="1001" y="997"/>
                  </a:lnTo>
                  <a:close/>
                  <a:moveTo>
                    <a:pt x="912" y="772"/>
                  </a:moveTo>
                  <a:lnTo>
                    <a:pt x="711" y="285"/>
                  </a:lnTo>
                  <a:lnTo>
                    <a:pt x="509" y="772"/>
                  </a:lnTo>
                  <a:lnTo>
                    <a:pt x="912" y="7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8" name="Freeform 11">
              <a:extLst>
                <a:ext uri="{FF2B5EF4-FFF2-40B4-BE49-F238E27FC236}">
                  <a16:creationId xmlns:a16="http://schemas.microsoft.com/office/drawing/2014/main" id="{00BE2503-A57F-CE44-8476-8CBC32F4C4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54813" y="3290888"/>
              <a:ext cx="398462" cy="457200"/>
            </a:xfrm>
            <a:custGeom>
              <a:avLst/>
              <a:gdLst>
                <a:gd name="T0" fmla="*/ 408 w 1109"/>
                <a:gd name="T1" fmla="*/ 240 h 1272"/>
                <a:gd name="T2" fmla="*/ 0 w 1109"/>
                <a:gd name="T3" fmla="*/ 240 h 1272"/>
                <a:gd name="T4" fmla="*/ 0 w 1109"/>
                <a:gd name="T5" fmla="*/ 0 h 1272"/>
                <a:gd name="T6" fmla="*/ 1108 w 1109"/>
                <a:gd name="T7" fmla="*/ 0 h 1272"/>
                <a:gd name="T8" fmla="*/ 1108 w 1109"/>
                <a:gd name="T9" fmla="*/ 240 h 1272"/>
                <a:gd name="T10" fmla="*/ 699 w 1109"/>
                <a:gd name="T11" fmla="*/ 240 h 1272"/>
                <a:gd name="T12" fmla="*/ 699 w 1109"/>
                <a:gd name="T13" fmla="*/ 1271 h 1272"/>
                <a:gd name="T14" fmla="*/ 408 w 1109"/>
                <a:gd name="T15" fmla="*/ 1271 h 1272"/>
                <a:gd name="T16" fmla="*/ 408 w 1109"/>
                <a:gd name="T17" fmla="*/ 24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9" h="1272">
                  <a:moveTo>
                    <a:pt x="408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108" y="0"/>
                  </a:lnTo>
                  <a:lnTo>
                    <a:pt x="1108" y="240"/>
                  </a:lnTo>
                  <a:lnTo>
                    <a:pt x="699" y="240"/>
                  </a:lnTo>
                  <a:lnTo>
                    <a:pt x="699" y="1271"/>
                  </a:lnTo>
                  <a:lnTo>
                    <a:pt x="408" y="1271"/>
                  </a:lnTo>
                  <a:lnTo>
                    <a:pt x="408" y="24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9" name="Freeform 12">
              <a:extLst>
                <a:ext uri="{FF2B5EF4-FFF2-40B4-BE49-F238E27FC236}">
                  <a16:creationId xmlns:a16="http://schemas.microsoft.com/office/drawing/2014/main" id="{D7C14B3F-287B-0042-B9F2-01B1E8589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0425" y="3290888"/>
              <a:ext cx="106363" cy="457200"/>
            </a:xfrm>
            <a:custGeom>
              <a:avLst/>
              <a:gdLst>
                <a:gd name="T0" fmla="*/ 0 w 297"/>
                <a:gd name="T1" fmla="*/ 0 h 1272"/>
                <a:gd name="T2" fmla="*/ 296 w 297"/>
                <a:gd name="T3" fmla="*/ 0 h 1272"/>
                <a:gd name="T4" fmla="*/ 296 w 297"/>
                <a:gd name="T5" fmla="*/ 1271 h 1272"/>
                <a:gd name="T6" fmla="*/ 0 w 297"/>
                <a:gd name="T7" fmla="*/ 1271 h 1272"/>
                <a:gd name="T8" fmla="*/ 0 w 297"/>
                <a:gd name="T9" fmla="*/ 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7" h="1272">
                  <a:moveTo>
                    <a:pt x="0" y="0"/>
                  </a:moveTo>
                  <a:lnTo>
                    <a:pt x="296" y="0"/>
                  </a:lnTo>
                  <a:lnTo>
                    <a:pt x="296" y="1271"/>
                  </a:lnTo>
                  <a:lnTo>
                    <a:pt x="0" y="1271"/>
                  </a:ln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0" name="Freeform 13">
              <a:extLst>
                <a:ext uri="{FF2B5EF4-FFF2-40B4-BE49-F238E27FC236}">
                  <a16:creationId xmlns:a16="http://schemas.microsoft.com/office/drawing/2014/main" id="{BB5431F7-774B-C342-84EE-B5BC4A86CB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4575" y="3282950"/>
              <a:ext cx="500063" cy="473075"/>
            </a:xfrm>
            <a:custGeom>
              <a:avLst/>
              <a:gdLst>
                <a:gd name="T0" fmla="*/ 6 w 1389"/>
                <a:gd name="T1" fmla="*/ 589 h 1312"/>
                <a:gd name="T2" fmla="*/ 51 w 1389"/>
                <a:gd name="T3" fmla="*/ 393 h 1312"/>
                <a:gd name="T4" fmla="*/ 157 w 1389"/>
                <a:gd name="T5" fmla="*/ 230 h 1312"/>
                <a:gd name="T6" fmla="*/ 302 w 1389"/>
                <a:gd name="T7" fmla="*/ 107 h 1312"/>
                <a:gd name="T8" fmla="*/ 481 w 1389"/>
                <a:gd name="T9" fmla="*/ 28 h 1312"/>
                <a:gd name="T10" fmla="*/ 694 w 1389"/>
                <a:gd name="T11" fmla="*/ 0 h 1312"/>
                <a:gd name="T12" fmla="*/ 840 w 1389"/>
                <a:gd name="T13" fmla="*/ 12 h 1312"/>
                <a:gd name="T14" fmla="*/ 1035 w 1389"/>
                <a:gd name="T15" fmla="*/ 73 h 1312"/>
                <a:gd name="T16" fmla="*/ 1192 w 1389"/>
                <a:gd name="T17" fmla="*/ 185 h 1312"/>
                <a:gd name="T18" fmla="*/ 1309 w 1389"/>
                <a:gd name="T19" fmla="*/ 336 h 1312"/>
                <a:gd name="T20" fmla="*/ 1376 w 1389"/>
                <a:gd name="T21" fmla="*/ 521 h 1312"/>
                <a:gd name="T22" fmla="*/ 1388 w 1389"/>
                <a:gd name="T23" fmla="*/ 656 h 1312"/>
                <a:gd name="T24" fmla="*/ 1360 w 1389"/>
                <a:gd name="T25" fmla="*/ 857 h 1312"/>
                <a:gd name="T26" fmla="*/ 1276 w 1389"/>
                <a:gd name="T27" fmla="*/ 1031 h 1312"/>
                <a:gd name="T28" fmla="*/ 1141 w 1389"/>
                <a:gd name="T29" fmla="*/ 1171 h 1312"/>
                <a:gd name="T30" fmla="*/ 973 w 1389"/>
                <a:gd name="T31" fmla="*/ 1266 h 1312"/>
                <a:gd name="T32" fmla="*/ 767 w 1389"/>
                <a:gd name="T33" fmla="*/ 1311 h 1312"/>
                <a:gd name="T34" fmla="*/ 621 w 1389"/>
                <a:gd name="T35" fmla="*/ 1311 h 1312"/>
                <a:gd name="T36" fmla="*/ 420 w 1389"/>
                <a:gd name="T37" fmla="*/ 1266 h 1312"/>
                <a:gd name="T38" fmla="*/ 246 w 1389"/>
                <a:gd name="T39" fmla="*/ 1171 h 1312"/>
                <a:gd name="T40" fmla="*/ 118 w 1389"/>
                <a:gd name="T41" fmla="*/ 1031 h 1312"/>
                <a:gd name="T42" fmla="*/ 28 w 1389"/>
                <a:gd name="T43" fmla="*/ 857 h 1312"/>
                <a:gd name="T44" fmla="*/ 0 w 1389"/>
                <a:gd name="T45" fmla="*/ 656 h 1312"/>
                <a:gd name="T46" fmla="*/ 1091 w 1389"/>
                <a:gd name="T47" fmla="*/ 611 h 1312"/>
                <a:gd name="T48" fmla="*/ 1063 w 1389"/>
                <a:gd name="T49" fmla="*/ 493 h 1312"/>
                <a:gd name="T50" fmla="*/ 1001 w 1389"/>
                <a:gd name="T51" fmla="*/ 393 h 1312"/>
                <a:gd name="T52" fmla="*/ 918 w 1389"/>
                <a:gd name="T53" fmla="*/ 314 h 1312"/>
                <a:gd name="T54" fmla="*/ 817 w 1389"/>
                <a:gd name="T55" fmla="*/ 269 h 1312"/>
                <a:gd name="T56" fmla="*/ 694 w 1389"/>
                <a:gd name="T57" fmla="*/ 252 h 1312"/>
                <a:gd name="T58" fmla="*/ 616 w 1389"/>
                <a:gd name="T59" fmla="*/ 258 h 1312"/>
                <a:gd name="T60" fmla="*/ 503 w 1389"/>
                <a:gd name="T61" fmla="*/ 297 h 1312"/>
                <a:gd name="T62" fmla="*/ 414 w 1389"/>
                <a:gd name="T63" fmla="*/ 364 h 1312"/>
                <a:gd name="T64" fmla="*/ 347 w 1389"/>
                <a:gd name="T65" fmla="*/ 454 h 1312"/>
                <a:gd name="T66" fmla="*/ 308 w 1389"/>
                <a:gd name="T67" fmla="*/ 571 h 1312"/>
                <a:gd name="T68" fmla="*/ 297 w 1389"/>
                <a:gd name="T69" fmla="*/ 656 h 1312"/>
                <a:gd name="T70" fmla="*/ 313 w 1389"/>
                <a:gd name="T71" fmla="*/ 785 h 1312"/>
                <a:gd name="T72" fmla="*/ 364 w 1389"/>
                <a:gd name="T73" fmla="*/ 891 h 1312"/>
                <a:gd name="T74" fmla="*/ 442 w 1389"/>
                <a:gd name="T75" fmla="*/ 975 h 1312"/>
                <a:gd name="T76" fmla="*/ 537 w 1389"/>
                <a:gd name="T77" fmla="*/ 1031 h 1312"/>
                <a:gd name="T78" fmla="*/ 654 w 1389"/>
                <a:gd name="T79" fmla="*/ 1059 h 1312"/>
                <a:gd name="T80" fmla="*/ 739 w 1389"/>
                <a:gd name="T81" fmla="*/ 1059 h 1312"/>
                <a:gd name="T82" fmla="*/ 850 w 1389"/>
                <a:gd name="T83" fmla="*/ 1031 h 1312"/>
                <a:gd name="T84" fmla="*/ 951 w 1389"/>
                <a:gd name="T85" fmla="*/ 975 h 1312"/>
                <a:gd name="T86" fmla="*/ 1024 w 1389"/>
                <a:gd name="T87" fmla="*/ 891 h 1312"/>
                <a:gd name="T88" fmla="*/ 1074 w 1389"/>
                <a:gd name="T89" fmla="*/ 785 h 1312"/>
                <a:gd name="T90" fmla="*/ 1091 w 1389"/>
                <a:gd name="T91" fmla="*/ 656 h 1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89" h="1312">
                  <a:moveTo>
                    <a:pt x="0" y="656"/>
                  </a:moveTo>
                  <a:lnTo>
                    <a:pt x="0" y="656"/>
                  </a:lnTo>
                  <a:lnTo>
                    <a:pt x="6" y="589"/>
                  </a:lnTo>
                  <a:lnTo>
                    <a:pt x="17" y="521"/>
                  </a:lnTo>
                  <a:lnTo>
                    <a:pt x="28" y="454"/>
                  </a:lnTo>
                  <a:lnTo>
                    <a:pt x="51" y="393"/>
                  </a:lnTo>
                  <a:lnTo>
                    <a:pt x="84" y="336"/>
                  </a:lnTo>
                  <a:lnTo>
                    <a:pt x="118" y="280"/>
                  </a:lnTo>
                  <a:lnTo>
                    <a:pt x="157" y="230"/>
                  </a:lnTo>
                  <a:lnTo>
                    <a:pt x="196" y="185"/>
                  </a:lnTo>
                  <a:lnTo>
                    <a:pt x="246" y="146"/>
                  </a:lnTo>
                  <a:lnTo>
                    <a:pt x="302" y="107"/>
                  </a:lnTo>
                  <a:lnTo>
                    <a:pt x="358" y="79"/>
                  </a:lnTo>
                  <a:lnTo>
                    <a:pt x="420" y="51"/>
                  </a:lnTo>
                  <a:lnTo>
                    <a:pt x="481" y="28"/>
                  </a:lnTo>
                  <a:lnTo>
                    <a:pt x="548" y="12"/>
                  </a:lnTo>
                  <a:lnTo>
                    <a:pt x="621" y="0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767" y="0"/>
                  </a:lnTo>
                  <a:lnTo>
                    <a:pt x="840" y="12"/>
                  </a:lnTo>
                  <a:lnTo>
                    <a:pt x="906" y="28"/>
                  </a:lnTo>
                  <a:lnTo>
                    <a:pt x="973" y="51"/>
                  </a:lnTo>
                  <a:lnTo>
                    <a:pt x="1035" y="73"/>
                  </a:lnTo>
                  <a:lnTo>
                    <a:pt x="1091" y="107"/>
                  </a:lnTo>
                  <a:lnTo>
                    <a:pt x="1141" y="146"/>
                  </a:lnTo>
                  <a:lnTo>
                    <a:pt x="1192" y="185"/>
                  </a:lnTo>
                  <a:lnTo>
                    <a:pt x="1237" y="230"/>
                  </a:lnTo>
                  <a:lnTo>
                    <a:pt x="1276" y="280"/>
                  </a:lnTo>
                  <a:lnTo>
                    <a:pt x="1309" y="336"/>
                  </a:lnTo>
                  <a:lnTo>
                    <a:pt x="1337" y="393"/>
                  </a:lnTo>
                  <a:lnTo>
                    <a:pt x="1360" y="454"/>
                  </a:lnTo>
                  <a:lnTo>
                    <a:pt x="1376" y="521"/>
                  </a:lnTo>
                  <a:lnTo>
                    <a:pt x="1388" y="589"/>
                  </a:lnTo>
                  <a:lnTo>
                    <a:pt x="1388" y="656"/>
                  </a:lnTo>
                  <a:lnTo>
                    <a:pt x="1388" y="656"/>
                  </a:lnTo>
                  <a:lnTo>
                    <a:pt x="1388" y="728"/>
                  </a:lnTo>
                  <a:lnTo>
                    <a:pt x="1376" y="795"/>
                  </a:lnTo>
                  <a:lnTo>
                    <a:pt x="1360" y="857"/>
                  </a:lnTo>
                  <a:lnTo>
                    <a:pt x="1337" y="919"/>
                  </a:lnTo>
                  <a:lnTo>
                    <a:pt x="1309" y="975"/>
                  </a:lnTo>
                  <a:lnTo>
                    <a:pt x="1276" y="1031"/>
                  </a:lnTo>
                  <a:lnTo>
                    <a:pt x="1237" y="1081"/>
                  </a:lnTo>
                  <a:lnTo>
                    <a:pt x="1192" y="1126"/>
                  </a:lnTo>
                  <a:lnTo>
                    <a:pt x="1141" y="1171"/>
                  </a:lnTo>
                  <a:lnTo>
                    <a:pt x="1091" y="1204"/>
                  </a:lnTo>
                  <a:lnTo>
                    <a:pt x="1035" y="1238"/>
                  </a:lnTo>
                  <a:lnTo>
                    <a:pt x="973" y="1266"/>
                  </a:lnTo>
                  <a:lnTo>
                    <a:pt x="906" y="1283"/>
                  </a:lnTo>
                  <a:lnTo>
                    <a:pt x="840" y="1299"/>
                  </a:lnTo>
                  <a:lnTo>
                    <a:pt x="767" y="1311"/>
                  </a:lnTo>
                  <a:lnTo>
                    <a:pt x="694" y="1311"/>
                  </a:lnTo>
                  <a:lnTo>
                    <a:pt x="694" y="1311"/>
                  </a:lnTo>
                  <a:lnTo>
                    <a:pt x="621" y="1311"/>
                  </a:lnTo>
                  <a:lnTo>
                    <a:pt x="548" y="1299"/>
                  </a:lnTo>
                  <a:lnTo>
                    <a:pt x="481" y="1283"/>
                  </a:lnTo>
                  <a:lnTo>
                    <a:pt x="420" y="1266"/>
                  </a:lnTo>
                  <a:lnTo>
                    <a:pt x="358" y="1238"/>
                  </a:lnTo>
                  <a:lnTo>
                    <a:pt x="302" y="1204"/>
                  </a:lnTo>
                  <a:lnTo>
                    <a:pt x="246" y="1171"/>
                  </a:lnTo>
                  <a:lnTo>
                    <a:pt x="196" y="1126"/>
                  </a:lnTo>
                  <a:lnTo>
                    <a:pt x="157" y="1081"/>
                  </a:lnTo>
                  <a:lnTo>
                    <a:pt x="118" y="1031"/>
                  </a:lnTo>
                  <a:lnTo>
                    <a:pt x="84" y="975"/>
                  </a:lnTo>
                  <a:lnTo>
                    <a:pt x="51" y="919"/>
                  </a:lnTo>
                  <a:lnTo>
                    <a:pt x="28" y="857"/>
                  </a:lnTo>
                  <a:lnTo>
                    <a:pt x="17" y="795"/>
                  </a:lnTo>
                  <a:lnTo>
                    <a:pt x="6" y="728"/>
                  </a:lnTo>
                  <a:lnTo>
                    <a:pt x="0" y="656"/>
                  </a:lnTo>
                  <a:close/>
                  <a:moveTo>
                    <a:pt x="1091" y="656"/>
                  </a:moveTo>
                  <a:lnTo>
                    <a:pt x="1091" y="656"/>
                  </a:lnTo>
                  <a:lnTo>
                    <a:pt x="1091" y="611"/>
                  </a:lnTo>
                  <a:lnTo>
                    <a:pt x="1086" y="571"/>
                  </a:lnTo>
                  <a:lnTo>
                    <a:pt x="1074" y="526"/>
                  </a:lnTo>
                  <a:lnTo>
                    <a:pt x="1063" y="493"/>
                  </a:lnTo>
                  <a:lnTo>
                    <a:pt x="1046" y="454"/>
                  </a:lnTo>
                  <a:lnTo>
                    <a:pt x="1024" y="421"/>
                  </a:lnTo>
                  <a:lnTo>
                    <a:pt x="1001" y="393"/>
                  </a:lnTo>
                  <a:lnTo>
                    <a:pt x="979" y="364"/>
                  </a:lnTo>
                  <a:lnTo>
                    <a:pt x="951" y="336"/>
                  </a:lnTo>
                  <a:lnTo>
                    <a:pt x="918" y="314"/>
                  </a:lnTo>
                  <a:lnTo>
                    <a:pt x="890" y="297"/>
                  </a:lnTo>
                  <a:lnTo>
                    <a:pt x="850" y="280"/>
                  </a:lnTo>
                  <a:lnTo>
                    <a:pt x="817" y="269"/>
                  </a:lnTo>
                  <a:lnTo>
                    <a:pt x="777" y="258"/>
                  </a:lnTo>
                  <a:lnTo>
                    <a:pt x="739" y="252"/>
                  </a:lnTo>
                  <a:lnTo>
                    <a:pt x="694" y="252"/>
                  </a:lnTo>
                  <a:lnTo>
                    <a:pt x="694" y="252"/>
                  </a:lnTo>
                  <a:lnTo>
                    <a:pt x="654" y="252"/>
                  </a:lnTo>
                  <a:lnTo>
                    <a:pt x="616" y="258"/>
                  </a:lnTo>
                  <a:lnTo>
                    <a:pt x="576" y="269"/>
                  </a:lnTo>
                  <a:lnTo>
                    <a:pt x="537" y="280"/>
                  </a:lnTo>
                  <a:lnTo>
                    <a:pt x="503" y="297"/>
                  </a:lnTo>
                  <a:lnTo>
                    <a:pt x="470" y="314"/>
                  </a:lnTo>
                  <a:lnTo>
                    <a:pt x="442" y="336"/>
                  </a:lnTo>
                  <a:lnTo>
                    <a:pt x="414" y="364"/>
                  </a:lnTo>
                  <a:lnTo>
                    <a:pt x="386" y="393"/>
                  </a:lnTo>
                  <a:lnTo>
                    <a:pt x="364" y="421"/>
                  </a:lnTo>
                  <a:lnTo>
                    <a:pt x="347" y="454"/>
                  </a:lnTo>
                  <a:lnTo>
                    <a:pt x="330" y="493"/>
                  </a:lnTo>
                  <a:lnTo>
                    <a:pt x="313" y="526"/>
                  </a:lnTo>
                  <a:lnTo>
                    <a:pt x="308" y="571"/>
                  </a:lnTo>
                  <a:lnTo>
                    <a:pt x="302" y="611"/>
                  </a:lnTo>
                  <a:lnTo>
                    <a:pt x="297" y="656"/>
                  </a:lnTo>
                  <a:lnTo>
                    <a:pt x="297" y="656"/>
                  </a:lnTo>
                  <a:lnTo>
                    <a:pt x="302" y="700"/>
                  </a:lnTo>
                  <a:lnTo>
                    <a:pt x="308" y="745"/>
                  </a:lnTo>
                  <a:lnTo>
                    <a:pt x="313" y="785"/>
                  </a:lnTo>
                  <a:lnTo>
                    <a:pt x="330" y="824"/>
                  </a:lnTo>
                  <a:lnTo>
                    <a:pt x="347" y="857"/>
                  </a:lnTo>
                  <a:lnTo>
                    <a:pt x="364" y="891"/>
                  </a:lnTo>
                  <a:lnTo>
                    <a:pt x="386" y="925"/>
                  </a:lnTo>
                  <a:lnTo>
                    <a:pt x="414" y="953"/>
                  </a:lnTo>
                  <a:lnTo>
                    <a:pt x="442" y="975"/>
                  </a:lnTo>
                  <a:lnTo>
                    <a:pt x="470" y="997"/>
                  </a:lnTo>
                  <a:lnTo>
                    <a:pt x="503" y="1020"/>
                  </a:lnTo>
                  <a:lnTo>
                    <a:pt x="537" y="1031"/>
                  </a:lnTo>
                  <a:lnTo>
                    <a:pt x="576" y="1048"/>
                  </a:lnTo>
                  <a:lnTo>
                    <a:pt x="616" y="1053"/>
                  </a:lnTo>
                  <a:lnTo>
                    <a:pt x="654" y="1059"/>
                  </a:lnTo>
                  <a:lnTo>
                    <a:pt x="694" y="1064"/>
                  </a:lnTo>
                  <a:lnTo>
                    <a:pt x="694" y="1064"/>
                  </a:lnTo>
                  <a:lnTo>
                    <a:pt x="739" y="1059"/>
                  </a:lnTo>
                  <a:lnTo>
                    <a:pt x="777" y="1053"/>
                  </a:lnTo>
                  <a:lnTo>
                    <a:pt x="817" y="1048"/>
                  </a:lnTo>
                  <a:lnTo>
                    <a:pt x="850" y="1031"/>
                  </a:lnTo>
                  <a:lnTo>
                    <a:pt x="890" y="1020"/>
                  </a:lnTo>
                  <a:lnTo>
                    <a:pt x="918" y="997"/>
                  </a:lnTo>
                  <a:lnTo>
                    <a:pt x="951" y="975"/>
                  </a:lnTo>
                  <a:lnTo>
                    <a:pt x="979" y="953"/>
                  </a:lnTo>
                  <a:lnTo>
                    <a:pt x="1001" y="925"/>
                  </a:lnTo>
                  <a:lnTo>
                    <a:pt x="1024" y="891"/>
                  </a:lnTo>
                  <a:lnTo>
                    <a:pt x="1046" y="857"/>
                  </a:lnTo>
                  <a:lnTo>
                    <a:pt x="1063" y="824"/>
                  </a:lnTo>
                  <a:lnTo>
                    <a:pt x="1074" y="785"/>
                  </a:lnTo>
                  <a:lnTo>
                    <a:pt x="1086" y="745"/>
                  </a:lnTo>
                  <a:lnTo>
                    <a:pt x="1091" y="700"/>
                  </a:lnTo>
                  <a:lnTo>
                    <a:pt x="1091" y="6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1" name="Freeform 14">
              <a:extLst>
                <a:ext uri="{FF2B5EF4-FFF2-40B4-BE49-F238E27FC236}">
                  <a16:creationId xmlns:a16="http://schemas.microsoft.com/office/drawing/2014/main" id="{3B05B79E-C91C-A349-A830-EA1A51984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74013" y="3290888"/>
              <a:ext cx="419100" cy="457200"/>
            </a:xfrm>
            <a:custGeom>
              <a:avLst/>
              <a:gdLst>
                <a:gd name="T0" fmla="*/ 1164 w 1165"/>
                <a:gd name="T1" fmla="*/ 0 h 1272"/>
                <a:gd name="T2" fmla="*/ 1164 w 1165"/>
                <a:gd name="T3" fmla="*/ 1271 h 1272"/>
                <a:gd name="T4" fmla="*/ 923 w 1165"/>
                <a:gd name="T5" fmla="*/ 1271 h 1272"/>
                <a:gd name="T6" fmla="*/ 292 w 1165"/>
                <a:gd name="T7" fmla="*/ 498 h 1272"/>
                <a:gd name="T8" fmla="*/ 292 w 1165"/>
                <a:gd name="T9" fmla="*/ 1271 h 1272"/>
                <a:gd name="T10" fmla="*/ 0 w 1165"/>
                <a:gd name="T11" fmla="*/ 1271 h 1272"/>
                <a:gd name="T12" fmla="*/ 0 w 1165"/>
                <a:gd name="T13" fmla="*/ 0 h 1272"/>
                <a:gd name="T14" fmla="*/ 241 w 1165"/>
                <a:gd name="T15" fmla="*/ 0 h 1272"/>
                <a:gd name="T16" fmla="*/ 873 w 1165"/>
                <a:gd name="T17" fmla="*/ 767 h 1272"/>
                <a:gd name="T18" fmla="*/ 873 w 1165"/>
                <a:gd name="T19" fmla="*/ 0 h 1272"/>
                <a:gd name="T20" fmla="*/ 1164 w 1165"/>
                <a:gd name="T21" fmla="*/ 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5" h="1272">
                  <a:moveTo>
                    <a:pt x="1164" y="0"/>
                  </a:moveTo>
                  <a:lnTo>
                    <a:pt x="1164" y="1271"/>
                  </a:lnTo>
                  <a:lnTo>
                    <a:pt x="923" y="1271"/>
                  </a:lnTo>
                  <a:lnTo>
                    <a:pt x="292" y="498"/>
                  </a:lnTo>
                  <a:lnTo>
                    <a:pt x="292" y="1271"/>
                  </a:lnTo>
                  <a:lnTo>
                    <a:pt x="0" y="1271"/>
                  </a:lnTo>
                  <a:lnTo>
                    <a:pt x="0" y="0"/>
                  </a:lnTo>
                  <a:lnTo>
                    <a:pt x="241" y="0"/>
                  </a:lnTo>
                  <a:lnTo>
                    <a:pt x="873" y="767"/>
                  </a:lnTo>
                  <a:lnTo>
                    <a:pt x="873" y="0"/>
                  </a:lnTo>
                  <a:lnTo>
                    <a:pt x="1164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2" name="Freeform 15">
              <a:extLst>
                <a:ext uri="{FF2B5EF4-FFF2-40B4-BE49-F238E27FC236}">
                  <a16:creationId xmlns:a16="http://schemas.microsoft.com/office/drawing/2014/main" id="{1833AD81-CD91-4242-B216-2CCFC2DF37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6750" y="3846513"/>
              <a:ext cx="514350" cy="458787"/>
            </a:xfrm>
            <a:custGeom>
              <a:avLst/>
              <a:gdLst>
                <a:gd name="T0" fmla="*/ 1153 w 1428"/>
                <a:gd name="T1" fmla="*/ 1272 h 1273"/>
                <a:gd name="T2" fmla="*/ 1153 w 1428"/>
                <a:gd name="T3" fmla="*/ 510 h 1273"/>
                <a:gd name="T4" fmla="*/ 778 w 1428"/>
                <a:gd name="T5" fmla="*/ 1137 h 1273"/>
                <a:gd name="T6" fmla="*/ 643 w 1428"/>
                <a:gd name="T7" fmla="*/ 1137 h 1273"/>
                <a:gd name="T8" fmla="*/ 274 w 1428"/>
                <a:gd name="T9" fmla="*/ 522 h 1273"/>
                <a:gd name="T10" fmla="*/ 274 w 1428"/>
                <a:gd name="T11" fmla="*/ 1272 h 1273"/>
                <a:gd name="T12" fmla="*/ 0 w 1428"/>
                <a:gd name="T13" fmla="*/ 1272 h 1273"/>
                <a:gd name="T14" fmla="*/ 0 w 1428"/>
                <a:gd name="T15" fmla="*/ 0 h 1273"/>
                <a:gd name="T16" fmla="*/ 241 w 1428"/>
                <a:gd name="T17" fmla="*/ 0 h 1273"/>
                <a:gd name="T18" fmla="*/ 716 w 1428"/>
                <a:gd name="T19" fmla="*/ 790 h 1273"/>
                <a:gd name="T20" fmla="*/ 1181 w 1428"/>
                <a:gd name="T21" fmla="*/ 0 h 1273"/>
                <a:gd name="T22" fmla="*/ 1427 w 1428"/>
                <a:gd name="T23" fmla="*/ 0 h 1273"/>
                <a:gd name="T24" fmla="*/ 1427 w 1428"/>
                <a:gd name="T25" fmla="*/ 1272 h 1273"/>
                <a:gd name="T26" fmla="*/ 1153 w 1428"/>
                <a:gd name="T27" fmla="*/ 1272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28" h="1273">
                  <a:moveTo>
                    <a:pt x="1153" y="1272"/>
                  </a:moveTo>
                  <a:lnTo>
                    <a:pt x="1153" y="510"/>
                  </a:lnTo>
                  <a:lnTo>
                    <a:pt x="778" y="1137"/>
                  </a:lnTo>
                  <a:lnTo>
                    <a:pt x="643" y="1137"/>
                  </a:lnTo>
                  <a:lnTo>
                    <a:pt x="274" y="522"/>
                  </a:lnTo>
                  <a:lnTo>
                    <a:pt x="274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241" y="0"/>
                  </a:lnTo>
                  <a:lnTo>
                    <a:pt x="716" y="790"/>
                  </a:lnTo>
                  <a:lnTo>
                    <a:pt x="1181" y="0"/>
                  </a:lnTo>
                  <a:lnTo>
                    <a:pt x="1427" y="0"/>
                  </a:lnTo>
                  <a:lnTo>
                    <a:pt x="1427" y="1272"/>
                  </a:lnTo>
                  <a:lnTo>
                    <a:pt x="1153" y="1272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3" name="Freeform 16">
              <a:extLst>
                <a:ext uri="{FF2B5EF4-FFF2-40B4-BE49-F238E27FC236}">
                  <a16:creationId xmlns:a16="http://schemas.microsoft.com/office/drawing/2014/main" id="{2F538A04-C815-6F46-A95C-FAC61427EE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8725" y="3846513"/>
              <a:ext cx="514350" cy="458787"/>
            </a:xfrm>
            <a:custGeom>
              <a:avLst/>
              <a:gdLst>
                <a:gd name="T0" fmla="*/ 1001 w 1427"/>
                <a:gd name="T1" fmla="*/ 997 h 1273"/>
                <a:gd name="T2" fmla="*/ 414 w 1427"/>
                <a:gd name="T3" fmla="*/ 997 h 1273"/>
                <a:gd name="T4" fmla="*/ 302 w 1427"/>
                <a:gd name="T5" fmla="*/ 1272 h 1273"/>
                <a:gd name="T6" fmla="*/ 0 w 1427"/>
                <a:gd name="T7" fmla="*/ 1272 h 1273"/>
                <a:gd name="T8" fmla="*/ 565 w 1427"/>
                <a:gd name="T9" fmla="*/ 0 h 1273"/>
                <a:gd name="T10" fmla="*/ 856 w 1427"/>
                <a:gd name="T11" fmla="*/ 0 h 1273"/>
                <a:gd name="T12" fmla="*/ 1426 w 1427"/>
                <a:gd name="T13" fmla="*/ 1272 h 1273"/>
                <a:gd name="T14" fmla="*/ 1119 w 1427"/>
                <a:gd name="T15" fmla="*/ 1272 h 1273"/>
                <a:gd name="T16" fmla="*/ 1001 w 1427"/>
                <a:gd name="T17" fmla="*/ 997 h 1273"/>
                <a:gd name="T18" fmla="*/ 912 w 1427"/>
                <a:gd name="T19" fmla="*/ 773 h 1273"/>
                <a:gd name="T20" fmla="*/ 710 w 1427"/>
                <a:gd name="T21" fmla="*/ 286 h 1273"/>
                <a:gd name="T22" fmla="*/ 509 w 1427"/>
                <a:gd name="T23" fmla="*/ 773 h 1273"/>
                <a:gd name="T24" fmla="*/ 912 w 1427"/>
                <a:gd name="T25" fmla="*/ 773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7" h="1273">
                  <a:moveTo>
                    <a:pt x="1001" y="997"/>
                  </a:moveTo>
                  <a:lnTo>
                    <a:pt x="414" y="997"/>
                  </a:lnTo>
                  <a:lnTo>
                    <a:pt x="302" y="1272"/>
                  </a:lnTo>
                  <a:lnTo>
                    <a:pt x="0" y="1272"/>
                  </a:lnTo>
                  <a:lnTo>
                    <a:pt x="565" y="0"/>
                  </a:lnTo>
                  <a:lnTo>
                    <a:pt x="856" y="0"/>
                  </a:lnTo>
                  <a:lnTo>
                    <a:pt x="1426" y="1272"/>
                  </a:lnTo>
                  <a:lnTo>
                    <a:pt x="1119" y="1272"/>
                  </a:lnTo>
                  <a:lnTo>
                    <a:pt x="1001" y="997"/>
                  </a:lnTo>
                  <a:close/>
                  <a:moveTo>
                    <a:pt x="912" y="773"/>
                  </a:moveTo>
                  <a:lnTo>
                    <a:pt x="710" y="286"/>
                  </a:lnTo>
                  <a:lnTo>
                    <a:pt x="509" y="773"/>
                  </a:lnTo>
                  <a:lnTo>
                    <a:pt x="912" y="7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" name="Freeform 17">
              <a:extLst>
                <a:ext uri="{FF2B5EF4-FFF2-40B4-BE49-F238E27FC236}">
                  <a16:creationId xmlns:a16="http://schemas.microsoft.com/office/drawing/2014/main" id="{38546D6E-7A92-F54D-BB4E-A4E485BEB8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113" y="3846513"/>
              <a:ext cx="419100" cy="458787"/>
            </a:xfrm>
            <a:custGeom>
              <a:avLst/>
              <a:gdLst>
                <a:gd name="T0" fmla="*/ 1164 w 1165"/>
                <a:gd name="T1" fmla="*/ 0 h 1273"/>
                <a:gd name="T2" fmla="*/ 1164 w 1165"/>
                <a:gd name="T3" fmla="*/ 1272 h 1273"/>
                <a:gd name="T4" fmla="*/ 924 w 1165"/>
                <a:gd name="T5" fmla="*/ 1272 h 1273"/>
                <a:gd name="T6" fmla="*/ 291 w 1165"/>
                <a:gd name="T7" fmla="*/ 499 h 1273"/>
                <a:gd name="T8" fmla="*/ 291 w 1165"/>
                <a:gd name="T9" fmla="*/ 1272 h 1273"/>
                <a:gd name="T10" fmla="*/ 0 w 1165"/>
                <a:gd name="T11" fmla="*/ 1272 h 1273"/>
                <a:gd name="T12" fmla="*/ 0 w 1165"/>
                <a:gd name="T13" fmla="*/ 0 h 1273"/>
                <a:gd name="T14" fmla="*/ 246 w 1165"/>
                <a:gd name="T15" fmla="*/ 0 h 1273"/>
                <a:gd name="T16" fmla="*/ 873 w 1165"/>
                <a:gd name="T17" fmla="*/ 773 h 1273"/>
                <a:gd name="T18" fmla="*/ 873 w 1165"/>
                <a:gd name="T19" fmla="*/ 0 h 1273"/>
                <a:gd name="T20" fmla="*/ 1164 w 1165"/>
                <a:gd name="T21" fmla="*/ 0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5" h="1273">
                  <a:moveTo>
                    <a:pt x="1164" y="0"/>
                  </a:moveTo>
                  <a:lnTo>
                    <a:pt x="1164" y="1272"/>
                  </a:lnTo>
                  <a:lnTo>
                    <a:pt x="924" y="1272"/>
                  </a:lnTo>
                  <a:lnTo>
                    <a:pt x="291" y="499"/>
                  </a:lnTo>
                  <a:lnTo>
                    <a:pt x="291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246" y="0"/>
                  </a:lnTo>
                  <a:lnTo>
                    <a:pt x="873" y="773"/>
                  </a:lnTo>
                  <a:lnTo>
                    <a:pt x="873" y="0"/>
                  </a:lnTo>
                  <a:lnTo>
                    <a:pt x="1164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" name="Freeform 18">
              <a:extLst>
                <a:ext uri="{FF2B5EF4-FFF2-40B4-BE49-F238E27FC236}">
                  <a16:creationId xmlns:a16="http://schemas.microsoft.com/office/drawing/2014/main" id="{00C1676D-184A-7646-8F8E-783EC87419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838" y="3846513"/>
              <a:ext cx="514350" cy="458787"/>
            </a:xfrm>
            <a:custGeom>
              <a:avLst/>
              <a:gdLst>
                <a:gd name="T0" fmla="*/ 1007 w 1428"/>
                <a:gd name="T1" fmla="*/ 997 h 1273"/>
                <a:gd name="T2" fmla="*/ 414 w 1428"/>
                <a:gd name="T3" fmla="*/ 997 h 1273"/>
                <a:gd name="T4" fmla="*/ 302 w 1428"/>
                <a:gd name="T5" fmla="*/ 1272 h 1273"/>
                <a:gd name="T6" fmla="*/ 0 w 1428"/>
                <a:gd name="T7" fmla="*/ 1272 h 1273"/>
                <a:gd name="T8" fmla="*/ 565 w 1428"/>
                <a:gd name="T9" fmla="*/ 0 h 1273"/>
                <a:gd name="T10" fmla="*/ 856 w 1428"/>
                <a:gd name="T11" fmla="*/ 0 h 1273"/>
                <a:gd name="T12" fmla="*/ 1427 w 1428"/>
                <a:gd name="T13" fmla="*/ 1272 h 1273"/>
                <a:gd name="T14" fmla="*/ 1119 w 1428"/>
                <a:gd name="T15" fmla="*/ 1272 h 1273"/>
                <a:gd name="T16" fmla="*/ 1007 w 1428"/>
                <a:gd name="T17" fmla="*/ 997 h 1273"/>
                <a:gd name="T18" fmla="*/ 912 w 1428"/>
                <a:gd name="T19" fmla="*/ 773 h 1273"/>
                <a:gd name="T20" fmla="*/ 711 w 1428"/>
                <a:gd name="T21" fmla="*/ 286 h 1273"/>
                <a:gd name="T22" fmla="*/ 510 w 1428"/>
                <a:gd name="T23" fmla="*/ 773 h 1273"/>
                <a:gd name="T24" fmla="*/ 912 w 1428"/>
                <a:gd name="T25" fmla="*/ 773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8" h="1273">
                  <a:moveTo>
                    <a:pt x="1007" y="997"/>
                  </a:moveTo>
                  <a:lnTo>
                    <a:pt x="414" y="997"/>
                  </a:lnTo>
                  <a:lnTo>
                    <a:pt x="302" y="1272"/>
                  </a:lnTo>
                  <a:lnTo>
                    <a:pt x="0" y="1272"/>
                  </a:lnTo>
                  <a:lnTo>
                    <a:pt x="565" y="0"/>
                  </a:lnTo>
                  <a:lnTo>
                    <a:pt x="856" y="0"/>
                  </a:lnTo>
                  <a:lnTo>
                    <a:pt x="1427" y="1272"/>
                  </a:lnTo>
                  <a:lnTo>
                    <a:pt x="1119" y="1272"/>
                  </a:lnTo>
                  <a:lnTo>
                    <a:pt x="1007" y="997"/>
                  </a:lnTo>
                  <a:close/>
                  <a:moveTo>
                    <a:pt x="912" y="773"/>
                  </a:moveTo>
                  <a:lnTo>
                    <a:pt x="711" y="286"/>
                  </a:lnTo>
                  <a:lnTo>
                    <a:pt x="510" y="773"/>
                  </a:lnTo>
                  <a:lnTo>
                    <a:pt x="912" y="7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6" name="Freeform 19">
              <a:extLst>
                <a:ext uri="{FF2B5EF4-FFF2-40B4-BE49-F238E27FC236}">
                  <a16:creationId xmlns:a16="http://schemas.microsoft.com/office/drawing/2014/main" id="{3B9AE9FE-A4F0-E14E-979C-C4EA4F78F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1300" y="3838575"/>
              <a:ext cx="442913" cy="474663"/>
            </a:xfrm>
            <a:custGeom>
              <a:avLst/>
              <a:gdLst>
                <a:gd name="T0" fmla="*/ 1203 w 1232"/>
                <a:gd name="T1" fmla="*/ 639 h 1318"/>
                <a:gd name="T2" fmla="*/ 1203 w 1232"/>
                <a:gd name="T3" fmla="*/ 1154 h 1318"/>
                <a:gd name="T4" fmla="*/ 1091 w 1232"/>
                <a:gd name="T5" fmla="*/ 1221 h 1318"/>
                <a:gd name="T6" fmla="*/ 962 w 1232"/>
                <a:gd name="T7" fmla="*/ 1272 h 1318"/>
                <a:gd name="T8" fmla="*/ 829 w 1232"/>
                <a:gd name="T9" fmla="*/ 1305 h 1318"/>
                <a:gd name="T10" fmla="*/ 694 w 1232"/>
                <a:gd name="T11" fmla="*/ 1317 h 1318"/>
                <a:gd name="T12" fmla="*/ 621 w 1232"/>
                <a:gd name="T13" fmla="*/ 1311 h 1318"/>
                <a:gd name="T14" fmla="*/ 482 w 1232"/>
                <a:gd name="T15" fmla="*/ 1288 h 1318"/>
                <a:gd name="T16" fmla="*/ 353 w 1232"/>
                <a:gd name="T17" fmla="*/ 1238 h 1318"/>
                <a:gd name="T18" fmla="*/ 246 w 1232"/>
                <a:gd name="T19" fmla="*/ 1171 h 1318"/>
                <a:gd name="T20" fmla="*/ 151 w 1232"/>
                <a:gd name="T21" fmla="*/ 1081 h 1318"/>
                <a:gd name="T22" fmla="*/ 79 w 1232"/>
                <a:gd name="T23" fmla="*/ 981 h 1318"/>
                <a:gd name="T24" fmla="*/ 28 w 1232"/>
                <a:gd name="T25" fmla="*/ 857 h 1318"/>
                <a:gd name="T26" fmla="*/ 6 w 1232"/>
                <a:gd name="T27" fmla="*/ 728 h 1318"/>
                <a:gd name="T28" fmla="*/ 0 w 1232"/>
                <a:gd name="T29" fmla="*/ 655 h 1318"/>
                <a:gd name="T30" fmla="*/ 12 w 1232"/>
                <a:gd name="T31" fmla="*/ 521 h 1318"/>
                <a:gd name="T32" fmla="*/ 51 w 1232"/>
                <a:gd name="T33" fmla="*/ 392 h 1318"/>
                <a:gd name="T34" fmla="*/ 113 w 1232"/>
                <a:gd name="T35" fmla="*/ 280 h 1318"/>
                <a:gd name="T36" fmla="*/ 196 w 1232"/>
                <a:gd name="T37" fmla="*/ 185 h 1318"/>
                <a:gd name="T38" fmla="*/ 297 w 1232"/>
                <a:gd name="T39" fmla="*/ 107 h 1318"/>
                <a:gd name="T40" fmla="*/ 420 w 1232"/>
                <a:gd name="T41" fmla="*/ 50 h 1318"/>
                <a:gd name="T42" fmla="*/ 554 w 1232"/>
                <a:gd name="T43" fmla="*/ 12 h 1318"/>
                <a:gd name="T44" fmla="*/ 700 w 1232"/>
                <a:gd name="T45" fmla="*/ 0 h 1318"/>
                <a:gd name="T46" fmla="*/ 778 w 1232"/>
                <a:gd name="T47" fmla="*/ 6 h 1318"/>
                <a:gd name="T48" fmla="*/ 929 w 1232"/>
                <a:gd name="T49" fmla="*/ 34 h 1318"/>
                <a:gd name="T50" fmla="*/ 1063 w 1232"/>
                <a:gd name="T51" fmla="*/ 90 h 1318"/>
                <a:gd name="T52" fmla="*/ 1181 w 1232"/>
                <a:gd name="T53" fmla="*/ 168 h 1318"/>
                <a:gd name="T54" fmla="*/ 1041 w 1232"/>
                <a:gd name="T55" fmla="*/ 392 h 1318"/>
                <a:gd name="T56" fmla="*/ 1007 w 1232"/>
                <a:gd name="T57" fmla="*/ 358 h 1318"/>
                <a:gd name="T58" fmla="*/ 929 w 1232"/>
                <a:gd name="T59" fmla="*/ 303 h 1318"/>
                <a:gd name="T60" fmla="*/ 851 w 1232"/>
                <a:gd name="T61" fmla="*/ 269 h 1318"/>
                <a:gd name="T62" fmla="*/ 761 w 1232"/>
                <a:gd name="T63" fmla="*/ 252 h 1318"/>
                <a:gd name="T64" fmla="*/ 711 w 1232"/>
                <a:gd name="T65" fmla="*/ 252 h 1318"/>
                <a:gd name="T66" fmla="*/ 621 w 1232"/>
                <a:gd name="T67" fmla="*/ 258 h 1318"/>
                <a:gd name="T68" fmla="*/ 543 w 1232"/>
                <a:gd name="T69" fmla="*/ 280 h 1318"/>
                <a:gd name="T70" fmla="*/ 470 w 1232"/>
                <a:gd name="T71" fmla="*/ 314 h 1318"/>
                <a:gd name="T72" fmla="*/ 414 w 1232"/>
                <a:gd name="T73" fmla="*/ 364 h 1318"/>
                <a:gd name="T74" fmla="*/ 364 w 1232"/>
                <a:gd name="T75" fmla="*/ 420 h 1318"/>
                <a:gd name="T76" fmla="*/ 325 w 1232"/>
                <a:gd name="T77" fmla="*/ 493 h 1318"/>
                <a:gd name="T78" fmla="*/ 303 w 1232"/>
                <a:gd name="T79" fmla="*/ 571 h 1318"/>
                <a:gd name="T80" fmla="*/ 297 w 1232"/>
                <a:gd name="T81" fmla="*/ 655 h 1318"/>
                <a:gd name="T82" fmla="*/ 297 w 1232"/>
                <a:gd name="T83" fmla="*/ 700 h 1318"/>
                <a:gd name="T84" fmla="*/ 314 w 1232"/>
                <a:gd name="T85" fmla="*/ 785 h 1318"/>
                <a:gd name="T86" fmla="*/ 341 w 1232"/>
                <a:gd name="T87" fmla="*/ 857 h 1318"/>
                <a:gd name="T88" fmla="*/ 387 w 1232"/>
                <a:gd name="T89" fmla="*/ 918 h 1318"/>
                <a:gd name="T90" fmla="*/ 442 w 1232"/>
                <a:gd name="T91" fmla="*/ 975 h 1318"/>
                <a:gd name="T92" fmla="*/ 504 w 1232"/>
                <a:gd name="T93" fmla="*/ 1019 h 1318"/>
                <a:gd name="T94" fmla="*/ 582 w 1232"/>
                <a:gd name="T95" fmla="*/ 1048 h 1318"/>
                <a:gd name="T96" fmla="*/ 666 w 1232"/>
                <a:gd name="T97" fmla="*/ 1059 h 1318"/>
                <a:gd name="T98" fmla="*/ 711 w 1232"/>
                <a:gd name="T99" fmla="*/ 1064 h 1318"/>
                <a:gd name="T100" fmla="*/ 823 w 1232"/>
                <a:gd name="T101" fmla="*/ 1053 h 1318"/>
                <a:gd name="T102" fmla="*/ 934 w 1232"/>
                <a:gd name="T103" fmla="*/ 1008 h 1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32" h="1318">
                  <a:moveTo>
                    <a:pt x="934" y="639"/>
                  </a:moveTo>
                  <a:lnTo>
                    <a:pt x="1203" y="639"/>
                  </a:lnTo>
                  <a:lnTo>
                    <a:pt x="1203" y="1154"/>
                  </a:lnTo>
                  <a:lnTo>
                    <a:pt x="1203" y="1154"/>
                  </a:lnTo>
                  <a:lnTo>
                    <a:pt x="1153" y="1187"/>
                  </a:lnTo>
                  <a:lnTo>
                    <a:pt x="1091" y="1221"/>
                  </a:lnTo>
                  <a:lnTo>
                    <a:pt x="1030" y="1249"/>
                  </a:lnTo>
                  <a:lnTo>
                    <a:pt x="962" y="1272"/>
                  </a:lnTo>
                  <a:lnTo>
                    <a:pt x="896" y="1288"/>
                  </a:lnTo>
                  <a:lnTo>
                    <a:pt x="829" y="1305"/>
                  </a:lnTo>
                  <a:lnTo>
                    <a:pt x="761" y="1311"/>
                  </a:lnTo>
                  <a:lnTo>
                    <a:pt x="694" y="1317"/>
                  </a:lnTo>
                  <a:lnTo>
                    <a:pt x="694" y="1317"/>
                  </a:lnTo>
                  <a:lnTo>
                    <a:pt x="621" y="1311"/>
                  </a:lnTo>
                  <a:lnTo>
                    <a:pt x="549" y="1299"/>
                  </a:lnTo>
                  <a:lnTo>
                    <a:pt x="482" y="1288"/>
                  </a:lnTo>
                  <a:lnTo>
                    <a:pt x="414" y="1266"/>
                  </a:lnTo>
                  <a:lnTo>
                    <a:pt x="353" y="1238"/>
                  </a:lnTo>
                  <a:lnTo>
                    <a:pt x="297" y="1204"/>
                  </a:lnTo>
                  <a:lnTo>
                    <a:pt x="246" y="1171"/>
                  </a:lnTo>
                  <a:lnTo>
                    <a:pt x="196" y="1131"/>
                  </a:lnTo>
                  <a:lnTo>
                    <a:pt x="151" y="1081"/>
                  </a:lnTo>
                  <a:lnTo>
                    <a:pt x="113" y="1031"/>
                  </a:lnTo>
                  <a:lnTo>
                    <a:pt x="79" y="981"/>
                  </a:lnTo>
                  <a:lnTo>
                    <a:pt x="51" y="918"/>
                  </a:lnTo>
                  <a:lnTo>
                    <a:pt x="28" y="857"/>
                  </a:lnTo>
                  <a:lnTo>
                    <a:pt x="12" y="795"/>
                  </a:lnTo>
                  <a:lnTo>
                    <a:pt x="6" y="728"/>
                  </a:lnTo>
                  <a:lnTo>
                    <a:pt x="0" y="655"/>
                  </a:lnTo>
                  <a:lnTo>
                    <a:pt x="0" y="655"/>
                  </a:lnTo>
                  <a:lnTo>
                    <a:pt x="6" y="588"/>
                  </a:lnTo>
                  <a:lnTo>
                    <a:pt x="12" y="521"/>
                  </a:lnTo>
                  <a:lnTo>
                    <a:pt x="28" y="454"/>
                  </a:lnTo>
                  <a:lnTo>
                    <a:pt x="51" y="392"/>
                  </a:lnTo>
                  <a:lnTo>
                    <a:pt x="79" y="336"/>
                  </a:lnTo>
                  <a:lnTo>
                    <a:pt x="113" y="280"/>
                  </a:lnTo>
                  <a:lnTo>
                    <a:pt x="151" y="230"/>
                  </a:lnTo>
                  <a:lnTo>
                    <a:pt x="196" y="185"/>
                  </a:lnTo>
                  <a:lnTo>
                    <a:pt x="246" y="146"/>
                  </a:lnTo>
                  <a:lnTo>
                    <a:pt x="297" y="107"/>
                  </a:lnTo>
                  <a:lnTo>
                    <a:pt x="359" y="73"/>
                  </a:lnTo>
                  <a:lnTo>
                    <a:pt x="420" y="50"/>
                  </a:lnTo>
                  <a:lnTo>
                    <a:pt x="482" y="28"/>
                  </a:lnTo>
                  <a:lnTo>
                    <a:pt x="554" y="12"/>
                  </a:lnTo>
                  <a:lnTo>
                    <a:pt x="621" y="6"/>
                  </a:lnTo>
                  <a:lnTo>
                    <a:pt x="700" y="0"/>
                  </a:lnTo>
                  <a:lnTo>
                    <a:pt x="700" y="0"/>
                  </a:lnTo>
                  <a:lnTo>
                    <a:pt x="778" y="6"/>
                  </a:lnTo>
                  <a:lnTo>
                    <a:pt x="856" y="12"/>
                  </a:lnTo>
                  <a:lnTo>
                    <a:pt x="929" y="34"/>
                  </a:lnTo>
                  <a:lnTo>
                    <a:pt x="1002" y="56"/>
                  </a:lnTo>
                  <a:lnTo>
                    <a:pt x="1063" y="90"/>
                  </a:lnTo>
                  <a:lnTo>
                    <a:pt x="1125" y="123"/>
                  </a:lnTo>
                  <a:lnTo>
                    <a:pt x="1181" y="168"/>
                  </a:lnTo>
                  <a:lnTo>
                    <a:pt x="1231" y="218"/>
                  </a:lnTo>
                  <a:lnTo>
                    <a:pt x="1041" y="392"/>
                  </a:lnTo>
                  <a:lnTo>
                    <a:pt x="1041" y="392"/>
                  </a:lnTo>
                  <a:lnTo>
                    <a:pt x="1007" y="358"/>
                  </a:lnTo>
                  <a:lnTo>
                    <a:pt x="968" y="331"/>
                  </a:lnTo>
                  <a:lnTo>
                    <a:pt x="929" y="303"/>
                  </a:lnTo>
                  <a:lnTo>
                    <a:pt x="890" y="285"/>
                  </a:lnTo>
                  <a:lnTo>
                    <a:pt x="851" y="269"/>
                  </a:lnTo>
                  <a:lnTo>
                    <a:pt x="806" y="258"/>
                  </a:lnTo>
                  <a:lnTo>
                    <a:pt x="761" y="252"/>
                  </a:lnTo>
                  <a:lnTo>
                    <a:pt x="711" y="252"/>
                  </a:lnTo>
                  <a:lnTo>
                    <a:pt x="711" y="252"/>
                  </a:lnTo>
                  <a:lnTo>
                    <a:pt x="666" y="252"/>
                  </a:lnTo>
                  <a:lnTo>
                    <a:pt x="621" y="258"/>
                  </a:lnTo>
                  <a:lnTo>
                    <a:pt x="582" y="269"/>
                  </a:lnTo>
                  <a:lnTo>
                    <a:pt x="543" y="280"/>
                  </a:lnTo>
                  <a:lnTo>
                    <a:pt x="510" y="297"/>
                  </a:lnTo>
                  <a:lnTo>
                    <a:pt x="470" y="314"/>
                  </a:lnTo>
                  <a:lnTo>
                    <a:pt x="442" y="336"/>
                  </a:lnTo>
                  <a:lnTo>
                    <a:pt x="414" y="364"/>
                  </a:lnTo>
                  <a:lnTo>
                    <a:pt x="387" y="392"/>
                  </a:lnTo>
                  <a:lnTo>
                    <a:pt x="364" y="420"/>
                  </a:lnTo>
                  <a:lnTo>
                    <a:pt x="341" y="454"/>
                  </a:lnTo>
                  <a:lnTo>
                    <a:pt x="325" y="493"/>
                  </a:lnTo>
                  <a:lnTo>
                    <a:pt x="314" y="532"/>
                  </a:lnTo>
                  <a:lnTo>
                    <a:pt x="303" y="571"/>
                  </a:lnTo>
                  <a:lnTo>
                    <a:pt x="297" y="611"/>
                  </a:lnTo>
                  <a:lnTo>
                    <a:pt x="297" y="655"/>
                  </a:lnTo>
                  <a:lnTo>
                    <a:pt x="297" y="655"/>
                  </a:lnTo>
                  <a:lnTo>
                    <a:pt x="297" y="700"/>
                  </a:lnTo>
                  <a:lnTo>
                    <a:pt x="303" y="745"/>
                  </a:lnTo>
                  <a:lnTo>
                    <a:pt x="314" y="785"/>
                  </a:lnTo>
                  <a:lnTo>
                    <a:pt x="325" y="818"/>
                  </a:lnTo>
                  <a:lnTo>
                    <a:pt x="341" y="857"/>
                  </a:lnTo>
                  <a:lnTo>
                    <a:pt x="364" y="890"/>
                  </a:lnTo>
                  <a:lnTo>
                    <a:pt x="387" y="918"/>
                  </a:lnTo>
                  <a:lnTo>
                    <a:pt x="414" y="947"/>
                  </a:lnTo>
                  <a:lnTo>
                    <a:pt x="442" y="975"/>
                  </a:lnTo>
                  <a:lnTo>
                    <a:pt x="470" y="997"/>
                  </a:lnTo>
                  <a:lnTo>
                    <a:pt x="504" y="1019"/>
                  </a:lnTo>
                  <a:lnTo>
                    <a:pt x="543" y="1031"/>
                  </a:lnTo>
                  <a:lnTo>
                    <a:pt x="582" y="1048"/>
                  </a:lnTo>
                  <a:lnTo>
                    <a:pt x="621" y="1053"/>
                  </a:lnTo>
                  <a:lnTo>
                    <a:pt x="666" y="1059"/>
                  </a:lnTo>
                  <a:lnTo>
                    <a:pt x="711" y="1064"/>
                  </a:lnTo>
                  <a:lnTo>
                    <a:pt x="711" y="1064"/>
                  </a:lnTo>
                  <a:lnTo>
                    <a:pt x="767" y="1059"/>
                  </a:lnTo>
                  <a:lnTo>
                    <a:pt x="823" y="1053"/>
                  </a:lnTo>
                  <a:lnTo>
                    <a:pt x="879" y="1036"/>
                  </a:lnTo>
                  <a:lnTo>
                    <a:pt x="934" y="1008"/>
                  </a:lnTo>
                  <a:lnTo>
                    <a:pt x="934" y="639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7" name="Freeform 20">
              <a:extLst>
                <a:ext uri="{FF2B5EF4-FFF2-40B4-BE49-F238E27FC236}">
                  <a16:creationId xmlns:a16="http://schemas.microsoft.com/office/drawing/2014/main" id="{141C39A2-3F64-2B4F-A318-8A6F50060B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3113" y="3846513"/>
              <a:ext cx="355600" cy="458787"/>
            </a:xfrm>
            <a:custGeom>
              <a:avLst/>
              <a:gdLst>
                <a:gd name="T0" fmla="*/ 985 w 986"/>
                <a:gd name="T1" fmla="*/ 1037 h 1273"/>
                <a:gd name="T2" fmla="*/ 985 w 986"/>
                <a:gd name="T3" fmla="*/ 1272 h 1273"/>
                <a:gd name="T4" fmla="*/ 0 w 986"/>
                <a:gd name="T5" fmla="*/ 1272 h 1273"/>
                <a:gd name="T6" fmla="*/ 0 w 986"/>
                <a:gd name="T7" fmla="*/ 0 h 1273"/>
                <a:gd name="T8" fmla="*/ 957 w 986"/>
                <a:gd name="T9" fmla="*/ 0 h 1273"/>
                <a:gd name="T10" fmla="*/ 957 w 986"/>
                <a:gd name="T11" fmla="*/ 236 h 1273"/>
                <a:gd name="T12" fmla="*/ 291 w 986"/>
                <a:gd name="T13" fmla="*/ 236 h 1273"/>
                <a:gd name="T14" fmla="*/ 291 w 986"/>
                <a:gd name="T15" fmla="*/ 510 h 1273"/>
                <a:gd name="T16" fmla="*/ 879 w 986"/>
                <a:gd name="T17" fmla="*/ 510 h 1273"/>
                <a:gd name="T18" fmla="*/ 879 w 986"/>
                <a:gd name="T19" fmla="*/ 740 h 1273"/>
                <a:gd name="T20" fmla="*/ 291 w 986"/>
                <a:gd name="T21" fmla="*/ 740 h 1273"/>
                <a:gd name="T22" fmla="*/ 291 w 986"/>
                <a:gd name="T23" fmla="*/ 1037 h 1273"/>
                <a:gd name="T24" fmla="*/ 985 w 986"/>
                <a:gd name="T25" fmla="*/ 1037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86" h="1273">
                  <a:moveTo>
                    <a:pt x="985" y="1037"/>
                  </a:moveTo>
                  <a:lnTo>
                    <a:pt x="985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957" y="0"/>
                  </a:lnTo>
                  <a:lnTo>
                    <a:pt x="957" y="236"/>
                  </a:lnTo>
                  <a:lnTo>
                    <a:pt x="291" y="236"/>
                  </a:lnTo>
                  <a:lnTo>
                    <a:pt x="291" y="510"/>
                  </a:lnTo>
                  <a:lnTo>
                    <a:pt x="879" y="510"/>
                  </a:lnTo>
                  <a:lnTo>
                    <a:pt x="879" y="740"/>
                  </a:lnTo>
                  <a:lnTo>
                    <a:pt x="291" y="740"/>
                  </a:lnTo>
                  <a:lnTo>
                    <a:pt x="291" y="1037"/>
                  </a:lnTo>
                  <a:lnTo>
                    <a:pt x="985" y="1037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8" name="Freeform 21">
              <a:extLst>
                <a:ext uri="{FF2B5EF4-FFF2-40B4-BE49-F238E27FC236}">
                  <a16:creationId xmlns:a16="http://schemas.microsoft.com/office/drawing/2014/main" id="{48C73637-A639-6445-867C-85BB4DA481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1263" y="3846513"/>
              <a:ext cx="515937" cy="458787"/>
            </a:xfrm>
            <a:custGeom>
              <a:avLst/>
              <a:gdLst>
                <a:gd name="T0" fmla="*/ 1157 w 1432"/>
                <a:gd name="T1" fmla="*/ 1272 h 1273"/>
                <a:gd name="T2" fmla="*/ 1157 w 1432"/>
                <a:gd name="T3" fmla="*/ 510 h 1273"/>
                <a:gd name="T4" fmla="*/ 782 w 1432"/>
                <a:gd name="T5" fmla="*/ 1137 h 1273"/>
                <a:gd name="T6" fmla="*/ 648 w 1432"/>
                <a:gd name="T7" fmla="*/ 1137 h 1273"/>
                <a:gd name="T8" fmla="*/ 279 w 1432"/>
                <a:gd name="T9" fmla="*/ 522 h 1273"/>
                <a:gd name="T10" fmla="*/ 279 w 1432"/>
                <a:gd name="T11" fmla="*/ 1272 h 1273"/>
                <a:gd name="T12" fmla="*/ 0 w 1432"/>
                <a:gd name="T13" fmla="*/ 1272 h 1273"/>
                <a:gd name="T14" fmla="*/ 0 w 1432"/>
                <a:gd name="T15" fmla="*/ 0 h 1273"/>
                <a:gd name="T16" fmla="*/ 245 w 1432"/>
                <a:gd name="T17" fmla="*/ 0 h 1273"/>
                <a:gd name="T18" fmla="*/ 721 w 1432"/>
                <a:gd name="T19" fmla="*/ 790 h 1273"/>
                <a:gd name="T20" fmla="*/ 1185 w 1432"/>
                <a:gd name="T21" fmla="*/ 0 h 1273"/>
                <a:gd name="T22" fmla="*/ 1426 w 1432"/>
                <a:gd name="T23" fmla="*/ 0 h 1273"/>
                <a:gd name="T24" fmla="*/ 1431 w 1432"/>
                <a:gd name="T25" fmla="*/ 1272 h 1273"/>
                <a:gd name="T26" fmla="*/ 1157 w 1432"/>
                <a:gd name="T27" fmla="*/ 1272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2" h="1273">
                  <a:moveTo>
                    <a:pt x="1157" y="1272"/>
                  </a:moveTo>
                  <a:lnTo>
                    <a:pt x="1157" y="510"/>
                  </a:lnTo>
                  <a:lnTo>
                    <a:pt x="782" y="1137"/>
                  </a:lnTo>
                  <a:lnTo>
                    <a:pt x="648" y="1137"/>
                  </a:lnTo>
                  <a:lnTo>
                    <a:pt x="279" y="522"/>
                  </a:lnTo>
                  <a:lnTo>
                    <a:pt x="279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245" y="0"/>
                  </a:lnTo>
                  <a:lnTo>
                    <a:pt x="721" y="790"/>
                  </a:lnTo>
                  <a:lnTo>
                    <a:pt x="1185" y="0"/>
                  </a:lnTo>
                  <a:lnTo>
                    <a:pt x="1426" y="0"/>
                  </a:lnTo>
                  <a:lnTo>
                    <a:pt x="1431" y="1272"/>
                  </a:lnTo>
                  <a:lnTo>
                    <a:pt x="1157" y="1272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9" name="Freeform 22">
              <a:extLst>
                <a:ext uri="{FF2B5EF4-FFF2-40B4-BE49-F238E27FC236}">
                  <a16:creationId xmlns:a16="http://schemas.microsoft.com/office/drawing/2014/main" id="{1CD89545-5E45-C543-934B-BD1A1CB3F0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5150" y="3846513"/>
              <a:ext cx="354013" cy="458787"/>
            </a:xfrm>
            <a:custGeom>
              <a:avLst/>
              <a:gdLst>
                <a:gd name="T0" fmla="*/ 984 w 985"/>
                <a:gd name="T1" fmla="*/ 1037 h 1273"/>
                <a:gd name="T2" fmla="*/ 984 w 985"/>
                <a:gd name="T3" fmla="*/ 1272 h 1273"/>
                <a:gd name="T4" fmla="*/ 0 w 985"/>
                <a:gd name="T5" fmla="*/ 1272 h 1273"/>
                <a:gd name="T6" fmla="*/ 0 w 985"/>
                <a:gd name="T7" fmla="*/ 0 h 1273"/>
                <a:gd name="T8" fmla="*/ 956 w 985"/>
                <a:gd name="T9" fmla="*/ 0 h 1273"/>
                <a:gd name="T10" fmla="*/ 956 w 985"/>
                <a:gd name="T11" fmla="*/ 236 h 1273"/>
                <a:gd name="T12" fmla="*/ 290 w 985"/>
                <a:gd name="T13" fmla="*/ 236 h 1273"/>
                <a:gd name="T14" fmla="*/ 290 w 985"/>
                <a:gd name="T15" fmla="*/ 510 h 1273"/>
                <a:gd name="T16" fmla="*/ 878 w 985"/>
                <a:gd name="T17" fmla="*/ 510 h 1273"/>
                <a:gd name="T18" fmla="*/ 878 w 985"/>
                <a:gd name="T19" fmla="*/ 740 h 1273"/>
                <a:gd name="T20" fmla="*/ 290 w 985"/>
                <a:gd name="T21" fmla="*/ 740 h 1273"/>
                <a:gd name="T22" fmla="*/ 290 w 985"/>
                <a:gd name="T23" fmla="*/ 1037 h 1273"/>
                <a:gd name="T24" fmla="*/ 984 w 985"/>
                <a:gd name="T25" fmla="*/ 1037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85" h="1273">
                  <a:moveTo>
                    <a:pt x="984" y="1037"/>
                  </a:moveTo>
                  <a:lnTo>
                    <a:pt x="984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956" y="0"/>
                  </a:lnTo>
                  <a:lnTo>
                    <a:pt x="956" y="236"/>
                  </a:lnTo>
                  <a:lnTo>
                    <a:pt x="290" y="236"/>
                  </a:lnTo>
                  <a:lnTo>
                    <a:pt x="290" y="510"/>
                  </a:lnTo>
                  <a:lnTo>
                    <a:pt x="878" y="510"/>
                  </a:lnTo>
                  <a:lnTo>
                    <a:pt x="878" y="740"/>
                  </a:lnTo>
                  <a:lnTo>
                    <a:pt x="290" y="740"/>
                  </a:lnTo>
                  <a:lnTo>
                    <a:pt x="290" y="1037"/>
                  </a:lnTo>
                  <a:lnTo>
                    <a:pt x="984" y="1037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" name="Freeform 23">
              <a:extLst>
                <a:ext uri="{FF2B5EF4-FFF2-40B4-BE49-F238E27FC236}">
                  <a16:creationId xmlns:a16="http://schemas.microsoft.com/office/drawing/2014/main" id="{826CA446-7EB0-AD45-8E74-7976ED80C2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1713" y="3846513"/>
              <a:ext cx="419100" cy="458787"/>
            </a:xfrm>
            <a:custGeom>
              <a:avLst/>
              <a:gdLst>
                <a:gd name="T0" fmla="*/ 1163 w 1164"/>
                <a:gd name="T1" fmla="*/ 0 h 1273"/>
                <a:gd name="T2" fmla="*/ 1163 w 1164"/>
                <a:gd name="T3" fmla="*/ 1272 h 1273"/>
                <a:gd name="T4" fmla="*/ 922 w 1164"/>
                <a:gd name="T5" fmla="*/ 1272 h 1273"/>
                <a:gd name="T6" fmla="*/ 291 w 1164"/>
                <a:gd name="T7" fmla="*/ 499 h 1273"/>
                <a:gd name="T8" fmla="*/ 291 w 1164"/>
                <a:gd name="T9" fmla="*/ 1272 h 1273"/>
                <a:gd name="T10" fmla="*/ 0 w 1164"/>
                <a:gd name="T11" fmla="*/ 1272 h 1273"/>
                <a:gd name="T12" fmla="*/ 0 w 1164"/>
                <a:gd name="T13" fmla="*/ 0 h 1273"/>
                <a:gd name="T14" fmla="*/ 246 w 1164"/>
                <a:gd name="T15" fmla="*/ 0 h 1273"/>
                <a:gd name="T16" fmla="*/ 878 w 1164"/>
                <a:gd name="T17" fmla="*/ 773 h 1273"/>
                <a:gd name="T18" fmla="*/ 878 w 1164"/>
                <a:gd name="T19" fmla="*/ 0 h 1273"/>
                <a:gd name="T20" fmla="*/ 1163 w 1164"/>
                <a:gd name="T21" fmla="*/ 0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4" h="1273">
                  <a:moveTo>
                    <a:pt x="1163" y="0"/>
                  </a:moveTo>
                  <a:lnTo>
                    <a:pt x="1163" y="1272"/>
                  </a:lnTo>
                  <a:lnTo>
                    <a:pt x="922" y="1272"/>
                  </a:lnTo>
                  <a:lnTo>
                    <a:pt x="291" y="499"/>
                  </a:lnTo>
                  <a:lnTo>
                    <a:pt x="291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246" y="0"/>
                  </a:lnTo>
                  <a:lnTo>
                    <a:pt x="878" y="773"/>
                  </a:lnTo>
                  <a:lnTo>
                    <a:pt x="878" y="0"/>
                  </a:lnTo>
                  <a:lnTo>
                    <a:pt x="1163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1" name="Freeform 24">
              <a:extLst>
                <a:ext uri="{FF2B5EF4-FFF2-40B4-BE49-F238E27FC236}">
                  <a16:creationId xmlns:a16="http://schemas.microsoft.com/office/drawing/2014/main" id="{2863976A-E632-A24C-8E0A-917CAE3216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9550" y="3846513"/>
              <a:ext cx="396875" cy="458787"/>
            </a:xfrm>
            <a:custGeom>
              <a:avLst/>
              <a:gdLst>
                <a:gd name="T0" fmla="*/ 402 w 1102"/>
                <a:gd name="T1" fmla="*/ 241 h 1273"/>
                <a:gd name="T2" fmla="*/ 0 w 1102"/>
                <a:gd name="T3" fmla="*/ 241 h 1273"/>
                <a:gd name="T4" fmla="*/ 0 w 1102"/>
                <a:gd name="T5" fmla="*/ 0 h 1273"/>
                <a:gd name="T6" fmla="*/ 1101 w 1102"/>
                <a:gd name="T7" fmla="*/ 0 h 1273"/>
                <a:gd name="T8" fmla="*/ 1101 w 1102"/>
                <a:gd name="T9" fmla="*/ 241 h 1273"/>
                <a:gd name="T10" fmla="*/ 699 w 1102"/>
                <a:gd name="T11" fmla="*/ 241 h 1273"/>
                <a:gd name="T12" fmla="*/ 699 w 1102"/>
                <a:gd name="T13" fmla="*/ 1272 h 1273"/>
                <a:gd name="T14" fmla="*/ 402 w 1102"/>
                <a:gd name="T15" fmla="*/ 1272 h 1273"/>
                <a:gd name="T16" fmla="*/ 402 w 1102"/>
                <a:gd name="T17" fmla="*/ 241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2" h="1273">
                  <a:moveTo>
                    <a:pt x="402" y="241"/>
                  </a:moveTo>
                  <a:lnTo>
                    <a:pt x="0" y="241"/>
                  </a:lnTo>
                  <a:lnTo>
                    <a:pt x="0" y="0"/>
                  </a:lnTo>
                  <a:lnTo>
                    <a:pt x="1101" y="0"/>
                  </a:lnTo>
                  <a:lnTo>
                    <a:pt x="1101" y="241"/>
                  </a:lnTo>
                  <a:lnTo>
                    <a:pt x="699" y="241"/>
                  </a:lnTo>
                  <a:lnTo>
                    <a:pt x="699" y="1272"/>
                  </a:lnTo>
                  <a:lnTo>
                    <a:pt x="402" y="1272"/>
                  </a:lnTo>
                  <a:lnTo>
                    <a:pt x="402" y="24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2" name="Freeform 25">
              <a:extLst>
                <a:ext uri="{FF2B5EF4-FFF2-40B4-BE49-F238E27FC236}">
                  <a16:creationId xmlns:a16="http://schemas.microsoft.com/office/drawing/2014/main" id="{635D2E4E-1E1E-1F44-879B-6EE52D3E2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97725" y="3846513"/>
              <a:ext cx="419100" cy="458787"/>
            </a:xfrm>
            <a:custGeom>
              <a:avLst/>
              <a:gdLst>
                <a:gd name="T0" fmla="*/ 1164 w 1165"/>
                <a:gd name="T1" fmla="*/ 925 h 1273"/>
                <a:gd name="T2" fmla="*/ 1158 w 1165"/>
                <a:gd name="T3" fmla="*/ 1003 h 1273"/>
                <a:gd name="T4" fmla="*/ 1136 w 1165"/>
                <a:gd name="T5" fmla="*/ 1070 h 1273"/>
                <a:gd name="T6" fmla="*/ 1091 w 1165"/>
                <a:gd name="T7" fmla="*/ 1132 h 1273"/>
                <a:gd name="T8" fmla="*/ 1035 w 1165"/>
                <a:gd name="T9" fmla="*/ 1177 h 1273"/>
                <a:gd name="T10" fmla="*/ 962 w 1165"/>
                <a:gd name="T11" fmla="*/ 1216 h 1273"/>
                <a:gd name="T12" fmla="*/ 878 w 1165"/>
                <a:gd name="T13" fmla="*/ 1244 h 1273"/>
                <a:gd name="T14" fmla="*/ 777 w 1165"/>
                <a:gd name="T15" fmla="*/ 1266 h 1273"/>
                <a:gd name="T16" fmla="*/ 0 w 1165"/>
                <a:gd name="T17" fmla="*/ 1272 h 1273"/>
                <a:gd name="T18" fmla="*/ 621 w 1165"/>
                <a:gd name="T19" fmla="*/ 0 h 1273"/>
                <a:gd name="T20" fmla="*/ 732 w 1165"/>
                <a:gd name="T21" fmla="*/ 6 h 1273"/>
                <a:gd name="T22" fmla="*/ 828 w 1165"/>
                <a:gd name="T23" fmla="*/ 23 h 1273"/>
                <a:gd name="T24" fmla="*/ 912 w 1165"/>
                <a:gd name="T25" fmla="*/ 51 h 1273"/>
                <a:gd name="T26" fmla="*/ 979 w 1165"/>
                <a:gd name="T27" fmla="*/ 90 h 1273"/>
                <a:gd name="T28" fmla="*/ 1035 w 1165"/>
                <a:gd name="T29" fmla="*/ 140 h 1273"/>
                <a:gd name="T30" fmla="*/ 1074 w 1165"/>
                <a:gd name="T31" fmla="*/ 196 h 1273"/>
                <a:gd name="T32" fmla="*/ 1096 w 1165"/>
                <a:gd name="T33" fmla="*/ 258 h 1273"/>
                <a:gd name="T34" fmla="*/ 1102 w 1165"/>
                <a:gd name="T35" fmla="*/ 331 h 1273"/>
                <a:gd name="T36" fmla="*/ 1096 w 1165"/>
                <a:gd name="T37" fmla="*/ 376 h 1273"/>
                <a:gd name="T38" fmla="*/ 1074 w 1165"/>
                <a:gd name="T39" fmla="*/ 460 h 1273"/>
                <a:gd name="T40" fmla="*/ 1029 w 1165"/>
                <a:gd name="T41" fmla="*/ 532 h 1273"/>
                <a:gd name="T42" fmla="*/ 968 w 1165"/>
                <a:gd name="T43" fmla="*/ 589 h 1273"/>
                <a:gd name="T44" fmla="*/ 934 w 1165"/>
                <a:gd name="T45" fmla="*/ 611 h 1273"/>
                <a:gd name="T46" fmla="*/ 1029 w 1165"/>
                <a:gd name="T47" fmla="*/ 656 h 1273"/>
                <a:gd name="T48" fmla="*/ 1102 w 1165"/>
                <a:gd name="T49" fmla="*/ 723 h 1273"/>
                <a:gd name="T50" fmla="*/ 1147 w 1165"/>
                <a:gd name="T51" fmla="*/ 813 h 1273"/>
                <a:gd name="T52" fmla="*/ 1164 w 1165"/>
                <a:gd name="T53" fmla="*/ 925 h 1273"/>
                <a:gd name="T54" fmla="*/ 291 w 1165"/>
                <a:gd name="T55" fmla="*/ 522 h 1273"/>
                <a:gd name="T56" fmla="*/ 587 w 1165"/>
                <a:gd name="T57" fmla="*/ 522 h 1273"/>
                <a:gd name="T58" fmla="*/ 682 w 1165"/>
                <a:gd name="T59" fmla="*/ 510 h 1273"/>
                <a:gd name="T60" fmla="*/ 750 w 1165"/>
                <a:gd name="T61" fmla="*/ 482 h 1273"/>
                <a:gd name="T62" fmla="*/ 794 w 1165"/>
                <a:gd name="T63" fmla="*/ 437 h 1273"/>
                <a:gd name="T64" fmla="*/ 805 w 1165"/>
                <a:gd name="T65" fmla="*/ 370 h 1273"/>
                <a:gd name="T66" fmla="*/ 805 w 1165"/>
                <a:gd name="T67" fmla="*/ 336 h 1273"/>
                <a:gd name="T68" fmla="*/ 772 w 1165"/>
                <a:gd name="T69" fmla="*/ 281 h 1273"/>
                <a:gd name="T70" fmla="*/ 716 w 1165"/>
                <a:gd name="T71" fmla="*/ 241 h 1273"/>
                <a:gd name="T72" fmla="*/ 637 w 1165"/>
                <a:gd name="T73" fmla="*/ 225 h 1273"/>
                <a:gd name="T74" fmla="*/ 291 w 1165"/>
                <a:gd name="T75" fmla="*/ 219 h 1273"/>
                <a:gd name="T76" fmla="*/ 867 w 1165"/>
                <a:gd name="T77" fmla="*/ 891 h 1273"/>
                <a:gd name="T78" fmla="*/ 856 w 1165"/>
                <a:gd name="T79" fmla="*/ 824 h 1273"/>
                <a:gd name="T80" fmla="*/ 811 w 1165"/>
                <a:gd name="T81" fmla="*/ 773 h 1273"/>
                <a:gd name="T82" fmla="*/ 738 w 1165"/>
                <a:gd name="T83" fmla="*/ 745 h 1273"/>
                <a:gd name="T84" fmla="*/ 637 w 1165"/>
                <a:gd name="T85" fmla="*/ 734 h 1273"/>
                <a:gd name="T86" fmla="*/ 291 w 1165"/>
                <a:gd name="T87" fmla="*/ 1048 h 1273"/>
                <a:gd name="T88" fmla="*/ 637 w 1165"/>
                <a:gd name="T89" fmla="*/ 1048 h 1273"/>
                <a:gd name="T90" fmla="*/ 738 w 1165"/>
                <a:gd name="T91" fmla="*/ 1037 h 1273"/>
                <a:gd name="T92" fmla="*/ 811 w 1165"/>
                <a:gd name="T93" fmla="*/ 1009 h 1273"/>
                <a:gd name="T94" fmla="*/ 856 w 1165"/>
                <a:gd name="T95" fmla="*/ 964 h 1273"/>
                <a:gd name="T96" fmla="*/ 867 w 1165"/>
                <a:gd name="T97" fmla="*/ 891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65" h="1273">
                  <a:moveTo>
                    <a:pt x="1164" y="925"/>
                  </a:moveTo>
                  <a:lnTo>
                    <a:pt x="1164" y="925"/>
                  </a:lnTo>
                  <a:lnTo>
                    <a:pt x="1164" y="964"/>
                  </a:lnTo>
                  <a:lnTo>
                    <a:pt x="1158" y="1003"/>
                  </a:lnTo>
                  <a:lnTo>
                    <a:pt x="1147" y="1037"/>
                  </a:lnTo>
                  <a:lnTo>
                    <a:pt x="1136" y="1070"/>
                  </a:lnTo>
                  <a:lnTo>
                    <a:pt x="1113" y="1098"/>
                  </a:lnTo>
                  <a:lnTo>
                    <a:pt x="1091" y="1132"/>
                  </a:lnTo>
                  <a:lnTo>
                    <a:pt x="1069" y="1154"/>
                  </a:lnTo>
                  <a:lnTo>
                    <a:pt x="1035" y="1177"/>
                  </a:lnTo>
                  <a:lnTo>
                    <a:pt x="1001" y="1199"/>
                  </a:lnTo>
                  <a:lnTo>
                    <a:pt x="962" y="1216"/>
                  </a:lnTo>
                  <a:lnTo>
                    <a:pt x="923" y="1232"/>
                  </a:lnTo>
                  <a:lnTo>
                    <a:pt x="878" y="1244"/>
                  </a:lnTo>
                  <a:lnTo>
                    <a:pt x="828" y="1255"/>
                  </a:lnTo>
                  <a:lnTo>
                    <a:pt x="777" y="1266"/>
                  </a:lnTo>
                  <a:lnTo>
                    <a:pt x="660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621" y="0"/>
                  </a:lnTo>
                  <a:lnTo>
                    <a:pt x="621" y="0"/>
                  </a:lnTo>
                  <a:lnTo>
                    <a:pt x="732" y="6"/>
                  </a:lnTo>
                  <a:lnTo>
                    <a:pt x="783" y="12"/>
                  </a:lnTo>
                  <a:lnTo>
                    <a:pt x="828" y="23"/>
                  </a:lnTo>
                  <a:lnTo>
                    <a:pt x="873" y="34"/>
                  </a:lnTo>
                  <a:lnTo>
                    <a:pt x="912" y="51"/>
                  </a:lnTo>
                  <a:lnTo>
                    <a:pt x="951" y="68"/>
                  </a:lnTo>
                  <a:lnTo>
                    <a:pt x="979" y="90"/>
                  </a:lnTo>
                  <a:lnTo>
                    <a:pt x="1007" y="113"/>
                  </a:lnTo>
                  <a:lnTo>
                    <a:pt x="1035" y="140"/>
                  </a:lnTo>
                  <a:lnTo>
                    <a:pt x="1051" y="163"/>
                  </a:lnTo>
                  <a:lnTo>
                    <a:pt x="1074" y="196"/>
                  </a:lnTo>
                  <a:lnTo>
                    <a:pt x="1085" y="225"/>
                  </a:lnTo>
                  <a:lnTo>
                    <a:pt x="1096" y="258"/>
                  </a:lnTo>
                  <a:lnTo>
                    <a:pt x="1102" y="292"/>
                  </a:lnTo>
                  <a:lnTo>
                    <a:pt x="1102" y="331"/>
                  </a:lnTo>
                  <a:lnTo>
                    <a:pt x="1102" y="331"/>
                  </a:lnTo>
                  <a:lnTo>
                    <a:pt x="1096" y="376"/>
                  </a:lnTo>
                  <a:lnTo>
                    <a:pt x="1091" y="421"/>
                  </a:lnTo>
                  <a:lnTo>
                    <a:pt x="1074" y="460"/>
                  </a:lnTo>
                  <a:lnTo>
                    <a:pt x="1057" y="499"/>
                  </a:lnTo>
                  <a:lnTo>
                    <a:pt x="1029" y="532"/>
                  </a:lnTo>
                  <a:lnTo>
                    <a:pt x="1001" y="561"/>
                  </a:lnTo>
                  <a:lnTo>
                    <a:pt x="968" y="589"/>
                  </a:lnTo>
                  <a:lnTo>
                    <a:pt x="934" y="611"/>
                  </a:lnTo>
                  <a:lnTo>
                    <a:pt x="934" y="611"/>
                  </a:lnTo>
                  <a:lnTo>
                    <a:pt x="984" y="628"/>
                  </a:lnTo>
                  <a:lnTo>
                    <a:pt x="1029" y="656"/>
                  </a:lnTo>
                  <a:lnTo>
                    <a:pt x="1069" y="684"/>
                  </a:lnTo>
                  <a:lnTo>
                    <a:pt x="1102" y="723"/>
                  </a:lnTo>
                  <a:lnTo>
                    <a:pt x="1130" y="768"/>
                  </a:lnTo>
                  <a:lnTo>
                    <a:pt x="1147" y="813"/>
                  </a:lnTo>
                  <a:lnTo>
                    <a:pt x="1164" y="863"/>
                  </a:lnTo>
                  <a:lnTo>
                    <a:pt x="1164" y="925"/>
                  </a:lnTo>
                  <a:close/>
                  <a:moveTo>
                    <a:pt x="291" y="219"/>
                  </a:moveTo>
                  <a:lnTo>
                    <a:pt x="291" y="522"/>
                  </a:lnTo>
                  <a:lnTo>
                    <a:pt x="587" y="522"/>
                  </a:lnTo>
                  <a:lnTo>
                    <a:pt x="587" y="522"/>
                  </a:lnTo>
                  <a:lnTo>
                    <a:pt x="637" y="516"/>
                  </a:lnTo>
                  <a:lnTo>
                    <a:pt x="682" y="510"/>
                  </a:lnTo>
                  <a:lnTo>
                    <a:pt x="716" y="499"/>
                  </a:lnTo>
                  <a:lnTo>
                    <a:pt x="750" y="482"/>
                  </a:lnTo>
                  <a:lnTo>
                    <a:pt x="772" y="460"/>
                  </a:lnTo>
                  <a:lnTo>
                    <a:pt x="794" y="437"/>
                  </a:lnTo>
                  <a:lnTo>
                    <a:pt x="805" y="404"/>
                  </a:lnTo>
                  <a:lnTo>
                    <a:pt x="805" y="370"/>
                  </a:lnTo>
                  <a:lnTo>
                    <a:pt x="805" y="370"/>
                  </a:lnTo>
                  <a:lnTo>
                    <a:pt x="805" y="336"/>
                  </a:lnTo>
                  <a:lnTo>
                    <a:pt x="794" y="303"/>
                  </a:lnTo>
                  <a:lnTo>
                    <a:pt x="772" y="281"/>
                  </a:lnTo>
                  <a:lnTo>
                    <a:pt x="750" y="258"/>
                  </a:lnTo>
                  <a:lnTo>
                    <a:pt x="716" y="241"/>
                  </a:lnTo>
                  <a:lnTo>
                    <a:pt x="682" y="230"/>
                  </a:lnTo>
                  <a:lnTo>
                    <a:pt x="637" y="225"/>
                  </a:lnTo>
                  <a:lnTo>
                    <a:pt x="587" y="219"/>
                  </a:lnTo>
                  <a:lnTo>
                    <a:pt x="291" y="219"/>
                  </a:lnTo>
                  <a:close/>
                  <a:moveTo>
                    <a:pt x="867" y="891"/>
                  </a:moveTo>
                  <a:lnTo>
                    <a:pt x="867" y="891"/>
                  </a:lnTo>
                  <a:lnTo>
                    <a:pt x="867" y="858"/>
                  </a:lnTo>
                  <a:lnTo>
                    <a:pt x="856" y="824"/>
                  </a:lnTo>
                  <a:lnTo>
                    <a:pt x="833" y="796"/>
                  </a:lnTo>
                  <a:lnTo>
                    <a:pt x="811" y="773"/>
                  </a:lnTo>
                  <a:lnTo>
                    <a:pt x="777" y="757"/>
                  </a:lnTo>
                  <a:lnTo>
                    <a:pt x="738" y="745"/>
                  </a:lnTo>
                  <a:lnTo>
                    <a:pt x="688" y="734"/>
                  </a:lnTo>
                  <a:lnTo>
                    <a:pt x="637" y="734"/>
                  </a:lnTo>
                  <a:lnTo>
                    <a:pt x="291" y="734"/>
                  </a:lnTo>
                  <a:lnTo>
                    <a:pt x="291" y="1048"/>
                  </a:lnTo>
                  <a:lnTo>
                    <a:pt x="637" y="1048"/>
                  </a:lnTo>
                  <a:lnTo>
                    <a:pt x="637" y="1048"/>
                  </a:lnTo>
                  <a:lnTo>
                    <a:pt x="688" y="1048"/>
                  </a:lnTo>
                  <a:lnTo>
                    <a:pt x="738" y="1037"/>
                  </a:lnTo>
                  <a:lnTo>
                    <a:pt x="777" y="1026"/>
                  </a:lnTo>
                  <a:lnTo>
                    <a:pt x="811" y="1009"/>
                  </a:lnTo>
                  <a:lnTo>
                    <a:pt x="833" y="992"/>
                  </a:lnTo>
                  <a:lnTo>
                    <a:pt x="856" y="964"/>
                  </a:lnTo>
                  <a:lnTo>
                    <a:pt x="867" y="930"/>
                  </a:lnTo>
                  <a:lnTo>
                    <a:pt x="867" y="89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3" name="Freeform 26">
              <a:extLst>
                <a:ext uri="{FF2B5EF4-FFF2-40B4-BE49-F238E27FC236}">
                  <a16:creationId xmlns:a16="http://schemas.microsoft.com/office/drawing/2014/main" id="{2CB8C34C-7879-F643-83EB-831C7E7DC0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7788" y="3846513"/>
              <a:ext cx="404812" cy="458787"/>
            </a:xfrm>
            <a:custGeom>
              <a:avLst/>
              <a:gdLst>
                <a:gd name="T0" fmla="*/ 811 w 1125"/>
                <a:gd name="T1" fmla="*/ 1272 h 1273"/>
                <a:gd name="T2" fmla="*/ 564 w 1125"/>
                <a:gd name="T3" fmla="*/ 913 h 1273"/>
                <a:gd name="T4" fmla="*/ 548 w 1125"/>
                <a:gd name="T5" fmla="*/ 913 h 1273"/>
                <a:gd name="T6" fmla="*/ 296 w 1125"/>
                <a:gd name="T7" fmla="*/ 913 h 1273"/>
                <a:gd name="T8" fmla="*/ 296 w 1125"/>
                <a:gd name="T9" fmla="*/ 1272 h 1273"/>
                <a:gd name="T10" fmla="*/ 0 w 1125"/>
                <a:gd name="T11" fmla="*/ 1272 h 1273"/>
                <a:gd name="T12" fmla="*/ 0 w 1125"/>
                <a:gd name="T13" fmla="*/ 0 h 1273"/>
                <a:gd name="T14" fmla="*/ 548 w 1125"/>
                <a:gd name="T15" fmla="*/ 0 h 1273"/>
                <a:gd name="T16" fmla="*/ 548 w 1125"/>
                <a:gd name="T17" fmla="*/ 0 h 1273"/>
                <a:gd name="T18" fmla="*/ 609 w 1125"/>
                <a:gd name="T19" fmla="*/ 0 h 1273"/>
                <a:gd name="T20" fmla="*/ 671 w 1125"/>
                <a:gd name="T21" fmla="*/ 6 h 1273"/>
                <a:gd name="T22" fmla="*/ 726 w 1125"/>
                <a:gd name="T23" fmla="*/ 17 h 1273"/>
                <a:gd name="T24" fmla="*/ 777 w 1125"/>
                <a:gd name="T25" fmla="*/ 34 h 1273"/>
                <a:gd name="T26" fmla="*/ 827 w 1125"/>
                <a:gd name="T27" fmla="*/ 51 h 1273"/>
                <a:gd name="T28" fmla="*/ 872 w 1125"/>
                <a:gd name="T29" fmla="*/ 68 h 1273"/>
                <a:gd name="T30" fmla="*/ 917 w 1125"/>
                <a:gd name="T31" fmla="*/ 95 h 1273"/>
                <a:gd name="T32" fmla="*/ 950 w 1125"/>
                <a:gd name="T33" fmla="*/ 124 h 1273"/>
                <a:gd name="T34" fmla="*/ 984 w 1125"/>
                <a:gd name="T35" fmla="*/ 158 h 1273"/>
                <a:gd name="T36" fmla="*/ 1017 w 1125"/>
                <a:gd name="T37" fmla="*/ 191 h 1273"/>
                <a:gd name="T38" fmla="*/ 1040 w 1125"/>
                <a:gd name="T39" fmla="*/ 230 h 1273"/>
                <a:gd name="T40" fmla="*/ 1063 w 1125"/>
                <a:gd name="T41" fmla="*/ 269 h 1273"/>
                <a:gd name="T42" fmla="*/ 1079 w 1125"/>
                <a:gd name="T43" fmla="*/ 314 h 1273"/>
                <a:gd name="T44" fmla="*/ 1090 w 1125"/>
                <a:gd name="T45" fmla="*/ 359 h 1273"/>
                <a:gd name="T46" fmla="*/ 1095 w 1125"/>
                <a:gd name="T47" fmla="*/ 409 h 1273"/>
                <a:gd name="T48" fmla="*/ 1101 w 1125"/>
                <a:gd name="T49" fmla="*/ 460 h 1273"/>
                <a:gd name="T50" fmla="*/ 1101 w 1125"/>
                <a:gd name="T51" fmla="*/ 460 h 1273"/>
                <a:gd name="T52" fmla="*/ 1095 w 1125"/>
                <a:gd name="T53" fmla="*/ 527 h 1273"/>
                <a:gd name="T54" fmla="*/ 1085 w 1125"/>
                <a:gd name="T55" fmla="*/ 595 h 1273"/>
                <a:gd name="T56" fmla="*/ 1063 w 1125"/>
                <a:gd name="T57" fmla="*/ 650 h 1273"/>
                <a:gd name="T58" fmla="*/ 1034 w 1125"/>
                <a:gd name="T59" fmla="*/ 706 h 1273"/>
                <a:gd name="T60" fmla="*/ 995 w 1125"/>
                <a:gd name="T61" fmla="*/ 757 h 1273"/>
                <a:gd name="T62" fmla="*/ 950 w 1125"/>
                <a:gd name="T63" fmla="*/ 796 h 1273"/>
                <a:gd name="T64" fmla="*/ 900 w 1125"/>
                <a:gd name="T65" fmla="*/ 829 h 1273"/>
                <a:gd name="T66" fmla="*/ 839 w 1125"/>
                <a:gd name="T67" fmla="*/ 863 h 1273"/>
                <a:gd name="T68" fmla="*/ 1124 w 1125"/>
                <a:gd name="T69" fmla="*/ 1272 h 1273"/>
                <a:gd name="T70" fmla="*/ 811 w 1125"/>
                <a:gd name="T71" fmla="*/ 1272 h 1273"/>
                <a:gd name="T72" fmla="*/ 531 w 1125"/>
                <a:gd name="T73" fmla="*/ 241 h 1273"/>
                <a:gd name="T74" fmla="*/ 296 w 1125"/>
                <a:gd name="T75" fmla="*/ 241 h 1273"/>
                <a:gd name="T76" fmla="*/ 296 w 1125"/>
                <a:gd name="T77" fmla="*/ 684 h 1273"/>
                <a:gd name="T78" fmla="*/ 531 w 1125"/>
                <a:gd name="T79" fmla="*/ 684 h 1273"/>
                <a:gd name="T80" fmla="*/ 531 w 1125"/>
                <a:gd name="T81" fmla="*/ 684 h 1273"/>
                <a:gd name="T82" fmla="*/ 598 w 1125"/>
                <a:gd name="T83" fmla="*/ 678 h 1273"/>
                <a:gd name="T84" fmla="*/ 654 w 1125"/>
                <a:gd name="T85" fmla="*/ 667 h 1273"/>
                <a:gd name="T86" fmla="*/ 698 w 1125"/>
                <a:gd name="T87" fmla="*/ 650 h 1273"/>
                <a:gd name="T88" fmla="*/ 738 w 1125"/>
                <a:gd name="T89" fmla="*/ 622 h 1273"/>
                <a:gd name="T90" fmla="*/ 766 w 1125"/>
                <a:gd name="T91" fmla="*/ 589 h 1273"/>
                <a:gd name="T92" fmla="*/ 788 w 1125"/>
                <a:gd name="T93" fmla="*/ 555 h 1273"/>
                <a:gd name="T94" fmla="*/ 799 w 1125"/>
                <a:gd name="T95" fmla="*/ 510 h 1273"/>
                <a:gd name="T96" fmla="*/ 805 w 1125"/>
                <a:gd name="T97" fmla="*/ 460 h 1273"/>
                <a:gd name="T98" fmla="*/ 805 w 1125"/>
                <a:gd name="T99" fmla="*/ 460 h 1273"/>
                <a:gd name="T100" fmla="*/ 799 w 1125"/>
                <a:gd name="T101" fmla="*/ 409 h 1273"/>
                <a:gd name="T102" fmla="*/ 788 w 1125"/>
                <a:gd name="T103" fmla="*/ 364 h 1273"/>
                <a:gd name="T104" fmla="*/ 766 w 1125"/>
                <a:gd name="T105" fmla="*/ 331 h 1273"/>
                <a:gd name="T106" fmla="*/ 738 w 1125"/>
                <a:gd name="T107" fmla="*/ 297 h 1273"/>
                <a:gd name="T108" fmla="*/ 698 w 1125"/>
                <a:gd name="T109" fmla="*/ 275 h 1273"/>
                <a:gd name="T110" fmla="*/ 654 w 1125"/>
                <a:gd name="T111" fmla="*/ 253 h 1273"/>
                <a:gd name="T112" fmla="*/ 598 w 1125"/>
                <a:gd name="T113" fmla="*/ 241 h 1273"/>
                <a:gd name="T114" fmla="*/ 531 w 1125"/>
                <a:gd name="T115" fmla="*/ 241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25" h="1273">
                  <a:moveTo>
                    <a:pt x="811" y="1272"/>
                  </a:moveTo>
                  <a:lnTo>
                    <a:pt x="564" y="913"/>
                  </a:lnTo>
                  <a:lnTo>
                    <a:pt x="548" y="913"/>
                  </a:lnTo>
                  <a:lnTo>
                    <a:pt x="296" y="913"/>
                  </a:lnTo>
                  <a:lnTo>
                    <a:pt x="296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609" y="0"/>
                  </a:lnTo>
                  <a:lnTo>
                    <a:pt x="671" y="6"/>
                  </a:lnTo>
                  <a:lnTo>
                    <a:pt x="726" y="17"/>
                  </a:lnTo>
                  <a:lnTo>
                    <a:pt x="777" y="34"/>
                  </a:lnTo>
                  <a:lnTo>
                    <a:pt x="827" y="51"/>
                  </a:lnTo>
                  <a:lnTo>
                    <a:pt x="872" y="68"/>
                  </a:lnTo>
                  <a:lnTo>
                    <a:pt x="917" y="95"/>
                  </a:lnTo>
                  <a:lnTo>
                    <a:pt x="950" y="124"/>
                  </a:lnTo>
                  <a:lnTo>
                    <a:pt x="984" y="158"/>
                  </a:lnTo>
                  <a:lnTo>
                    <a:pt x="1017" y="191"/>
                  </a:lnTo>
                  <a:lnTo>
                    <a:pt x="1040" y="230"/>
                  </a:lnTo>
                  <a:lnTo>
                    <a:pt x="1063" y="269"/>
                  </a:lnTo>
                  <a:lnTo>
                    <a:pt x="1079" y="314"/>
                  </a:lnTo>
                  <a:lnTo>
                    <a:pt x="1090" y="359"/>
                  </a:lnTo>
                  <a:lnTo>
                    <a:pt x="1095" y="409"/>
                  </a:lnTo>
                  <a:lnTo>
                    <a:pt x="1101" y="460"/>
                  </a:lnTo>
                  <a:lnTo>
                    <a:pt x="1101" y="460"/>
                  </a:lnTo>
                  <a:lnTo>
                    <a:pt x="1095" y="527"/>
                  </a:lnTo>
                  <a:lnTo>
                    <a:pt x="1085" y="595"/>
                  </a:lnTo>
                  <a:lnTo>
                    <a:pt x="1063" y="650"/>
                  </a:lnTo>
                  <a:lnTo>
                    <a:pt x="1034" y="706"/>
                  </a:lnTo>
                  <a:lnTo>
                    <a:pt x="995" y="757"/>
                  </a:lnTo>
                  <a:lnTo>
                    <a:pt x="950" y="796"/>
                  </a:lnTo>
                  <a:lnTo>
                    <a:pt x="900" y="829"/>
                  </a:lnTo>
                  <a:lnTo>
                    <a:pt x="839" y="863"/>
                  </a:lnTo>
                  <a:lnTo>
                    <a:pt x="1124" y="1272"/>
                  </a:lnTo>
                  <a:lnTo>
                    <a:pt x="811" y="1272"/>
                  </a:lnTo>
                  <a:close/>
                  <a:moveTo>
                    <a:pt x="531" y="241"/>
                  </a:moveTo>
                  <a:lnTo>
                    <a:pt x="296" y="241"/>
                  </a:lnTo>
                  <a:lnTo>
                    <a:pt x="296" y="684"/>
                  </a:lnTo>
                  <a:lnTo>
                    <a:pt x="531" y="684"/>
                  </a:lnTo>
                  <a:lnTo>
                    <a:pt x="531" y="684"/>
                  </a:lnTo>
                  <a:lnTo>
                    <a:pt x="598" y="678"/>
                  </a:lnTo>
                  <a:lnTo>
                    <a:pt x="654" y="667"/>
                  </a:lnTo>
                  <a:lnTo>
                    <a:pt x="698" y="650"/>
                  </a:lnTo>
                  <a:lnTo>
                    <a:pt x="738" y="622"/>
                  </a:lnTo>
                  <a:lnTo>
                    <a:pt x="766" y="589"/>
                  </a:lnTo>
                  <a:lnTo>
                    <a:pt x="788" y="555"/>
                  </a:lnTo>
                  <a:lnTo>
                    <a:pt x="799" y="510"/>
                  </a:lnTo>
                  <a:lnTo>
                    <a:pt x="805" y="460"/>
                  </a:lnTo>
                  <a:lnTo>
                    <a:pt x="805" y="460"/>
                  </a:lnTo>
                  <a:lnTo>
                    <a:pt x="799" y="409"/>
                  </a:lnTo>
                  <a:lnTo>
                    <a:pt x="788" y="364"/>
                  </a:lnTo>
                  <a:lnTo>
                    <a:pt x="766" y="331"/>
                  </a:lnTo>
                  <a:lnTo>
                    <a:pt x="738" y="297"/>
                  </a:lnTo>
                  <a:lnTo>
                    <a:pt x="698" y="275"/>
                  </a:lnTo>
                  <a:lnTo>
                    <a:pt x="654" y="253"/>
                  </a:lnTo>
                  <a:lnTo>
                    <a:pt x="598" y="241"/>
                  </a:lnTo>
                  <a:lnTo>
                    <a:pt x="531" y="2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4" name="Freeform 27">
              <a:extLst>
                <a:ext uri="{FF2B5EF4-FFF2-40B4-BE49-F238E27FC236}">
                  <a16:creationId xmlns:a16="http://schemas.microsoft.com/office/drawing/2014/main" id="{3DC21A5A-5E75-4E4F-B141-D8ED629D12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6888" y="3846513"/>
              <a:ext cx="512762" cy="458787"/>
            </a:xfrm>
            <a:custGeom>
              <a:avLst/>
              <a:gdLst>
                <a:gd name="T0" fmla="*/ 1002 w 1423"/>
                <a:gd name="T1" fmla="*/ 997 h 1273"/>
                <a:gd name="T2" fmla="*/ 409 w 1423"/>
                <a:gd name="T3" fmla="*/ 997 h 1273"/>
                <a:gd name="T4" fmla="*/ 297 w 1423"/>
                <a:gd name="T5" fmla="*/ 1272 h 1273"/>
                <a:gd name="T6" fmla="*/ 0 w 1423"/>
                <a:gd name="T7" fmla="*/ 1272 h 1273"/>
                <a:gd name="T8" fmla="*/ 565 w 1423"/>
                <a:gd name="T9" fmla="*/ 0 h 1273"/>
                <a:gd name="T10" fmla="*/ 857 w 1423"/>
                <a:gd name="T11" fmla="*/ 0 h 1273"/>
                <a:gd name="T12" fmla="*/ 1422 w 1423"/>
                <a:gd name="T13" fmla="*/ 1272 h 1273"/>
                <a:gd name="T14" fmla="*/ 1114 w 1423"/>
                <a:gd name="T15" fmla="*/ 1272 h 1273"/>
                <a:gd name="T16" fmla="*/ 1002 w 1423"/>
                <a:gd name="T17" fmla="*/ 997 h 1273"/>
                <a:gd name="T18" fmla="*/ 907 w 1423"/>
                <a:gd name="T19" fmla="*/ 773 h 1273"/>
                <a:gd name="T20" fmla="*/ 706 w 1423"/>
                <a:gd name="T21" fmla="*/ 286 h 1273"/>
                <a:gd name="T22" fmla="*/ 504 w 1423"/>
                <a:gd name="T23" fmla="*/ 773 h 1273"/>
                <a:gd name="T24" fmla="*/ 907 w 1423"/>
                <a:gd name="T25" fmla="*/ 773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3" h="1273">
                  <a:moveTo>
                    <a:pt x="1002" y="997"/>
                  </a:moveTo>
                  <a:lnTo>
                    <a:pt x="409" y="997"/>
                  </a:lnTo>
                  <a:lnTo>
                    <a:pt x="297" y="1272"/>
                  </a:lnTo>
                  <a:lnTo>
                    <a:pt x="0" y="1272"/>
                  </a:lnTo>
                  <a:lnTo>
                    <a:pt x="565" y="0"/>
                  </a:lnTo>
                  <a:lnTo>
                    <a:pt x="857" y="0"/>
                  </a:lnTo>
                  <a:lnTo>
                    <a:pt x="1422" y="1272"/>
                  </a:lnTo>
                  <a:lnTo>
                    <a:pt x="1114" y="1272"/>
                  </a:lnTo>
                  <a:lnTo>
                    <a:pt x="1002" y="997"/>
                  </a:lnTo>
                  <a:close/>
                  <a:moveTo>
                    <a:pt x="907" y="773"/>
                  </a:moveTo>
                  <a:lnTo>
                    <a:pt x="706" y="286"/>
                  </a:lnTo>
                  <a:lnTo>
                    <a:pt x="504" y="773"/>
                  </a:lnTo>
                  <a:lnTo>
                    <a:pt x="907" y="7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5" name="Freeform 28">
              <a:extLst>
                <a:ext uri="{FF2B5EF4-FFF2-40B4-BE49-F238E27FC236}">
                  <a16:creationId xmlns:a16="http://schemas.microsoft.com/office/drawing/2014/main" id="{FD5CF21B-DC60-F244-A16E-F7542B4AF5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77275" y="3846513"/>
              <a:ext cx="419100" cy="458787"/>
            </a:xfrm>
            <a:custGeom>
              <a:avLst/>
              <a:gdLst>
                <a:gd name="T0" fmla="*/ 1164 w 1165"/>
                <a:gd name="T1" fmla="*/ 0 h 1273"/>
                <a:gd name="T2" fmla="*/ 1164 w 1165"/>
                <a:gd name="T3" fmla="*/ 1272 h 1273"/>
                <a:gd name="T4" fmla="*/ 924 w 1165"/>
                <a:gd name="T5" fmla="*/ 1272 h 1273"/>
                <a:gd name="T6" fmla="*/ 292 w 1165"/>
                <a:gd name="T7" fmla="*/ 499 h 1273"/>
                <a:gd name="T8" fmla="*/ 292 w 1165"/>
                <a:gd name="T9" fmla="*/ 1272 h 1273"/>
                <a:gd name="T10" fmla="*/ 0 w 1165"/>
                <a:gd name="T11" fmla="*/ 1272 h 1273"/>
                <a:gd name="T12" fmla="*/ 0 w 1165"/>
                <a:gd name="T13" fmla="*/ 0 h 1273"/>
                <a:gd name="T14" fmla="*/ 241 w 1165"/>
                <a:gd name="T15" fmla="*/ 0 h 1273"/>
                <a:gd name="T16" fmla="*/ 874 w 1165"/>
                <a:gd name="T17" fmla="*/ 773 h 1273"/>
                <a:gd name="T18" fmla="*/ 874 w 1165"/>
                <a:gd name="T19" fmla="*/ 0 h 1273"/>
                <a:gd name="T20" fmla="*/ 1164 w 1165"/>
                <a:gd name="T21" fmla="*/ 0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5" h="1273">
                  <a:moveTo>
                    <a:pt x="1164" y="0"/>
                  </a:moveTo>
                  <a:lnTo>
                    <a:pt x="1164" y="1272"/>
                  </a:lnTo>
                  <a:lnTo>
                    <a:pt x="924" y="1272"/>
                  </a:lnTo>
                  <a:lnTo>
                    <a:pt x="292" y="499"/>
                  </a:lnTo>
                  <a:lnTo>
                    <a:pt x="292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241" y="0"/>
                  </a:lnTo>
                  <a:lnTo>
                    <a:pt x="874" y="773"/>
                  </a:lnTo>
                  <a:lnTo>
                    <a:pt x="874" y="0"/>
                  </a:lnTo>
                  <a:lnTo>
                    <a:pt x="1164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6" name="Freeform 29">
              <a:extLst>
                <a:ext uri="{FF2B5EF4-FFF2-40B4-BE49-F238E27FC236}">
                  <a16:creationId xmlns:a16="http://schemas.microsoft.com/office/drawing/2014/main" id="{5484B4DB-5E96-3D43-A3D5-A3E369F22E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5750" y="3838575"/>
              <a:ext cx="438150" cy="474663"/>
            </a:xfrm>
            <a:custGeom>
              <a:avLst/>
              <a:gdLst>
                <a:gd name="T0" fmla="*/ 0 w 1215"/>
                <a:gd name="T1" fmla="*/ 655 h 1318"/>
                <a:gd name="T2" fmla="*/ 18 w 1215"/>
                <a:gd name="T3" fmla="*/ 521 h 1318"/>
                <a:gd name="T4" fmla="*/ 56 w 1215"/>
                <a:gd name="T5" fmla="*/ 392 h 1318"/>
                <a:gd name="T6" fmla="*/ 118 w 1215"/>
                <a:gd name="T7" fmla="*/ 280 h 1318"/>
                <a:gd name="T8" fmla="*/ 196 w 1215"/>
                <a:gd name="T9" fmla="*/ 185 h 1318"/>
                <a:gd name="T10" fmla="*/ 297 w 1215"/>
                <a:gd name="T11" fmla="*/ 107 h 1318"/>
                <a:gd name="T12" fmla="*/ 415 w 1215"/>
                <a:gd name="T13" fmla="*/ 50 h 1318"/>
                <a:gd name="T14" fmla="*/ 549 w 1215"/>
                <a:gd name="T15" fmla="*/ 12 h 1318"/>
                <a:gd name="T16" fmla="*/ 689 w 1215"/>
                <a:gd name="T17" fmla="*/ 0 h 1318"/>
                <a:gd name="T18" fmla="*/ 773 w 1215"/>
                <a:gd name="T19" fmla="*/ 6 h 1318"/>
                <a:gd name="T20" fmla="*/ 924 w 1215"/>
                <a:gd name="T21" fmla="*/ 34 h 1318"/>
                <a:gd name="T22" fmla="*/ 1053 w 1215"/>
                <a:gd name="T23" fmla="*/ 90 h 1318"/>
                <a:gd name="T24" fmla="*/ 1164 w 1215"/>
                <a:gd name="T25" fmla="*/ 174 h 1318"/>
                <a:gd name="T26" fmla="*/ 1025 w 1215"/>
                <a:gd name="T27" fmla="*/ 398 h 1318"/>
                <a:gd name="T28" fmla="*/ 991 w 1215"/>
                <a:gd name="T29" fmla="*/ 364 h 1318"/>
                <a:gd name="T30" fmla="*/ 918 w 1215"/>
                <a:gd name="T31" fmla="*/ 308 h 1318"/>
                <a:gd name="T32" fmla="*/ 839 w 1215"/>
                <a:gd name="T33" fmla="*/ 269 h 1318"/>
                <a:gd name="T34" fmla="*/ 750 w 1215"/>
                <a:gd name="T35" fmla="*/ 252 h 1318"/>
                <a:gd name="T36" fmla="*/ 706 w 1215"/>
                <a:gd name="T37" fmla="*/ 252 h 1318"/>
                <a:gd name="T38" fmla="*/ 621 w 1215"/>
                <a:gd name="T39" fmla="*/ 258 h 1318"/>
                <a:gd name="T40" fmla="*/ 543 w 1215"/>
                <a:gd name="T41" fmla="*/ 280 h 1318"/>
                <a:gd name="T42" fmla="*/ 470 w 1215"/>
                <a:gd name="T43" fmla="*/ 314 h 1318"/>
                <a:gd name="T44" fmla="*/ 415 w 1215"/>
                <a:gd name="T45" fmla="*/ 364 h 1318"/>
                <a:gd name="T46" fmla="*/ 364 w 1215"/>
                <a:gd name="T47" fmla="*/ 420 h 1318"/>
                <a:gd name="T48" fmla="*/ 331 w 1215"/>
                <a:gd name="T49" fmla="*/ 493 h 1318"/>
                <a:gd name="T50" fmla="*/ 308 w 1215"/>
                <a:gd name="T51" fmla="*/ 571 h 1318"/>
                <a:gd name="T52" fmla="*/ 297 w 1215"/>
                <a:gd name="T53" fmla="*/ 655 h 1318"/>
                <a:gd name="T54" fmla="*/ 303 w 1215"/>
                <a:gd name="T55" fmla="*/ 700 h 1318"/>
                <a:gd name="T56" fmla="*/ 314 w 1215"/>
                <a:gd name="T57" fmla="*/ 785 h 1318"/>
                <a:gd name="T58" fmla="*/ 347 w 1215"/>
                <a:gd name="T59" fmla="*/ 857 h 1318"/>
                <a:gd name="T60" fmla="*/ 387 w 1215"/>
                <a:gd name="T61" fmla="*/ 924 h 1318"/>
                <a:gd name="T62" fmla="*/ 442 w 1215"/>
                <a:gd name="T63" fmla="*/ 975 h 1318"/>
                <a:gd name="T64" fmla="*/ 504 w 1215"/>
                <a:gd name="T65" fmla="*/ 1019 h 1318"/>
                <a:gd name="T66" fmla="*/ 583 w 1215"/>
                <a:gd name="T67" fmla="*/ 1048 h 1318"/>
                <a:gd name="T68" fmla="*/ 661 w 1215"/>
                <a:gd name="T69" fmla="*/ 1059 h 1318"/>
                <a:gd name="T70" fmla="*/ 706 w 1215"/>
                <a:gd name="T71" fmla="*/ 1064 h 1318"/>
                <a:gd name="T72" fmla="*/ 795 w 1215"/>
                <a:gd name="T73" fmla="*/ 1053 h 1318"/>
                <a:gd name="T74" fmla="*/ 879 w 1215"/>
                <a:gd name="T75" fmla="*/ 1025 h 1318"/>
                <a:gd name="T76" fmla="*/ 957 w 1215"/>
                <a:gd name="T77" fmla="*/ 981 h 1318"/>
                <a:gd name="T78" fmla="*/ 1025 w 1215"/>
                <a:gd name="T79" fmla="*/ 913 h 1318"/>
                <a:gd name="T80" fmla="*/ 1214 w 1215"/>
                <a:gd name="T81" fmla="*/ 1086 h 1318"/>
                <a:gd name="T82" fmla="*/ 1114 w 1215"/>
                <a:gd name="T83" fmla="*/ 1182 h 1318"/>
                <a:gd name="T84" fmla="*/ 991 w 1215"/>
                <a:gd name="T85" fmla="*/ 1254 h 1318"/>
                <a:gd name="T86" fmla="*/ 845 w 1215"/>
                <a:gd name="T87" fmla="*/ 1299 h 1318"/>
                <a:gd name="T88" fmla="*/ 689 w 1215"/>
                <a:gd name="T89" fmla="*/ 1317 h 1318"/>
                <a:gd name="T90" fmla="*/ 616 w 1215"/>
                <a:gd name="T91" fmla="*/ 1311 h 1318"/>
                <a:gd name="T92" fmla="*/ 482 w 1215"/>
                <a:gd name="T93" fmla="*/ 1288 h 1318"/>
                <a:gd name="T94" fmla="*/ 353 w 1215"/>
                <a:gd name="T95" fmla="*/ 1238 h 1318"/>
                <a:gd name="T96" fmla="*/ 246 w 1215"/>
                <a:gd name="T97" fmla="*/ 1171 h 1318"/>
                <a:gd name="T98" fmla="*/ 157 w 1215"/>
                <a:gd name="T99" fmla="*/ 1081 h 1318"/>
                <a:gd name="T100" fmla="*/ 85 w 1215"/>
                <a:gd name="T101" fmla="*/ 981 h 1318"/>
                <a:gd name="T102" fmla="*/ 34 w 1215"/>
                <a:gd name="T103" fmla="*/ 857 h 1318"/>
                <a:gd name="T104" fmla="*/ 6 w 1215"/>
                <a:gd name="T105" fmla="*/ 728 h 1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15" h="1318">
                  <a:moveTo>
                    <a:pt x="0" y="655"/>
                  </a:moveTo>
                  <a:lnTo>
                    <a:pt x="0" y="655"/>
                  </a:lnTo>
                  <a:lnTo>
                    <a:pt x="6" y="588"/>
                  </a:lnTo>
                  <a:lnTo>
                    <a:pt x="18" y="521"/>
                  </a:lnTo>
                  <a:lnTo>
                    <a:pt x="34" y="454"/>
                  </a:lnTo>
                  <a:lnTo>
                    <a:pt x="56" y="392"/>
                  </a:lnTo>
                  <a:lnTo>
                    <a:pt x="85" y="336"/>
                  </a:lnTo>
                  <a:lnTo>
                    <a:pt x="118" y="280"/>
                  </a:lnTo>
                  <a:lnTo>
                    <a:pt x="157" y="230"/>
                  </a:lnTo>
                  <a:lnTo>
                    <a:pt x="196" y="185"/>
                  </a:lnTo>
                  <a:lnTo>
                    <a:pt x="246" y="146"/>
                  </a:lnTo>
                  <a:lnTo>
                    <a:pt x="297" y="107"/>
                  </a:lnTo>
                  <a:lnTo>
                    <a:pt x="359" y="73"/>
                  </a:lnTo>
                  <a:lnTo>
                    <a:pt x="415" y="50"/>
                  </a:lnTo>
                  <a:lnTo>
                    <a:pt x="482" y="28"/>
                  </a:lnTo>
                  <a:lnTo>
                    <a:pt x="549" y="12"/>
                  </a:lnTo>
                  <a:lnTo>
                    <a:pt x="616" y="6"/>
                  </a:lnTo>
                  <a:lnTo>
                    <a:pt x="689" y="0"/>
                  </a:lnTo>
                  <a:lnTo>
                    <a:pt x="689" y="0"/>
                  </a:lnTo>
                  <a:lnTo>
                    <a:pt x="773" y="6"/>
                  </a:lnTo>
                  <a:lnTo>
                    <a:pt x="845" y="17"/>
                  </a:lnTo>
                  <a:lnTo>
                    <a:pt x="924" y="34"/>
                  </a:lnTo>
                  <a:lnTo>
                    <a:pt x="991" y="56"/>
                  </a:lnTo>
                  <a:lnTo>
                    <a:pt x="1053" y="90"/>
                  </a:lnTo>
                  <a:lnTo>
                    <a:pt x="1114" y="129"/>
                  </a:lnTo>
                  <a:lnTo>
                    <a:pt x="1164" y="174"/>
                  </a:lnTo>
                  <a:lnTo>
                    <a:pt x="1214" y="224"/>
                  </a:lnTo>
                  <a:lnTo>
                    <a:pt x="1025" y="398"/>
                  </a:lnTo>
                  <a:lnTo>
                    <a:pt x="1025" y="398"/>
                  </a:lnTo>
                  <a:lnTo>
                    <a:pt x="991" y="364"/>
                  </a:lnTo>
                  <a:lnTo>
                    <a:pt x="957" y="336"/>
                  </a:lnTo>
                  <a:lnTo>
                    <a:pt x="918" y="308"/>
                  </a:lnTo>
                  <a:lnTo>
                    <a:pt x="879" y="285"/>
                  </a:lnTo>
                  <a:lnTo>
                    <a:pt x="839" y="269"/>
                  </a:lnTo>
                  <a:lnTo>
                    <a:pt x="795" y="258"/>
                  </a:lnTo>
                  <a:lnTo>
                    <a:pt x="750" y="252"/>
                  </a:lnTo>
                  <a:lnTo>
                    <a:pt x="706" y="252"/>
                  </a:lnTo>
                  <a:lnTo>
                    <a:pt x="706" y="252"/>
                  </a:lnTo>
                  <a:lnTo>
                    <a:pt x="661" y="252"/>
                  </a:lnTo>
                  <a:lnTo>
                    <a:pt x="621" y="258"/>
                  </a:lnTo>
                  <a:lnTo>
                    <a:pt x="583" y="269"/>
                  </a:lnTo>
                  <a:lnTo>
                    <a:pt x="543" y="280"/>
                  </a:lnTo>
                  <a:lnTo>
                    <a:pt x="504" y="297"/>
                  </a:lnTo>
                  <a:lnTo>
                    <a:pt x="470" y="314"/>
                  </a:lnTo>
                  <a:lnTo>
                    <a:pt x="442" y="336"/>
                  </a:lnTo>
                  <a:lnTo>
                    <a:pt x="415" y="364"/>
                  </a:lnTo>
                  <a:lnTo>
                    <a:pt x="387" y="392"/>
                  </a:lnTo>
                  <a:lnTo>
                    <a:pt x="364" y="420"/>
                  </a:lnTo>
                  <a:lnTo>
                    <a:pt x="347" y="454"/>
                  </a:lnTo>
                  <a:lnTo>
                    <a:pt x="331" y="493"/>
                  </a:lnTo>
                  <a:lnTo>
                    <a:pt x="314" y="532"/>
                  </a:lnTo>
                  <a:lnTo>
                    <a:pt x="308" y="571"/>
                  </a:lnTo>
                  <a:lnTo>
                    <a:pt x="303" y="611"/>
                  </a:lnTo>
                  <a:lnTo>
                    <a:pt x="297" y="655"/>
                  </a:lnTo>
                  <a:lnTo>
                    <a:pt x="297" y="655"/>
                  </a:lnTo>
                  <a:lnTo>
                    <a:pt x="303" y="700"/>
                  </a:lnTo>
                  <a:lnTo>
                    <a:pt x="308" y="745"/>
                  </a:lnTo>
                  <a:lnTo>
                    <a:pt x="314" y="785"/>
                  </a:lnTo>
                  <a:lnTo>
                    <a:pt x="331" y="823"/>
                  </a:lnTo>
                  <a:lnTo>
                    <a:pt x="347" y="857"/>
                  </a:lnTo>
                  <a:lnTo>
                    <a:pt x="364" y="890"/>
                  </a:lnTo>
                  <a:lnTo>
                    <a:pt x="387" y="924"/>
                  </a:lnTo>
                  <a:lnTo>
                    <a:pt x="415" y="952"/>
                  </a:lnTo>
                  <a:lnTo>
                    <a:pt x="442" y="975"/>
                  </a:lnTo>
                  <a:lnTo>
                    <a:pt x="470" y="997"/>
                  </a:lnTo>
                  <a:lnTo>
                    <a:pt x="504" y="1019"/>
                  </a:lnTo>
                  <a:lnTo>
                    <a:pt x="543" y="1031"/>
                  </a:lnTo>
                  <a:lnTo>
                    <a:pt x="583" y="1048"/>
                  </a:lnTo>
                  <a:lnTo>
                    <a:pt x="621" y="1053"/>
                  </a:lnTo>
                  <a:lnTo>
                    <a:pt x="661" y="1059"/>
                  </a:lnTo>
                  <a:lnTo>
                    <a:pt x="706" y="1064"/>
                  </a:lnTo>
                  <a:lnTo>
                    <a:pt x="706" y="1064"/>
                  </a:lnTo>
                  <a:lnTo>
                    <a:pt x="750" y="1059"/>
                  </a:lnTo>
                  <a:lnTo>
                    <a:pt x="795" y="1053"/>
                  </a:lnTo>
                  <a:lnTo>
                    <a:pt x="839" y="1042"/>
                  </a:lnTo>
                  <a:lnTo>
                    <a:pt x="879" y="1025"/>
                  </a:lnTo>
                  <a:lnTo>
                    <a:pt x="918" y="1003"/>
                  </a:lnTo>
                  <a:lnTo>
                    <a:pt x="957" y="981"/>
                  </a:lnTo>
                  <a:lnTo>
                    <a:pt x="991" y="947"/>
                  </a:lnTo>
                  <a:lnTo>
                    <a:pt x="1025" y="913"/>
                  </a:lnTo>
                  <a:lnTo>
                    <a:pt x="1214" y="1086"/>
                  </a:lnTo>
                  <a:lnTo>
                    <a:pt x="1214" y="1086"/>
                  </a:lnTo>
                  <a:lnTo>
                    <a:pt x="1164" y="1137"/>
                  </a:lnTo>
                  <a:lnTo>
                    <a:pt x="1114" y="1182"/>
                  </a:lnTo>
                  <a:lnTo>
                    <a:pt x="1053" y="1221"/>
                  </a:lnTo>
                  <a:lnTo>
                    <a:pt x="991" y="1254"/>
                  </a:lnTo>
                  <a:lnTo>
                    <a:pt x="918" y="1283"/>
                  </a:lnTo>
                  <a:lnTo>
                    <a:pt x="845" y="1299"/>
                  </a:lnTo>
                  <a:lnTo>
                    <a:pt x="773" y="1311"/>
                  </a:lnTo>
                  <a:lnTo>
                    <a:pt x="689" y="1317"/>
                  </a:lnTo>
                  <a:lnTo>
                    <a:pt x="689" y="1317"/>
                  </a:lnTo>
                  <a:lnTo>
                    <a:pt x="616" y="1311"/>
                  </a:lnTo>
                  <a:lnTo>
                    <a:pt x="549" y="1299"/>
                  </a:lnTo>
                  <a:lnTo>
                    <a:pt x="482" y="1288"/>
                  </a:lnTo>
                  <a:lnTo>
                    <a:pt x="415" y="1266"/>
                  </a:lnTo>
                  <a:lnTo>
                    <a:pt x="353" y="1238"/>
                  </a:lnTo>
                  <a:lnTo>
                    <a:pt x="297" y="1204"/>
                  </a:lnTo>
                  <a:lnTo>
                    <a:pt x="246" y="1171"/>
                  </a:lnTo>
                  <a:lnTo>
                    <a:pt x="196" y="1131"/>
                  </a:lnTo>
                  <a:lnTo>
                    <a:pt x="157" y="1081"/>
                  </a:lnTo>
                  <a:lnTo>
                    <a:pt x="118" y="1031"/>
                  </a:lnTo>
                  <a:lnTo>
                    <a:pt x="85" y="981"/>
                  </a:lnTo>
                  <a:lnTo>
                    <a:pt x="56" y="918"/>
                  </a:lnTo>
                  <a:lnTo>
                    <a:pt x="34" y="857"/>
                  </a:lnTo>
                  <a:lnTo>
                    <a:pt x="18" y="795"/>
                  </a:lnTo>
                  <a:lnTo>
                    <a:pt x="6" y="728"/>
                  </a:lnTo>
                  <a:lnTo>
                    <a:pt x="0" y="65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7" name="Freeform 30">
              <a:extLst>
                <a:ext uri="{FF2B5EF4-FFF2-40B4-BE49-F238E27FC236}">
                  <a16:creationId xmlns:a16="http://schemas.microsoft.com/office/drawing/2014/main" id="{5A85DFA4-5485-B04D-80F4-24DC90832D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2163" y="3846513"/>
              <a:ext cx="419100" cy="458787"/>
            </a:xfrm>
            <a:custGeom>
              <a:avLst/>
              <a:gdLst>
                <a:gd name="T0" fmla="*/ 1164 w 1165"/>
                <a:gd name="T1" fmla="*/ 0 h 1273"/>
                <a:gd name="T2" fmla="*/ 1164 w 1165"/>
                <a:gd name="T3" fmla="*/ 1272 h 1273"/>
                <a:gd name="T4" fmla="*/ 873 w 1165"/>
                <a:gd name="T5" fmla="*/ 1272 h 1273"/>
                <a:gd name="T6" fmla="*/ 873 w 1165"/>
                <a:gd name="T7" fmla="*/ 751 h 1273"/>
                <a:gd name="T8" fmla="*/ 297 w 1165"/>
                <a:gd name="T9" fmla="*/ 751 h 1273"/>
                <a:gd name="T10" fmla="*/ 297 w 1165"/>
                <a:gd name="T11" fmla="*/ 1272 h 1273"/>
                <a:gd name="T12" fmla="*/ 0 w 1165"/>
                <a:gd name="T13" fmla="*/ 1272 h 1273"/>
                <a:gd name="T14" fmla="*/ 0 w 1165"/>
                <a:gd name="T15" fmla="*/ 0 h 1273"/>
                <a:gd name="T16" fmla="*/ 297 w 1165"/>
                <a:gd name="T17" fmla="*/ 0 h 1273"/>
                <a:gd name="T18" fmla="*/ 297 w 1165"/>
                <a:gd name="T19" fmla="*/ 499 h 1273"/>
                <a:gd name="T20" fmla="*/ 873 w 1165"/>
                <a:gd name="T21" fmla="*/ 499 h 1273"/>
                <a:gd name="T22" fmla="*/ 873 w 1165"/>
                <a:gd name="T23" fmla="*/ 0 h 1273"/>
                <a:gd name="T24" fmla="*/ 1164 w 1165"/>
                <a:gd name="T25" fmla="*/ 0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5" h="1273">
                  <a:moveTo>
                    <a:pt x="1164" y="0"/>
                  </a:moveTo>
                  <a:lnTo>
                    <a:pt x="1164" y="1272"/>
                  </a:lnTo>
                  <a:lnTo>
                    <a:pt x="873" y="1272"/>
                  </a:lnTo>
                  <a:lnTo>
                    <a:pt x="873" y="751"/>
                  </a:lnTo>
                  <a:lnTo>
                    <a:pt x="297" y="751"/>
                  </a:lnTo>
                  <a:lnTo>
                    <a:pt x="297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297" y="0"/>
                  </a:lnTo>
                  <a:lnTo>
                    <a:pt x="297" y="499"/>
                  </a:lnTo>
                  <a:lnTo>
                    <a:pt x="873" y="499"/>
                  </a:lnTo>
                  <a:lnTo>
                    <a:pt x="873" y="0"/>
                  </a:lnTo>
                  <a:lnTo>
                    <a:pt x="1164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8" name="Freeform 31">
              <a:extLst>
                <a:ext uri="{FF2B5EF4-FFF2-40B4-BE49-F238E27FC236}">
                  <a16:creationId xmlns:a16="http://schemas.microsoft.com/office/drawing/2014/main" id="{94E84DB8-B67D-C249-811A-F5DF94F5B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4363" y="3290888"/>
              <a:ext cx="398462" cy="457200"/>
            </a:xfrm>
            <a:custGeom>
              <a:avLst/>
              <a:gdLst>
                <a:gd name="T0" fmla="*/ 409 w 1108"/>
                <a:gd name="T1" fmla="*/ 240 h 1272"/>
                <a:gd name="T2" fmla="*/ 0 w 1108"/>
                <a:gd name="T3" fmla="*/ 240 h 1272"/>
                <a:gd name="T4" fmla="*/ 0 w 1108"/>
                <a:gd name="T5" fmla="*/ 0 h 1272"/>
                <a:gd name="T6" fmla="*/ 1107 w 1108"/>
                <a:gd name="T7" fmla="*/ 0 h 1272"/>
                <a:gd name="T8" fmla="*/ 1107 w 1108"/>
                <a:gd name="T9" fmla="*/ 240 h 1272"/>
                <a:gd name="T10" fmla="*/ 699 w 1108"/>
                <a:gd name="T11" fmla="*/ 240 h 1272"/>
                <a:gd name="T12" fmla="*/ 699 w 1108"/>
                <a:gd name="T13" fmla="*/ 1271 h 1272"/>
                <a:gd name="T14" fmla="*/ 409 w 1108"/>
                <a:gd name="T15" fmla="*/ 1271 h 1272"/>
                <a:gd name="T16" fmla="*/ 409 w 1108"/>
                <a:gd name="T17" fmla="*/ 24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8" h="1272">
                  <a:moveTo>
                    <a:pt x="409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107" y="0"/>
                  </a:lnTo>
                  <a:lnTo>
                    <a:pt x="1107" y="240"/>
                  </a:lnTo>
                  <a:lnTo>
                    <a:pt x="699" y="240"/>
                  </a:lnTo>
                  <a:lnTo>
                    <a:pt x="699" y="1271"/>
                  </a:lnTo>
                  <a:lnTo>
                    <a:pt x="409" y="1271"/>
                  </a:lnTo>
                  <a:lnTo>
                    <a:pt x="409" y="24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9" name="Freeform 32">
              <a:extLst>
                <a:ext uri="{FF2B5EF4-FFF2-40B4-BE49-F238E27FC236}">
                  <a16:creationId xmlns:a16="http://schemas.microsoft.com/office/drawing/2014/main" id="{2D7044EC-95F3-2F48-A66F-F71D1F656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9975" y="3290888"/>
              <a:ext cx="404813" cy="457200"/>
            </a:xfrm>
            <a:custGeom>
              <a:avLst/>
              <a:gdLst>
                <a:gd name="T0" fmla="*/ 805 w 1125"/>
                <a:gd name="T1" fmla="*/ 1271 h 1272"/>
                <a:gd name="T2" fmla="*/ 565 w 1125"/>
                <a:gd name="T3" fmla="*/ 912 h 1272"/>
                <a:gd name="T4" fmla="*/ 549 w 1125"/>
                <a:gd name="T5" fmla="*/ 912 h 1272"/>
                <a:gd name="T6" fmla="*/ 291 w 1125"/>
                <a:gd name="T7" fmla="*/ 912 h 1272"/>
                <a:gd name="T8" fmla="*/ 291 w 1125"/>
                <a:gd name="T9" fmla="*/ 1271 h 1272"/>
                <a:gd name="T10" fmla="*/ 0 w 1125"/>
                <a:gd name="T11" fmla="*/ 1271 h 1272"/>
                <a:gd name="T12" fmla="*/ 0 w 1125"/>
                <a:gd name="T13" fmla="*/ 0 h 1272"/>
                <a:gd name="T14" fmla="*/ 549 w 1125"/>
                <a:gd name="T15" fmla="*/ 0 h 1272"/>
                <a:gd name="T16" fmla="*/ 549 w 1125"/>
                <a:gd name="T17" fmla="*/ 0 h 1272"/>
                <a:gd name="T18" fmla="*/ 610 w 1125"/>
                <a:gd name="T19" fmla="*/ 0 h 1272"/>
                <a:gd name="T20" fmla="*/ 672 w 1125"/>
                <a:gd name="T21" fmla="*/ 5 h 1272"/>
                <a:gd name="T22" fmla="*/ 727 w 1125"/>
                <a:gd name="T23" fmla="*/ 16 h 1272"/>
                <a:gd name="T24" fmla="*/ 778 w 1125"/>
                <a:gd name="T25" fmla="*/ 28 h 1272"/>
                <a:gd name="T26" fmla="*/ 828 w 1125"/>
                <a:gd name="T27" fmla="*/ 50 h 1272"/>
                <a:gd name="T28" fmla="*/ 873 w 1125"/>
                <a:gd name="T29" fmla="*/ 67 h 1272"/>
                <a:gd name="T30" fmla="*/ 912 w 1125"/>
                <a:gd name="T31" fmla="*/ 95 h 1272"/>
                <a:gd name="T32" fmla="*/ 951 w 1125"/>
                <a:gd name="T33" fmla="*/ 123 h 1272"/>
                <a:gd name="T34" fmla="*/ 985 w 1125"/>
                <a:gd name="T35" fmla="*/ 151 h 1272"/>
                <a:gd name="T36" fmla="*/ 1013 w 1125"/>
                <a:gd name="T37" fmla="*/ 190 h 1272"/>
                <a:gd name="T38" fmla="*/ 1041 w 1125"/>
                <a:gd name="T39" fmla="*/ 224 h 1272"/>
                <a:gd name="T40" fmla="*/ 1063 w 1125"/>
                <a:gd name="T41" fmla="*/ 269 h 1272"/>
                <a:gd name="T42" fmla="*/ 1080 w 1125"/>
                <a:gd name="T43" fmla="*/ 313 h 1272"/>
                <a:gd name="T44" fmla="*/ 1091 w 1125"/>
                <a:gd name="T45" fmla="*/ 358 h 1272"/>
                <a:gd name="T46" fmla="*/ 1097 w 1125"/>
                <a:gd name="T47" fmla="*/ 408 h 1272"/>
                <a:gd name="T48" fmla="*/ 1102 w 1125"/>
                <a:gd name="T49" fmla="*/ 459 h 1272"/>
                <a:gd name="T50" fmla="*/ 1102 w 1125"/>
                <a:gd name="T51" fmla="*/ 459 h 1272"/>
                <a:gd name="T52" fmla="*/ 1097 w 1125"/>
                <a:gd name="T53" fmla="*/ 526 h 1272"/>
                <a:gd name="T54" fmla="*/ 1080 w 1125"/>
                <a:gd name="T55" fmla="*/ 593 h 1272"/>
                <a:gd name="T56" fmla="*/ 1063 w 1125"/>
                <a:gd name="T57" fmla="*/ 649 h 1272"/>
                <a:gd name="T58" fmla="*/ 1029 w 1125"/>
                <a:gd name="T59" fmla="*/ 705 h 1272"/>
                <a:gd name="T60" fmla="*/ 996 w 1125"/>
                <a:gd name="T61" fmla="*/ 750 h 1272"/>
                <a:gd name="T62" fmla="*/ 951 w 1125"/>
                <a:gd name="T63" fmla="*/ 795 h 1272"/>
                <a:gd name="T64" fmla="*/ 896 w 1125"/>
                <a:gd name="T65" fmla="*/ 829 h 1272"/>
                <a:gd name="T66" fmla="*/ 839 w 1125"/>
                <a:gd name="T67" fmla="*/ 862 h 1272"/>
                <a:gd name="T68" fmla="*/ 1124 w 1125"/>
                <a:gd name="T69" fmla="*/ 1271 h 1272"/>
                <a:gd name="T70" fmla="*/ 805 w 1125"/>
                <a:gd name="T71" fmla="*/ 1271 h 1272"/>
                <a:gd name="T72" fmla="*/ 532 w 1125"/>
                <a:gd name="T73" fmla="*/ 240 h 1272"/>
                <a:gd name="T74" fmla="*/ 291 w 1125"/>
                <a:gd name="T75" fmla="*/ 240 h 1272"/>
                <a:gd name="T76" fmla="*/ 291 w 1125"/>
                <a:gd name="T77" fmla="*/ 683 h 1272"/>
                <a:gd name="T78" fmla="*/ 532 w 1125"/>
                <a:gd name="T79" fmla="*/ 683 h 1272"/>
                <a:gd name="T80" fmla="*/ 532 w 1125"/>
                <a:gd name="T81" fmla="*/ 683 h 1272"/>
                <a:gd name="T82" fmla="*/ 593 w 1125"/>
                <a:gd name="T83" fmla="*/ 677 h 1272"/>
                <a:gd name="T84" fmla="*/ 649 w 1125"/>
                <a:gd name="T85" fmla="*/ 666 h 1272"/>
                <a:gd name="T86" fmla="*/ 694 w 1125"/>
                <a:gd name="T87" fmla="*/ 649 h 1272"/>
                <a:gd name="T88" fmla="*/ 733 w 1125"/>
                <a:gd name="T89" fmla="*/ 621 h 1272"/>
                <a:gd name="T90" fmla="*/ 767 w 1125"/>
                <a:gd name="T91" fmla="*/ 588 h 1272"/>
                <a:gd name="T92" fmla="*/ 783 w 1125"/>
                <a:gd name="T93" fmla="*/ 554 h 1272"/>
                <a:gd name="T94" fmla="*/ 800 w 1125"/>
                <a:gd name="T95" fmla="*/ 509 h 1272"/>
                <a:gd name="T96" fmla="*/ 800 w 1125"/>
                <a:gd name="T97" fmla="*/ 459 h 1272"/>
                <a:gd name="T98" fmla="*/ 800 w 1125"/>
                <a:gd name="T99" fmla="*/ 459 h 1272"/>
                <a:gd name="T100" fmla="*/ 800 w 1125"/>
                <a:gd name="T101" fmla="*/ 408 h 1272"/>
                <a:gd name="T102" fmla="*/ 783 w 1125"/>
                <a:gd name="T103" fmla="*/ 364 h 1272"/>
                <a:gd name="T104" fmla="*/ 767 w 1125"/>
                <a:gd name="T105" fmla="*/ 330 h 1272"/>
                <a:gd name="T106" fmla="*/ 733 w 1125"/>
                <a:gd name="T107" fmla="*/ 297 h 1272"/>
                <a:gd name="T108" fmla="*/ 694 w 1125"/>
                <a:gd name="T109" fmla="*/ 269 h 1272"/>
                <a:gd name="T110" fmla="*/ 649 w 1125"/>
                <a:gd name="T111" fmla="*/ 252 h 1272"/>
                <a:gd name="T112" fmla="*/ 593 w 1125"/>
                <a:gd name="T113" fmla="*/ 240 h 1272"/>
                <a:gd name="T114" fmla="*/ 532 w 1125"/>
                <a:gd name="T115" fmla="*/ 24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25" h="1272">
                  <a:moveTo>
                    <a:pt x="805" y="1271"/>
                  </a:moveTo>
                  <a:lnTo>
                    <a:pt x="565" y="912"/>
                  </a:lnTo>
                  <a:lnTo>
                    <a:pt x="549" y="912"/>
                  </a:lnTo>
                  <a:lnTo>
                    <a:pt x="291" y="912"/>
                  </a:lnTo>
                  <a:lnTo>
                    <a:pt x="291" y="1271"/>
                  </a:lnTo>
                  <a:lnTo>
                    <a:pt x="0" y="1271"/>
                  </a:lnTo>
                  <a:lnTo>
                    <a:pt x="0" y="0"/>
                  </a:lnTo>
                  <a:lnTo>
                    <a:pt x="549" y="0"/>
                  </a:lnTo>
                  <a:lnTo>
                    <a:pt x="549" y="0"/>
                  </a:lnTo>
                  <a:lnTo>
                    <a:pt x="610" y="0"/>
                  </a:lnTo>
                  <a:lnTo>
                    <a:pt x="672" y="5"/>
                  </a:lnTo>
                  <a:lnTo>
                    <a:pt x="727" y="16"/>
                  </a:lnTo>
                  <a:lnTo>
                    <a:pt x="778" y="28"/>
                  </a:lnTo>
                  <a:lnTo>
                    <a:pt x="828" y="50"/>
                  </a:lnTo>
                  <a:lnTo>
                    <a:pt x="873" y="67"/>
                  </a:lnTo>
                  <a:lnTo>
                    <a:pt x="912" y="95"/>
                  </a:lnTo>
                  <a:lnTo>
                    <a:pt x="951" y="123"/>
                  </a:lnTo>
                  <a:lnTo>
                    <a:pt x="985" y="151"/>
                  </a:lnTo>
                  <a:lnTo>
                    <a:pt x="1013" y="190"/>
                  </a:lnTo>
                  <a:lnTo>
                    <a:pt x="1041" y="224"/>
                  </a:lnTo>
                  <a:lnTo>
                    <a:pt x="1063" y="269"/>
                  </a:lnTo>
                  <a:lnTo>
                    <a:pt x="1080" y="313"/>
                  </a:lnTo>
                  <a:lnTo>
                    <a:pt x="1091" y="358"/>
                  </a:lnTo>
                  <a:lnTo>
                    <a:pt x="1097" y="408"/>
                  </a:lnTo>
                  <a:lnTo>
                    <a:pt x="1102" y="459"/>
                  </a:lnTo>
                  <a:lnTo>
                    <a:pt x="1102" y="459"/>
                  </a:lnTo>
                  <a:lnTo>
                    <a:pt x="1097" y="526"/>
                  </a:lnTo>
                  <a:lnTo>
                    <a:pt x="1080" y="593"/>
                  </a:lnTo>
                  <a:lnTo>
                    <a:pt x="1063" y="649"/>
                  </a:lnTo>
                  <a:lnTo>
                    <a:pt x="1029" y="705"/>
                  </a:lnTo>
                  <a:lnTo>
                    <a:pt x="996" y="750"/>
                  </a:lnTo>
                  <a:lnTo>
                    <a:pt x="951" y="795"/>
                  </a:lnTo>
                  <a:lnTo>
                    <a:pt x="896" y="829"/>
                  </a:lnTo>
                  <a:lnTo>
                    <a:pt x="839" y="862"/>
                  </a:lnTo>
                  <a:lnTo>
                    <a:pt x="1124" y="1271"/>
                  </a:lnTo>
                  <a:lnTo>
                    <a:pt x="805" y="1271"/>
                  </a:lnTo>
                  <a:close/>
                  <a:moveTo>
                    <a:pt x="532" y="240"/>
                  </a:moveTo>
                  <a:lnTo>
                    <a:pt x="291" y="240"/>
                  </a:lnTo>
                  <a:lnTo>
                    <a:pt x="291" y="683"/>
                  </a:lnTo>
                  <a:lnTo>
                    <a:pt x="532" y="683"/>
                  </a:lnTo>
                  <a:lnTo>
                    <a:pt x="532" y="683"/>
                  </a:lnTo>
                  <a:lnTo>
                    <a:pt x="593" y="677"/>
                  </a:lnTo>
                  <a:lnTo>
                    <a:pt x="649" y="666"/>
                  </a:lnTo>
                  <a:lnTo>
                    <a:pt x="694" y="649"/>
                  </a:lnTo>
                  <a:lnTo>
                    <a:pt x="733" y="621"/>
                  </a:lnTo>
                  <a:lnTo>
                    <a:pt x="767" y="588"/>
                  </a:lnTo>
                  <a:lnTo>
                    <a:pt x="783" y="554"/>
                  </a:lnTo>
                  <a:lnTo>
                    <a:pt x="800" y="509"/>
                  </a:lnTo>
                  <a:lnTo>
                    <a:pt x="800" y="459"/>
                  </a:lnTo>
                  <a:lnTo>
                    <a:pt x="800" y="459"/>
                  </a:lnTo>
                  <a:lnTo>
                    <a:pt x="800" y="408"/>
                  </a:lnTo>
                  <a:lnTo>
                    <a:pt x="783" y="364"/>
                  </a:lnTo>
                  <a:lnTo>
                    <a:pt x="767" y="330"/>
                  </a:lnTo>
                  <a:lnTo>
                    <a:pt x="733" y="297"/>
                  </a:lnTo>
                  <a:lnTo>
                    <a:pt x="694" y="269"/>
                  </a:lnTo>
                  <a:lnTo>
                    <a:pt x="649" y="252"/>
                  </a:lnTo>
                  <a:lnTo>
                    <a:pt x="593" y="240"/>
                  </a:lnTo>
                  <a:lnTo>
                    <a:pt x="532" y="2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0" name="Freeform 33">
              <a:extLst>
                <a:ext uri="{FF2B5EF4-FFF2-40B4-BE49-F238E27FC236}">
                  <a16:creationId xmlns:a16="http://schemas.microsoft.com/office/drawing/2014/main" id="{DE36D7FF-7457-D148-B633-9C2464EC66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9075" y="3290888"/>
              <a:ext cx="514350" cy="457200"/>
            </a:xfrm>
            <a:custGeom>
              <a:avLst/>
              <a:gdLst>
                <a:gd name="T0" fmla="*/ 1001 w 1427"/>
                <a:gd name="T1" fmla="*/ 997 h 1272"/>
                <a:gd name="T2" fmla="*/ 414 w 1427"/>
                <a:gd name="T3" fmla="*/ 997 h 1272"/>
                <a:gd name="T4" fmla="*/ 302 w 1427"/>
                <a:gd name="T5" fmla="*/ 1271 h 1272"/>
                <a:gd name="T6" fmla="*/ 0 w 1427"/>
                <a:gd name="T7" fmla="*/ 1271 h 1272"/>
                <a:gd name="T8" fmla="*/ 565 w 1427"/>
                <a:gd name="T9" fmla="*/ 0 h 1272"/>
                <a:gd name="T10" fmla="*/ 856 w 1427"/>
                <a:gd name="T11" fmla="*/ 0 h 1272"/>
                <a:gd name="T12" fmla="*/ 1426 w 1427"/>
                <a:gd name="T13" fmla="*/ 1271 h 1272"/>
                <a:gd name="T14" fmla="*/ 1119 w 1427"/>
                <a:gd name="T15" fmla="*/ 1271 h 1272"/>
                <a:gd name="T16" fmla="*/ 1001 w 1427"/>
                <a:gd name="T17" fmla="*/ 997 h 1272"/>
                <a:gd name="T18" fmla="*/ 912 w 1427"/>
                <a:gd name="T19" fmla="*/ 772 h 1272"/>
                <a:gd name="T20" fmla="*/ 710 w 1427"/>
                <a:gd name="T21" fmla="*/ 285 h 1272"/>
                <a:gd name="T22" fmla="*/ 509 w 1427"/>
                <a:gd name="T23" fmla="*/ 772 h 1272"/>
                <a:gd name="T24" fmla="*/ 912 w 1427"/>
                <a:gd name="T25" fmla="*/ 772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7" h="1272">
                  <a:moveTo>
                    <a:pt x="1001" y="997"/>
                  </a:moveTo>
                  <a:lnTo>
                    <a:pt x="414" y="997"/>
                  </a:lnTo>
                  <a:lnTo>
                    <a:pt x="302" y="1271"/>
                  </a:lnTo>
                  <a:lnTo>
                    <a:pt x="0" y="1271"/>
                  </a:lnTo>
                  <a:lnTo>
                    <a:pt x="565" y="0"/>
                  </a:lnTo>
                  <a:lnTo>
                    <a:pt x="856" y="0"/>
                  </a:lnTo>
                  <a:lnTo>
                    <a:pt x="1426" y="1271"/>
                  </a:lnTo>
                  <a:lnTo>
                    <a:pt x="1119" y="1271"/>
                  </a:lnTo>
                  <a:lnTo>
                    <a:pt x="1001" y="997"/>
                  </a:lnTo>
                  <a:close/>
                  <a:moveTo>
                    <a:pt x="912" y="772"/>
                  </a:moveTo>
                  <a:lnTo>
                    <a:pt x="710" y="285"/>
                  </a:lnTo>
                  <a:lnTo>
                    <a:pt x="509" y="772"/>
                  </a:lnTo>
                  <a:lnTo>
                    <a:pt x="912" y="7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1" name="Freeform 34">
              <a:extLst>
                <a:ext uri="{FF2B5EF4-FFF2-40B4-BE49-F238E27FC236}">
                  <a16:creationId xmlns:a16="http://schemas.microsoft.com/office/drawing/2014/main" id="{6B8D098D-DD46-3E44-BFC1-6633EC778C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9463" y="3290888"/>
              <a:ext cx="419100" cy="457200"/>
            </a:xfrm>
            <a:custGeom>
              <a:avLst/>
              <a:gdLst>
                <a:gd name="T0" fmla="*/ 1164 w 1165"/>
                <a:gd name="T1" fmla="*/ 0 h 1272"/>
                <a:gd name="T2" fmla="*/ 1164 w 1165"/>
                <a:gd name="T3" fmla="*/ 1271 h 1272"/>
                <a:gd name="T4" fmla="*/ 923 w 1165"/>
                <a:gd name="T5" fmla="*/ 1271 h 1272"/>
                <a:gd name="T6" fmla="*/ 291 w 1165"/>
                <a:gd name="T7" fmla="*/ 498 h 1272"/>
                <a:gd name="T8" fmla="*/ 291 w 1165"/>
                <a:gd name="T9" fmla="*/ 1271 h 1272"/>
                <a:gd name="T10" fmla="*/ 0 w 1165"/>
                <a:gd name="T11" fmla="*/ 1271 h 1272"/>
                <a:gd name="T12" fmla="*/ 0 w 1165"/>
                <a:gd name="T13" fmla="*/ 0 h 1272"/>
                <a:gd name="T14" fmla="*/ 246 w 1165"/>
                <a:gd name="T15" fmla="*/ 0 h 1272"/>
                <a:gd name="T16" fmla="*/ 873 w 1165"/>
                <a:gd name="T17" fmla="*/ 767 h 1272"/>
                <a:gd name="T18" fmla="*/ 873 w 1165"/>
                <a:gd name="T19" fmla="*/ 0 h 1272"/>
                <a:gd name="T20" fmla="*/ 1164 w 1165"/>
                <a:gd name="T21" fmla="*/ 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5" h="1272">
                  <a:moveTo>
                    <a:pt x="1164" y="0"/>
                  </a:moveTo>
                  <a:lnTo>
                    <a:pt x="1164" y="1271"/>
                  </a:lnTo>
                  <a:lnTo>
                    <a:pt x="923" y="1271"/>
                  </a:lnTo>
                  <a:lnTo>
                    <a:pt x="291" y="498"/>
                  </a:lnTo>
                  <a:lnTo>
                    <a:pt x="291" y="1271"/>
                  </a:lnTo>
                  <a:lnTo>
                    <a:pt x="0" y="1271"/>
                  </a:lnTo>
                  <a:lnTo>
                    <a:pt x="0" y="0"/>
                  </a:lnTo>
                  <a:lnTo>
                    <a:pt x="246" y="0"/>
                  </a:lnTo>
                  <a:lnTo>
                    <a:pt x="873" y="767"/>
                  </a:lnTo>
                  <a:lnTo>
                    <a:pt x="873" y="0"/>
                  </a:lnTo>
                  <a:lnTo>
                    <a:pt x="1164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2" name="Freeform 35">
              <a:extLst>
                <a:ext uri="{FF2B5EF4-FFF2-40B4-BE49-F238E27FC236}">
                  <a16:creationId xmlns:a16="http://schemas.microsoft.com/office/drawing/2014/main" id="{4EA8BF59-FBE0-4942-BF51-14D2C21AA5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0000" y="3282950"/>
              <a:ext cx="381000" cy="473075"/>
            </a:xfrm>
            <a:custGeom>
              <a:avLst/>
              <a:gdLst>
                <a:gd name="T0" fmla="*/ 101 w 1059"/>
                <a:gd name="T1" fmla="*/ 947 h 1312"/>
                <a:gd name="T2" fmla="*/ 241 w 1059"/>
                <a:gd name="T3" fmla="*/ 1020 h 1312"/>
                <a:gd name="T4" fmla="*/ 409 w 1059"/>
                <a:gd name="T5" fmla="*/ 1070 h 1312"/>
                <a:gd name="T6" fmla="*/ 520 w 1059"/>
                <a:gd name="T7" fmla="*/ 1076 h 1312"/>
                <a:gd name="T8" fmla="*/ 677 w 1059"/>
                <a:gd name="T9" fmla="*/ 1053 h 1312"/>
                <a:gd name="T10" fmla="*/ 750 w 1059"/>
                <a:gd name="T11" fmla="*/ 997 h 1312"/>
                <a:gd name="T12" fmla="*/ 766 w 1059"/>
                <a:gd name="T13" fmla="*/ 941 h 1312"/>
                <a:gd name="T14" fmla="*/ 744 w 1059"/>
                <a:gd name="T15" fmla="*/ 885 h 1312"/>
                <a:gd name="T16" fmla="*/ 649 w 1059"/>
                <a:gd name="T17" fmla="*/ 824 h 1312"/>
                <a:gd name="T18" fmla="*/ 397 w 1059"/>
                <a:gd name="T19" fmla="*/ 757 h 1312"/>
                <a:gd name="T20" fmla="*/ 196 w 1059"/>
                <a:gd name="T21" fmla="*/ 684 h 1312"/>
                <a:gd name="T22" fmla="*/ 95 w 1059"/>
                <a:gd name="T23" fmla="*/ 599 h 1312"/>
                <a:gd name="T24" fmla="*/ 45 w 1059"/>
                <a:gd name="T25" fmla="*/ 510 h 1312"/>
                <a:gd name="T26" fmla="*/ 28 w 1059"/>
                <a:gd name="T27" fmla="*/ 398 h 1312"/>
                <a:gd name="T28" fmla="*/ 34 w 1059"/>
                <a:gd name="T29" fmla="*/ 314 h 1312"/>
                <a:gd name="T30" fmla="*/ 78 w 1059"/>
                <a:gd name="T31" fmla="*/ 207 h 1312"/>
                <a:gd name="T32" fmla="*/ 157 w 1059"/>
                <a:gd name="T33" fmla="*/ 118 h 1312"/>
                <a:gd name="T34" fmla="*/ 280 w 1059"/>
                <a:gd name="T35" fmla="*/ 51 h 1312"/>
                <a:gd name="T36" fmla="*/ 437 w 1059"/>
                <a:gd name="T37" fmla="*/ 6 h 1312"/>
                <a:gd name="T38" fmla="*/ 560 w 1059"/>
                <a:gd name="T39" fmla="*/ 0 h 1312"/>
                <a:gd name="T40" fmla="*/ 739 w 1059"/>
                <a:gd name="T41" fmla="*/ 17 h 1312"/>
                <a:gd name="T42" fmla="*/ 907 w 1059"/>
                <a:gd name="T43" fmla="*/ 62 h 1312"/>
                <a:gd name="T44" fmla="*/ 912 w 1059"/>
                <a:gd name="T45" fmla="*/ 336 h 1312"/>
                <a:gd name="T46" fmla="*/ 733 w 1059"/>
                <a:gd name="T47" fmla="*/ 258 h 1312"/>
                <a:gd name="T48" fmla="*/ 560 w 1059"/>
                <a:gd name="T49" fmla="*/ 235 h 1312"/>
                <a:gd name="T50" fmla="*/ 409 w 1059"/>
                <a:gd name="T51" fmla="*/ 258 h 1312"/>
                <a:gd name="T52" fmla="*/ 330 w 1059"/>
                <a:gd name="T53" fmla="*/ 325 h 1312"/>
                <a:gd name="T54" fmla="*/ 319 w 1059"/>
                <a:gd name="T55" fmla="*/ 381 h 1312"/>
                <a:gd name="T56" fmla="*/ 336 w 1059"/>
                <a:gd name="T57" fmla="*/ 437 h 1312"/>
                <a:gd name="T58" fmla="*/ 437 w 1059"/>
                <a:gd name="T59" fmla="*/ 499 h 1312"/>
                <a:gd name="T60" fmla="*/ 688 w 1059"/>
                <a:gd name="T61" fmla="*/ 560 h 1312"/>
                <a:gd name="T62" fmla="*/ 884 w 1059"/>
                <a:gd name="T63" fmla="*/ 633 h 1312"/>
                <a:gd name="T64" fmla="*/ 990 w 1059"/>
                <a:gd name="T65" fmla="*/ 717 h 1312"/>
                <a:gd name="T66" fmla="*/ 1040 w 1059"/>
                <a:gd name="T67" fmla="*/ 807 h 1312"/>
                <a:gd name="T68" fmla="*/ 1058 w 1059"/>
                <a:gd name="T69" fmla="*/ 919 h 1312"/>
                <a:gd name="T70" fmla="*/ 1046 w 1059"/>
                <a:gd name="T71" fmla="*/ 997 h 1312"/>
                <a:gd name="T72" fmla="*/ 1007 w 1059"/>
                <a:gd name="T73" fmla="*/ 1104 h 1312"/>
                <a:gd name="T74" fmla="*/ 923 w 1059"/>
                <a:gd name="T75" fmla="*/ 1199 h 1312"/>
                <a:gd name="T76" fmla="*/ 806 w 1059"/>
                <a:gd name="T77" fmla="*/ 1266 h 1312"/>
                <a:gd name="T78" fmla="*/ 643 w 1059"/>
                <a:gd name="T79" fmla="*/ 1305 h 1312"/>
                <a:gd name="T80" fmla="*/ 520 w 1059"/>
                <a:gd name="T81" fmla="*/ 1311 h 1312"/>
                <a:gd name="T82" fmla="*/ 296 w 1059"/>
                <a:gd name="T83" fmla="*/ 1289 h 1312"/>
                <a:gd name="T84" fmla="*/ 101 w 1059"/>
                <a:gd name="T85" fmla="*/ 1227 h 1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9" h="1312">
                  <a:moveTo>
                    <a:pt x="0" y="1165"/>
                  </a:moveTo>
                  <a:lnTo>
                    <a:pt x="101" y="947"/>
                  </a:lnTo>
                  <a:lnTo>
                    <a:pt x="101" y="947"/>
                  </a:lnTo>
                  <a:lnTo>
                    <a:pt x="146" y="975"/>
                  </a:lnTo>
                  <a:lnTo>
                    <a:pt x="191" y="997"/>
                  </a:lnTo>
                  <a:lnTo>
                    <a:pt x="241" y="1020"/>
                  </a:lnTo>
                  <a:lnTo>
                    <a:pt x="296" y="1042"/>
                  </a:lnTo>
                  <a:lnTo>
                    <a:pt x="347" y="1059"/>
                  </a:lnTo>
                  <a:lnTo>
                    <a:pt x="409" y="1070"/>
                  </a:lnTo>
                  <a:lnTo>
                    <a:pt x="465" y="1076"/>
                  </a:lnTo>
                  <a:lnTo>
                    <a:pt x="520" y="1076"/>
                  </a:lnTo>
                  <a:lnTo>
                    <a:pt x="520" y="1076"/>
                  </a:lnTo>
                  <a:lnTo>
                    <a:pt x="582" y="1076"/>
                  </a:lnTo>
                  <a:lnTo>
                    <a:pt x="632" y="1070"/>
                  </a:lnTo>
                  <a:lnTo>
                    <a:pt x="677" y="1053"/>
                  </a:lnTo>
                  <a:lnTo>
                    <a:pt x="711" y="1036"/>
                  </a:lnTo>
                  <a:lnTo>
                    <a:pt x="733" y="1020"/>
                  </a:lnTo>
                  <a:lnTo>
                    <a:pt x="750" y="997"/>
                  </a:lnTo>
                  <a:lnTo>
                    <a:pt x="761" y="969"/>
                  </a:lnTo>
                  <a:lnTo>
                    <a:pt x="766" y="941"/>
                  </a:lnTo>
                  <a:lnTo>
                    <a:pt x="766" y="941"/>
                  </a:lnTo>
                  <a:lnTo>
                    <a:pt x="761" y="919"/>
                  </a:lnTo>
                  <a:lnTo>
                    <a:pt x="755" y="902"/>
                  </a:lnTo>
                  <a:lnTo>
                    <a:pt x="744" y="885"/>
                  </a:lnTo>
                  <a:lnTo>
                    <a:pt x="733" y="868"/>
                  </a:lnTo>
                  <a:lnTo>
                    <a:pt x="699" y="840"/>
                  </a:lnTo>
                  <a:lnTo>
                    <a:pt x="649" y="824"/>
                  </a:lnTo>
                  <a:lnTo>
                    <a:pt x="593" y="807"/>
                  </a:lnTo>
                  <a:lnTo>
                    <a:pt x="532" y="790"/>
                  </a:lnTo>
                  <a:lnTo>
                    <a:pt x="397" y="757"/>
                  </a:lnTo>
                  <a:lnTo>
                    <a:pt x="330" y="734"/>
                  </a:lnTo>
                  <a:lnTo>
                    <a:pt x="263" y="712"/>
                  </a:lnTo>
                  <a:lnTo>
                    <a:pt x="196" y="684"/>
                  </a:lnTo>
                  <a:lnTo>
                    <a:pt x="140" y="644"/>
                  </a:lnTo>
                  <a:lnTo>
                    <a:pt x="118" y="622"/>
                  </a:lnTo>
                  <a:lnTo>
                    <a:pt x="95" y="599"/>
                  </a:lnTo>
                  <a:lnTo>
                    <a:pt x="78" y="571"/>
                  </a:lnTo>
                  <a:lnTo>
                    <a:pt x="62" y="544"/>
                  </a:lnTo>
                  <a:lnTo>
                    <a:pt x="45" y="510"/>
                  </a:lnTo>
                  <a:lnTo>
                    <a:pt x="34" y="476"/>
                  </a:lnTo>
                  <a:lnTo>
                    <a:pt x="28" y="437"/>
                  </a:lnTo>
                  <a:lnTo>
                    <a:pt x="28" y="398"/>
                  </a:lnTo>
                  <a:lnTo>
                    <a:pt x="28" y="398"/>
                  </a:lnTo>
                  <a:lnTo>
                    <a:pt x="28" y="353"/>
                  </a:lnTo>
                  <a:lnTo>
                    <a:pt x="34" y="314"/>
                  </a:lnTo>
                  <a:lnTo>
                    <a:pt x="45" y="280"/>
                  </a:lnTo>
                  <a:lnTo>
                    <a:pt x="62" y="241"/>
                  </a:lnTo>
                  <a:lnTo>
                    <a:pt x="78" y="207"/>
                  </a:lnTo>
                  <a:lnTo>
                    <a:pt x="101" y="174"/>
                  </a:lnTo>
                  <a:lnTo>
                    <a:pt x="129" y="146"/>
                  </a:lnTo>
                  <a:lnTo>
                    <a:pt x="157" y="118"/>
                  </a:lnTo>
                  <a:lnTo>
                    <a:pt x="196" y="90"/>
                  </a:lnTo>
                  <a:lnTo>
                    <a:pt x="235" y="67"/>
                  </a:lnTo>
                  <a:lnTo>
                    <a:pt x="280" y="51"/>
                  </a:lnTo>
                  <a:lnTo>
                    <a:pt x="324" y="34"/>
                  </a:lnTo>
                  <a:lnTo>
                    <a:pt x="380" y="17"/>
                  </a:lnTo>
                  <a:lnTo>
                    <a:pt x="437" y="6"/>
                  </a:lnTo>
                  <a:lnTo>
                    <a:pt x="498" y="0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621" y="0"/>
                  </a:lnTo>
                  <a:lnTo>
                    <a:pt x="683" y="6"/>
                  </a:lnTo>
                  <a:lnTo>
                    <a:pt x="739" y="17"/>
                  </a:lnTo>
                  <a:lnTo>
                    <a:pt x="800" y="28"/>
                  </a:lnTo>
                  <a:lnTo>
                    <a:pt x="856" y="45"/>
                  </a:lnTo>
                  <a:lnTo>
                    <a:pt x="907" y="62"/>
                  </a:lnTo>
                  <a:lnTo>
                    <a:pt x="957" y="84"/>
                  </a:lnTo>
                  <a:lnTo>
                    <a:pt x="1002" y="112"/>
                  </a:lnTo>
                  <a:lnTo>
                    <a:pt x="912" y="336"/>
                  </a:lnTo>
                  <a:lnTo>
                    <a:pt x="912" y="336"/>
                  </a:lnTo>
                  <a:lnTo>
                    <a:pt x="822" y="292"/>
                  </a:lnTo>
                  <a:lnTo>
                    <a:pt x="733" y="258"/>
                  </a:lnTo>
                  <a:lnTo>
                    <a:pt x="643" y="241"/>
                  </a:lnTo>
                  <a:lnTo>
                    <a:pt x="560" y="235"/>
                  </a:lnTo>
                  <a:lnTo>
                    <a:pt x="560" y="235"/>
                  </a:lnTo>
                  <a:lnTo>
                    <a:pt x="498" y="241"/>
                  </a:lnTo>
                  <a:lnTo>
                    <a:pt x="447" y="247"/>
                  </a:lnTo>
                  <a:lnTo>
                    <a:pt x="409" y="258"/>
                  </a:lnTo>
                  <a:lnTo>
                    <a:pt x="375" y="280"/>
                  </a:lnTo>
                  <a:lnTo>
                    <a:pt x="347" y="297"/>
                  </a:lnTo>
                  <a:lnTo>
                    <a:pt x="330" y="325"/>
                  </a:lnTo>
                  <a:lnTo>
                    <a:pt x="324" y="353"/>
                  </a:lnTo>
                  <a:lnTo>
                    <a:pt x="319" y="381"/>
                  </a:lnTo>
                  <a:lnTo>
                    <a:pt x="319" y="381"/>
                  </a:lnTo>
                  <a:lnTo>
                    <a:pt x="319" y="403"/>
                  </a:lnTo>
                  <a:lnTo>
                    <a:pt x="330" y="421"/>
                  </a:lnTo>
                  <a:lnTo>
                    <a:pt x="336" y="437"/>
                  </a:lnTo>
                  <a:lnTo>
                    <a:pt x="352" y="454"/>
                  </a:lnTo>
                  <a:lnTo>
                    <a:pt x="386" y="476"/>
                  </a:lnTo>
                  <a:lnTo>
                    <a:pt x="437" y="499"/>
                  </a:lnTo>
                  <a:lnTo>
                    <a:pt x="492" y="516"/>
                  </a:lnTo>
                  <a:lnTo>
                    <a:pt x="554" y="532"/>
                  </a:lnTo>
                  <a:lnTo>
                    <a:pt x="688" y="560"/>
                  </a:lnTo>
                  <a:lnTo>
                    <a:pt x="755" y="583"/>
                  </a:lnTo>
                  <a:lnTo>
                    <a:pt x="822" y="605"/>
                  </a:lnTo>
                  <a:lnTo>
                    <a:pt x="884" y="633"/>
                  </a:lnTo>
                  <a:lnTo>
                    <a:pt x="940" y="672"/>
                  </a:lnTo>
                  <a:lnTo>
                    <a:pt x="968" y="694"/>
                  </a:lnTo>
                  <a:lnTo>
                    <a:pt x="990" y="717"/>
                  </a:lnTo>
                  <a:lnTo>
                    <a:pt x="1007" y="745"/>
                  </a:lnTo>
                  <a:lnTo>
                    <a:pt x="1024" y="773"/>
                  </a:lnTo>
                  <a:lnTo>
                    <a:pt x="1040" y="807"/>
                  </a:lnTo>
                  <a:lnTo>
                    <a:pt x="1046" y="840"/>
                  </a:lnTo>
                  <a:lnTo>
                    <a:pt x="1058" y="880"/>
                  </a:lnTo>
                  <a:lnTo>
                    <a:pt x="1058" y="919"/>
                  </a:lnTo>
                  <a:lnTo>
                    <a:pt x="1058" y="919"/>
                  </a:lnTo>
                  <a:lnTo>
                    <a:pt x="1058" y="958"/>
                  </a:lnTo>
                  <a:lnTo>
                    <a:pt x="1046" y="997"/>
                  </a:lnTo>
                  <a:lnTo>
                    <a:pt x="1040" y="1036"/>
                  </a:lnTo>
                  <a:lnTo>
                    <a:pt x="1024" y="1070"/>
                  </a:lnTo>
                  <a:lnTo>
                    <a:pt x="1007" y="1104"/>
                  </a:lnTo>
                  <a:lnTo>
                    <a:pt x="985" y="1137"/>
                  </a:lnTo>
                  <a:lnTo>
                    <a:pt x="957" y="1165"/>
                  </a:lnTo>
                  <a:lnTo>
                    <a:pt x="923" y="1199"/>
                  </a:lnTo>
                  <a:lnTo>
                    <a:pt x="889" y="1221"/>
                  </a:lnTo>
                  <a:lnTo>
                    <a:pt x="850" y="1244"/>
                  </a:lnTo>
                  <a:lnTo>
                    <a:pt x="806" y="1266"/>
                  </a:lnTo>
                  <a:lnTo>
                    <a:pt x="755" y="1283"/>
                  </a:lnTo>
                  <a:lnTo>
                    <a:pt x="705" y="1294"/>
                  </a:lnTo>
                  <a:lnTo>
                    <a:pt x="643" y="1305"/>
                  </a:lnTo>
                  <a:lnTo>
                    <a:pt x="582" y="1311"/>
                  </a:lnTo>
                  <a:lnTo>
                    <a:pt x="520" y="1311"/>
                  </a:lnTo>
                  <a:lnTo>
                    <a:pt x="520" y="1311"/>
                  </a:lnTo>
                  <a:lnTo>
                    <a:pt x="442" y="1311"/>
                  </a:lnTo>
                  <a:lnTo>
                    <a:pt x="369" y="1305"/>
                  </a:lnTo>
                  <a:lnTo>
                    <a:pt x="296" y="1289"/>
                  </a:lnTo>
                  <a:lnTo>
                    <a:pt x="229" y="1272"/>
                  </a:lnTo>
                  <a:lnTo>
                    <a:pt x="162" y="1249"/>
                  </a:lnTo>
                  <a:lnTo>
                    <a:pt x="101" y="1227"/>
                  </a:lnTo>
                  <a:lnTo>
                    <a:pt x="50" y="1199"/>
                  </a:lnTo>
                  <a:lnTo>
                    <a:pt x="0" y="116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3" name="Freeform 36">
              <a:extLst>
                <a:ext uri="{FF2B5EF4-FFF2-40B4-BE49-F238E27FC236}">
                  <a16:creationId xmlns:a16="http://schemas.microsoft.com/office/drawing/2014/main" id="{D968019C-C68E-CC49-9679-6D376529F8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025" y="3290888"/>
              <a:ext cx="344488" cy="457200"/>
            </a:xfrm>
            <a:custGeom>
              <a:avLst/>
              <a:gdLst>
                <a:gd name="T0" fmla="*/ 291 w 958"/>
                <a:gd name="T1" fmla="*/ 235 h 1272"/>
                <a:gd name="T2" fmla="*/ 291 w 958"/>
                <a:gd name="T3" fmla="*/ 571 h 1272"/>
                <a:gd name="T4" fmla="*/ 878 w 958"/>
                <a:gd name="T5" fmla="*/ 571 h 1272"/>
                <a:gd name="T6" fmla="*/ 878 w 958"/>
                <a:gd name="T7" fmla="*/ 806 h 1272"/>
                <a:gd name="T8" fmla="*/ 291 w 958"/>
                <a:gd name="T9" fmla="*/ 806 h 1272"/>
                <a:gd name="T10" fmla="*/ 291 w 958"/>
                <a:gd name="T11" fmla="*/ 1271 h 1272"/>
                <a:gd name="T12" fmla="*/ 0 w 958"/>
                <a:gd name="T13" fmla="*/ 1271 h 1272"/>
                <a:gd name="T14" fmla="*/ 0 w 958"/>
                <a:gd name="T15" fmla="*/ 0 h 1272"/>
                <a:gd name="T16" fmla="*/ 957 w 958"/>
                <a:gd name="T17" fmla="*/ 0 h 1272"/>
                <a:gd name="T18" fmla="*/ 957 w 958"/>
                <a:gd name="T19" fmla="*/ 235 h 1272"/>
                <a:gd name="T20" fmla="*/ 291 w 958"/>
                <a:gd name="T21" fmla="*/ 235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8" h="1272">
                  <a:moveTo>
                    <a:pt x="291" y="235"/>
                  </a:moveTo>
                  <a:lnTo>
                    <a:pt x="291" y="571"/>
                  </a:lnTo>
                  <a:lnTo>
                    <a:pt x="878" y="571"/>
                  </a:lnTo>
                  <a:lnTo>
                    <a:pt x="878" y="806"/>
                  </a:lnTo>
                  <a:lnTo>
                    <a:pt x="291" y="806"/>
                  </a:lnTo>
                  <a:lnTo>
                    <a:pt x="291" y="1271"/>
                  </a:lnTo>
                  <a:lnTo>
                    <a:pt x="0" y="1271"/>
                  </a:lnTo>
                  <a:lnTo>
                    <a:pt x="0" y="0"/>
                  </a:lnTo>
                  <a:lnTo>
                    <a:pt x="957" y="0"/>
                  </a:lnTo>
                  <a:lnTo>
                    <a:pt x="957" y="235"/>
                  </a:lnTo>
                  <a:lnTo>
                    <a:pt x="291" y="23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4" name="Freeform 37">
              <a:extLst>
                <a:ext uri="{FF2B5EF4-FFF2-40B4-BE49-F238E27FC236}">
                  <a16:creationId xmlns:a16="http://schemas.microsoft.com/office/drawing/2014/main" id="{677F11F8-57E8-3142-BAC9-626940E2CF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5025" y="3282950"/>
              <a:ext cx="501650" cy="473075"/>
            </a:xfrm>
            <a:custGeom>
              <a:avLst/>
              <a:gdLst>
                <a:gd name="T0" fmla="*/ 6 w 1394"/>
                <a:gd name="T1" fmla="*/ 589 h 1312"/>
                <a:gd name="T2" fmla="*/ 57 w 1394"/>
                <a:gd name="T3" fmla="*/ 393 h 1312"/>
                <a:gd name="T4" fmla="*/ 157 w 1394"/>
                <a:gd name="T5" fmla="*/ 230 h 1312"/>
                <a:gd name="T6" fmla="*/ 303 w 1394"/>
                <a:gd name="T7" fmla="*/ 107 h 1312"/>
                <a:gd name="T8" fmla="*/ 488 w 1394"/>
                <a:gd name="T9" fmla="*/ 28 h 1312"/>
                <a:gd name="T10" fmla="*/ 700 w 1394"/>
                <a:gd name="T11" fmla="*/ 0 h 1312"/>
                <a:gd name="T12" fmla="*/ 840 w 1394"/>
                <a:gd name="T13" fmla="*/ 12 h 1312"/>
                <a:gd name="T14" fmla="*/ 1036 w 1394"/>
                <a:gd name="T15" fmla="*/ 73 h 1312"/>
                <a:gd name="T16" fmla="*/ 1191 w 1394"/>
                <a:gd name="T17" fmla="*/ 185 h 1312"/>
                <a:gd name="T18" fmla="*/ 1309 w 1394"/>
                <a:gd name="T19" fmla="*/ 336 h 1312"/>
                <a:gd name="T20" fmla="*/ 1376 w 1394"/>
                <a:gd name="T21" fmla="*/ 521 h 1312"/>
                <a:gd name="T22" fmla="*/ 1393 w 1394"/>
                <a:gd name="T23" fmla="*/ 656 h 1312"/>
                <a:gd name="T24" fmla="*/ 1359 w 1394"/>
                <a:gd name="T25" fmla="*/ 857 h 1312"/>
                <a:gd name="T26" fmla="*/ 1275 w 1394"/>
                <a:gd name="T27" fmla="*/ 1031 h 1312"/>
                <a:gd name="T28" fmla="*/ 1148 w 1394"/>
                <a:gd name="T29" fmla="*/ 1171 h 1312"/>
                <a:gd name="T30" fmla="*/ 974 w 1394"/>
                <a:gd name="T31" fmla="*/ 1266 h 1312"/>
                <a:gd name="T32" fmla="*/ 773 w 1394"/>
                <a:gd name="T33" fmla="*/ 1311 h 1312"/>
                <a:gd name="T34" fmla="*/ 622 w 1394"/>
                <a:gd name="T35" fmla="*/ 1311 h 1312"/>
                <a:gd name="T36" fmla="*/ 420 w 1394"/>
                <a:gd name="T37" fmla="*/ 1266 h 1312"/>
                <a:gd name="T38" fmla="*/ 247 w 1394"/>
                <a:gd name="T39" fmla="*/ 1171 h 1312"/>
                <a:gd name="T40" fmla="*/ 118 w 1394"/>
                <a:gd name="T41" fmla="*/ 1031 h 1312"/>
                <a:gd name="T42" fmla="*/ 34 w 1394"/>
                <a:gd name="T43" fmla="*/ 857 h 1312"/>
                <a:gd name="T44" fmla="*/ 0 w 1394"/>
                <a:gd name="T45" fmla="*/ 656 h 1312"/>
                <a:gd name="T46" fmla="*/ 1092 w 1394"/>
                <a:gd name="T47" fmla="*/ 611 h 1312"/>
                <a:gd name="T48" fmla="*/ 1063 w 1394"/>
                <a:gd name="T49" fmla="*/ 493 h 1312"/>
                <a:gd name="T50" fmla="*/ 1008 w 1394"/>
                <a:gd name="T51" fmla="*/ 393 h 1312"/>
                <a:gd name="T52" fmla="*/ 924 w 1394"/>
                <a:gd name="T53" fmla="*/ 314 h 1312"/>
                <a:gd name="T54" fmla="*/ 817 w 1394"/>
                <a:gd name="T55" fmla="*/ 269 h 1312"/>
                <a:gd name="T56" fmla="*/ 700 w 1394"/>
                <a:gd name="T57" fmla="*/ 252 h 1312"/>
                <a:gd name="T58" fmla="*/ 616 w 1394"/>
                <a:gd name="T59" fmla="*/ 258 h 1312"/>
                <a:gd name="T60" fmla="*/ 504 w 1394"/>
                <a:gd name="T61" fmla="*/ 297 h 1312"/>
                <a:gd name="T62" fmla="*/ 415 w 1394"/>
                <a:gd name="T63" fmla="*/ 364 h 1312"/>
                <a:gd name="T64" fmla="*/ 347 w 1394"/>
                <a:gd name="T65" fmla="*/ 454 h 1312"/>
                <a:gd name="T66" fmla="*/ 309 w 1394"/>
                <a:gd name="T67" fmla="*/ 571 h 1312"/>
                <a:gd name="T68" fmla="*/ 303 w 1394"/>
                <a:gd name="T69" fmla="*/ 656 h 1312"/>
                <a:gd name="T70" fmla="*/ 319 w 1394"/>
                <a:gd name="T71" fmla="*/ 785 h 1312"/>
                <a:gd name="T72" fmla="*/ 365 w 1394"/>
                <a:gd name="T73" fmla="*/ 891 h 1312"/>
                <a:gd name="T74" fmla="*/ 443 w 1394"/>
                <a:gd name="T75" fmla="*/ 975 h 1312"/>
                <a:gd name="T76" fmla="*/ 538 w 1394"/>
                <a:gd name="T77" fmla="*/ 1031 h 1312"/>
                <a:gd name="T78" fmla="*/ 656 w 1394"/>
                <a:gd name="T79" fmla="*/ 1059 h 1312"/>
                <a:gd name="T80" fmla="*/ 739 w 1394"/>
                <a:gd name="T81" fmla="*/ 1059 h 1312"/>
                <a:gd name="T82" fmla="*/ 857 w 1394"/>
                <a:gd name="T83" fmla="*/ 1031 h 1312"/>
                <a:gd name="T84" fmla="*/ 952 w 1394"/>
                <a:gd name="T85" fmla="*/ 975 h 1312"/>
                <a:gd name="T86" fmla="*/ 1030 w 1394"/>
                <a:gd name="T87" fmla="*/ 891 h 1312"/>
                <a:gd name="T88" fmla="*/ 1075 w 1394"/>
                <a:gd name="T89" fmla="*/ 785 h 1312"/>
                <a:gd name="T90" fmla="*/ 1097 w 1394"/>
                <a:gd name="T91" fmla="*/ 656 h 1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94" h="1312">
                  <a:moveTo>
                    <a:pt x="0" y="656"/>
                  </a:moveTo>
                  <a:lnTo>
                    <a:pt x="0" y="656"/>
                  </a:lnTo>
                  <a:lnTo>
                    <a:pt x="6" y="589"/>
                  </a:lnTo>
                  <a:lnTo>
                    <a:pt x="18" y="521"/>
                  </a:lnTo>
                  <a:lnTo>
                    <a:pt x="34" y="454"/>
                  </a:lnTo>
                  <a:lnTo>
                    <a:pt x="57" y="393"/>
                  </a:lnTo>
                  <a:lnTo>
                    <a:pt x="85" y="336"/>
                  </a:lnTo>
                  <a:lnTo>
                    <a:pt x="118" y="280"/>
                  </a:lnTo>
                  <a:lnTo>
                    <a:pt x="157" y="230"/>
                  </a:lnTo>
                  <a:lnTo>
                    <a:pt x="202" y="185"/>
                  </a:lnTo>
                  <a:lnTo>
                    <a:pt x="247" y="146"/>
                  </a:lnTo>
                  <a:lnTo>
                    <a:pt x="303" y="107"/>
                  </a:lnTo>
                  <a:lnTo>
                    <a:pt x="359" y="79"/>
                  </a:lnTo>
                  <a:lnTo>
                    <a:pt x="420" y="51"/>
                  </a:lnTo>
                  <a:lnTo>
                    <a:pt x="488" y="28"/>
                  </a:lnTo>
                  <a:lnTo>
                    <a:pt x="555" y="12"/>
                  </a:lnTo>
                  <a:lnTo>
                    <a:pt x="622" y="0"/>
                  </a:lnTo>
                  <a:lnTo>
                    <a:pt x="700" y="0"/>
                  </a:lnTo>
                  <a:lnTo>
                    <a:pt x="700" y="0"/>
                  </a:lnTo>
                  <a:lnTo>
                    <a:pt x="773" y="0"/>
                  </a:lnTo>
                  <a:lnTo>
                    <a:pt x="840" y="12"/>
                  </a:lnTo>
                  <a:lnTo>
                    <a:pt x="907" y="28"/>
                  </a:lnTo>
                  <a:lnTo>
                    <a:pt x="974" y="51"/>
                  </a:lnTo>
                  <a:lnTo>
                    <a:pt x="1036" y="73"/>
                  </a:lnTo>
                  <a:lnTo>
                    <a:pt x="1092" y="107"/>
                  </a:lnTo>
                  <a:lnTo>
                    <a:pt x="1148" y="146"/>
                  </a:lnTo>
                  <a:lnTo>
                    <a:pt x="1191" y="185"/>
                  </a:lnTo>
                  <a:lnTo>
                    <a:pt x="1236" y="230"/>
                  </a:lnTo>
                  <a:lnTo>
                    <a:pt x="1275" y="280"/>
                  </a:lnTo>
                  <a:lnTo>
                    <a:pt x="1309" y="336"/>
                  </a:lnTo>
                  <a:lnTo>
                    <a:pt x="1337" y="393"/>
                  </a:lnTo>
                  <a:lnTo>
                    <a:pt x="1359" y="454"/>
                  </a:lnTo>
                  <a:lnTo>
                    <a:pt x="1376" y="521"/>
                  </a:lnTo>
                  <a:lnTo>
                    <a:pt x="1387" y="589"/>
                  </a:lnTo>
                  <a:lnTo>
                    <a:pt x="1393" y="656"/>
                  </a:lnTo>
                  <a:lnTo>
                    <a:pt x="1393" y="656"/>
                  </a:lnTo>
                  <a:lnTo>
                    <a:pt x="1387" y="728"/>
                  </a:lnTo>
                  <a:lnTo>
                    <a:pt x="1376" y="795"/>
                  </a:lnTo>
                  <a:lnTo>
                    <a:pt x="1359" y="857"/>
                  </a:lnTo>
                  <a:lnTo>
                    <a:pt x="1337" y="919"/>
                  </a:lnTo>
                  <a:lnTo>
                    <a:pt x="1309" y="975"/>
                  </a:lnTo>
                  <a:lnTo>
                    <a:pt x="1275" y="1031"/>
                  </a:lnTo>
                  <a:lnTo>
                    <a:pt x="1236" y="1081"/>
                  </a:lnTo>
                  <a:lnTo>
                    <a:pt x="1191" y="1126"/>
                  </a:lnTo>
                  <a:lnTo>
                    <a:pt x="1148" y="1171"/>
                  </a:lnTo>
                  <a:lnTo>
                    <a:pt x="1092" y="1204"/>
                  </a:lnTo>
                  <a:lnTo>
                    <a:pt x="1036" y="1238"/>
                  </a:lnTo>
                  <a:lnTo>
                    <a:pt x="974" y="1266"/>
                  </a:lnTo>
                  <a:lnTo>
                    <a:pt x="907" y="1283"/>
                  </a:lnTo>
                  <a:lnTo>
                    <a:pt x="840" y="1299"/>
                  </a:lnTo>
                  <a:lnTo>
                    <a:pt x="773" y="1311"/>
                  </a:lnTo>
                  <a:lnTo>
                    <a:pt x="700" y="1311"/>
                  </a:lnTo>
                  <a:lnTo>
                    <a:pt x="700" y="1311"/>
                  </a:lnTo>
                  <a:lnTo>
                    <a:pt x="622" y="1311"/>
                  </a:lnTo>
                  <a:lnTo>
                    <a:pt x="555" y="1299"/>
                  </a:lnTo>
                  <a:lnTo>
                    <a:pt x="488" y="1283"/>
                  </a:lnTo>
                  <a:lnTo>
                    <a:pt x="420" y="1266"/>
                  </a:lnTo>
                  <a:lnTo>
                    <a:pt x="359" y="1238"/>
                  </a:lnTo>
                  <a:lnTo>
                    <a:pt x="303" y="1204"/>
                  </a:lnTo>
                  <a:lnTo>
                    <a:pt x="247" y="1171"/>
                  </a:lnTo>
                  <a:lnTo>
                    <a:pt x="202" y="1126"/>
                  </a:lnTo>
                  <a:lnTo>
                    <a:pt x="157" y="1081"/>
                  </a:lnTo>
                  <a:lnTo>
                    <a:pt x="118" y="1031"/>
                  </a:lnTo>
                  <a:lnTo>
                    <a:pt x="85" y="975"/>
                  </a:lnTo>
                  <a:lnTo>
                    <a:pt x="57" y="919"/>
                  </a:lnTo>
                  <a:lnTo>
                    <a:pt x="34" y="857"/>
                  </a:lnTo>
                  <a:lnTo>
                    <a:pt x="18" y="795"/>
                  </a:lnTo>
                  <a:lnTo>
                    <a:pt x="6" y="728"/>
                  </a:lnTo>
                  <a:lnTo>
                    <a:pt x="0" y="656"/>
                  </a:lnTo>
                  <a:close/>
                  <a:moveTo>
                    <a:pt x="1097" y="656"/>
                  </a:moveTo>
                  <a:lnTo>
                    <a:pt x="1097" y="656"/>
                  </a:lnTo>
                  <a:lnTo>
                    <a:pt x="1092" y="611"/>
                  </a:lnTo>
                  <a:lnTo>
                    <a:pt x="1086" y="571"/>
                  </a:lnTo>
                  <a:lnTo>
                    <a:pt x="1075" y="526"/>
                  </a:lnTo>
                  <a:lnTo>
                    <a:pt x="1063" y="493"/>
                  </a:lnTo>
                  <a:lnTo>
                    <a:pt x="1047" y="454"/>
                  </a:lnTo>
                  <a:lnTo>
                    <a:pt x="1030" y="421"/>
                  </a:lnTo>
                  <a:lnTo>
                    <a:pt x="1008" y="393"/>
                  </a:lnTo>
                  <a:lnTo>
                    <a:pt x="980" y="364"/>
                  </a:lnTo>
                  <a:lnTo>
                    <a:pt x="952" y="336"/>
                  </a:lnTo>
                  <a:lnTo>
                    <a:pt x="924" y="314"/>
                  </a:lnTo>
                  <a:lnTo>
                    <a:pt x="890" y="297"/>
                  </a:lnTo>
                  <a:lnTo>
                    <a:pt x="857" y="280"/>
                  </a:lnTo>
                  <a:lnTo>
                    <a:pt x="817" y="269"/>
                  </a:lnTo>
                  <a:lnTo>
                    <a:pt x="779" y="258"/>
                  </a:lnTo>
                  <a:lnTo>
                    <a:pt x="739" y="252"/>
                  </a:lnTo>
                  <a:lnTo>
                    <a:pt x="700" y="252"/>
                  </a:lnTo>
                  <a:lnTo>
                    <a:pt x="700" y="252"/>
                  </a:lnTo>
                  <a:lnTo>
                    <a:pt x="656" y="252"/>
                  </a:lnTo>
                  <a:lnTo>
                    <a:pt x="616" y="258"/>
                  </a:lnTo>
                  <a:lnTo>
                    <a:pt x="577" y="269"/>
                  </a:lnTo>
                  <a:lnTo>
                    <a:pt x="538" y="280"/>
                  </a:lnTo>
                  <a:lnTo>
                    <a:pt x="504" y="297"/>
                  </a:lnTo>
                  <a:lnTo>
                    <a:pt x="470" y="314"/>
                  </a:lnTo>
                  <a:lnTo>
                    <a:pt x="443" y="336"/>
                  </a:lnTo>
                  <a:lnTo>
                    <a:pt x="415" y="364"/>
                  </a:lnTo>
                  <a:lnTo>
                    <a:pt x="387" y="393"/>
                  </a:lnTo>
                  <a:lnTo>
                    <a:pt x="365" y="421"/>
                  </a:lnTo>
                  <a:lnTo>
                    <a:pt x="347" y="454"/>
                  </a:lnTo>
                  <a:lnTo>
                    <a:pt x="331" y="493"/>
                  </a:lnTo>
                  <a:lnTo>
                    <a:pt x="319" y="526"/>
                  </a:lnTo>
                  <a:lnTo>
                    <a:pt x="309" y="571"/>
                  </a:lnTo>
                  <a:lnTo>
                    <a:pt x="303" y="611"/>
                  </a:lnTo>
                  <a:lnTo>
                    <a:pt x="303" y="656"/>
                  </a:lnTo>
                  <a:lnTo>
                    <a:pt x="303" y="656"/>
                  </a:lnTo>
                  <a:lnTo>
                    <a:pt x="303" y="700"/>
                  </a:lnTo>
                  <a:lnTo>
                    <a:pt x="309" y="745"/>
                  </a:lnTo>
                  <a:lnTo>
                    <a:pt x="319" y="785"/>
                  </a:lnTo>
                  <a:lnTo>
                    <a:pt x="331" y="824"/>
                  </a:lnTo>
                  <a:lnTo>
                    <a:pt x="347" y="857"/>
                  </a:lnTo>
                  <a:lnTo>
                    <a:pt x="365" y="891"/>
                  </a:lnTo>
                  <a:lnTo>
                    <a:pt x="387" y="925"/>
                  </a:lnTo>
                  <a:lnTo>
                    <a:pt x="415" y="953"/>
                  </a:lnTo>
                  <a:lnTo>
                    <a:pt x="443" y="975"/>
                  </a:lnTo>
                  <a:lnTo>
                    <a:pt x="470" y="997"/>
                  </a:lnTo>
                  <a:lnTo>
                    <a:pt x="504" y="1020"/>
                  </a:lnTo>
                  <a:lnTo>
                    <a:pt x="538" y="1031"/>
                  </a:lnTo>
                  <a:lnTo>
                    <a:pt x="577" y="1048"/>
                  </a:lnTo>
                  <a:lnTo>
                    <a:pt x="616" y="1053"/>
                  </a:lnTo>
                  <a:lnTo>
                    <a:pt x="656" y="1059"/>
                  </a:lnTo>
                  <a:lnTo>
                    <a:pt x="700" y="1064"/>
                  </a:lnTo>
                  <a:lnTo>
                    <a:pt x="700" y="1064"/>
                  </a:lnTo>
                  <a:lnTo>
                    <a:pt x="739" y="1059"/>
                  </a:lnTo>
                  <a:lnTo>
                    <a:pt x="779" y="1053"/>
                  </a:lnTo>
                  <a:lnTo>
                    <a:pt x="817" y="1048"/>
                  </a:lnTo>
                  <a:lnTo>
                    <a:pt x="857" y="1031"/>
                  </a:lnTo>
                  <a:lnTo>
                    <a:pt x="890" y="1020"/>
                  </a:lnTo>
                  <a:lnTo>
                    <a:pt x="924" y="997"/>
                  </a:lnTo>
                  <a:lnTo>
                    <a:pt x="952" y="975"/>
                  </a:lnTo>
                  <a:lnTo>
                    <a:pt x="980" y="953"/>
                  </a:lnTo>
                  <a:lnTo>
                    <a:pt x="1008" y="925"/>
                  </a:lnTo>
                  <a:lnTo>
                    <a:pt x="1030" y="891"/>
                  </a:lnTo>
                  <a:lnTo>
                    <a:pt x="1047" y="857"/>
                  </a:lnTo>
                  <a:lnTo>
                    <a:pt x="1063" y="824"/>
                  </a:lnTo>
                  <a:lnTo>
                    <a:pt x="1075" y="785"/>
                  </a:lnTo>
                  <a:lnTo>
                    <a:pt x="1086" y="745"/>
                  </a:lnTo>
                  <a:lnTo>
                    <a:pt x="1092" y="700"/>
                  </a:lnTo>
                  <a:lnTo>
                    <a:pt x="1097" y="6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5" name="Freeform 38">
              <a:extLst>
                <a:ext uri="{FF2B5EF4-FFF2-40B4-BE49-F238E27FC236}">
                  <a16:creationId xmlns:a16="http://schemas.microsoft.com/office/drawing/2014/main" id="{82B46BFC-52FC-8E41-B671-5D70B24D67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6050" y="3290888"/>
              <a:ext cx="404813" cy="457200"/>
            </a:xfrm>
            <a:custGeom>
              <a:avLst/>
              <a:gdLst>
                <a:gd name="T0" fmla="*/ 811 w 1125"/>
                <a:gd name="T1" fmla="*/ 1271 h 1272"/>
                <a:gd name="T2" fmla="*/ 565 w 1125"/>
                <a:gd name="T3" fmla="*/ 912 h 1272"/>
                <a:gd name="T4" fmla="*/ 548 w 1125"/>
                <a:gd name="T5" fmla="*/ 912 h 1272"/>
                <a:gd name="T6" fmla="*/ 296 w 1125"/>
                <a:gd name="T7" fmla="*/ 912 h 1272"/>
                <a:gd name="T8" fmla="*/ 296 w 1125"/>
                <a:gd name="T9" fmla="*/ 1271 h 1272"/>
                <a:gd name="T10" fmla="*/ 0 w 1125"/>
                <a:gd name="T11" fmla="*/ 1271 h 1272"/>
                <a:gd name="T12" fmla="*/ 0 w 1125"/>
                <a:gd name="T13" fmla="*/ 0 h 1272"/>
                <a:gd name="T14" fmla="*/ 548 w 1125"/>
                <a:gd name="T15" fmla="*/ 0 h 1272"/>
                <a:gd name="T16" fmla="*/ 548 w 1125"/>
                <a:gd name="T17" fmla="*/ 0 h 1272"/>
                <a:gd name="T18" fmla="*/ 615 w 1125"/>
                <a:gd name="T19" fmla="*/ 0 h 1272"/>
                <a:gd name="T20" fmla="*/ 671 w 1125"/>
                <a:gd name="T21" fmla="*/ 5 h 1272"/>
                <a:gd name="T22" fmla="*/ 727 w 1125"/>
                <a:gd name="T23" fmla="*/ 16 h 1272"/>
                <a:gd name="T24" fmla="*/ 778 w 1125"/>
                <a:gd name="T25" fmla="*/ 28 h 1272"/>
                <a:gd name="T26" fmla="*/ 828 w 1125"/>
                <a:gd name="T27" fmla="*/ 50 h 1272"/>
                <a:gd name="T28" fmla="*/ 873 w 1125"/>
                <a:gd name="T29" fmla="*/ 67 h 1272"/>
                <a:gd name="T30" fmla="*/ 918 w 1125"/>
                <a:gd name="T31" fmla="*/ 95 h 1272"/>
                <a:gd name="T32" fmla="*/ 951 w 1125"/>
                <a:gd name="T33" fmla="*/ 123 h 1272"/>
                <a:gd name="T34" fmla="*/ 984 w 1125"/>
                <a:gd name="T35" fmla="*/ 151 h 1272"/>
                <a:gd name="T36" fmla="*/ 1018 w 1125"/>
                <a:gd name="T37" fmla="*/ 190 h 1272"/>
                <a:gd name="T38" fmla="*/ 1041 w 1125"/>
                <a:gd name="T39" fmla="*/ 224 h 1272"/>
                <a:gd name="T40" fmla="*/ 1063 w 1125"/>
                <a:gd name="T41" fmla="*/ 269 h 1272"/>
                <a:gd name="T42" fmla="*/ 1079 w 1125"/>
                <a:gd name="T43" fmla="*/ 313 h 1272"/>
                <a:gd name="T44" fmla="*/ 1091 w 1125"/>
                <a:gd name="T45" fmla="*/ 358 h 1272"/>
                <a:gd name="T46" fmla="*/ 1097 w 1125"/>
                <a:gd name="T47" fmla="*/ 408 h 1272"/>
                <a:gd name="T48" fmla="*/ 1102 w 1125"/>
                <a:gd name="T49" fmla="*/ 459 h 1272"/>
                <a:gd name="T50" fmla="*/ 1102 w 1125"/>
                <a:gd name="T51" fmla="*/ 459 h 1272"/>
                <a:gd name="T52" fmla="*/ 1097 w 1125"/>
                <a:gd name="T53" fmla="*/ 526 h 1272"/>
                <a:gd name="T54" fmla="*/ 1085 w 1125"/>
                <a:gd name="T55" fmla="*/ 593 h 1272"/>
                <a:gd name="T56" fmla="*/ 1063 w 1125"/>
                <a:gd name="T57" fmla="*/ 649 h 1272"/>
                <a:gd name="T58" fmla="*/ 1035 w 1125"/>
                <a:gd name="T59" fmla="*/ 705 h 1272"/>
                <a:gd name="T60" fmla="*/ 996 w 1125"/>
                <a:gd name="T61" fmla="*/ 750 h 1272"/>
                <a:gd name="T62" fmla="*/ 951 w 1125"/>
                <a:gd name="T63" fmla="*/ 795 h 1272"/>
                <a:gd name="T64" fmla="*/ 901 w 1125"/>
                <a:gd name="T65" fmla="*/ 829 h 1272"/>
                <a:gd name="T66" fmla="*/ 839 w 1125"/>
                <a:gd name="T67" fmla="*/ 862 h 1272"/>
                <a:gd name="T68" fmla="*/ 1124 w 1125"/>
                <a:gd name="T69" fmla="*/ 1271 h 1272"/>
                <a:gd name="T70" fmla="*/ 811 w 1125"/>
                <a:gd name="T71" fmla="*/ 1271 h 1272"/>
                <a:gd name="T72" fmla="*/ 537 w 1125"/>
                <a:gd name="T73" fmla="*/ 240 h 1272"/>
                <a:gd name="T74" fmla="*/ 296 w 1125"/>
                <a:gd name="T75" fmla="*/ 240 h 1272"/>
                <a:gd name="T76" fmla="*/ 296 w 1125"/>
                <a:gd name="T77" fmla="*/ 683 h 1272"/>
                <a:gd name="T78" fmla="*/ 537 w 1125"/>
                <a:gd name="T79" fmla="*/ 683 h 1272"/>
                <a:gd name="T80" fmla="*/ 537 w 1125"/>
                <a:gd name="T81" fmla="*/ 683 h 1272"/>
                <a:gd name="T82" fmla="*/ 599 w 1125"/>
                <a:gd name="T83" fmla="*/ 677 h 1272"/>
                <a:gd name="T84" fmla="*/ 654 w 1125"/>
                <a:gd name="T85" fmla="*/ 666 h 1272"/>
                <a:gd name="T86" fmla="*/ 700 w 1125"/>
                <a:gd name="T87" fmla="*/ 649 h 1272"/>
                <a:gd name="T88" fmla="*/ 738 w 1125"/>
                <a:gd name="T89" fmla="*/ 621 h 1272"/>
                <a:gd name="T90" fmla="*/ 766 w 1125"/>
                <a:gd name="T91" fmla="*/ 588 h 1272"/>
                <a:gd name="T92" fmla="*/ 789 w 1125"/>
                <a:gd name="T93" fmla="*/ 554 h 1272"/>
                <a:gd name="T94" fmla="*/ 800 w 1125"/>
                <a:gd name="T95" fmla="*/ 509 h 1272"/>
                <a:gd name="T96" fmla="*/ 805 w 1125"/>
                <a:gd name="T97" fmla="*/ 459 h 1272"/>
                <a:gd name="T98" fmla="*/ 805 w 1125"/>
                <a:gd name="T99" fmla="*/ 459 h 1272"/>
                <a:gd name="T100" fmla="*/ 800 w 1125"/>
                <a:gd name="T101" fmla="*/ 408 h 1272"/>
                <a:gd name="T102" fmla="*/ 789 w 1125"/>
                <a:gd name="T103" fmla="*/ 364 h 1272"/>
                <a:gd name="T104" fmla="*/ 766 w 1125"/>
                <a:gd name="T105" fmla="*/ 330 h 1272"/>
                <a:gd name="T106" fmla="*/ 738 w 1125"/>
                <a:gd name="T107" fmla="*/ 297 h 1272"/>
                <a:gd name="T108" fmla="*/ 700 w 1125"/>
                <a:gd name="T109" fmla="*/ 269 h 1272"/>
                <a:gd name="T110" fmla="*/ 654 w 1125"/>
                <a:gd name="T111" fmla="*/ 252 h 1272"/>
                <a:gd name="T112" fmla="*/ 599 w 1125"/>
                <a:gd name="T113" fmla="*/ 240 h 1272"/>
                <a:gd name="T114" fmla="*/ 537 w 1125"/>
                <a:gd name="T115" fmla="*/ 24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25" h="1272">
                  <a:moveTo>
                    <a:pt x="811" y="1271"/>
                  </a:moveTo>
                  <a:lnTo>
                    <a:pt x="565" y="912"/>
                  </a:lnTo>
                  <a:lnTo>
                    <a:pt x="548" y="912"/>
                  </a:lnTo>
                  <a:lnTo>
                    <a:pt x="296" y="912"/>
                  </a:lnTo>
                  <a:lnTo>
                    <a:pt x="296" y="1271"/>
                  </a:lnTo>
                  <a:lnTo>
                    <a:pt x="0" y="1271"/>
                  </a:lnTo>
                  <a:lnTo>
                    <a:pt x="0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615" y="0"/>
                  </a:lnTo>
                  <a:lnTo>
                    <a:pt x="671" y="5"/>
                  </a:lnTo>
                  <a:lnTo>
                    <a:pt x="727" y="16"/>
                  </a:lnTo>
                  <a:lnTo>
                    <a:pt x="778" y="28"/>
                  </a:lnTo>
                  <a:lnTo>
                    <a:pt x="828" y="50"/>
                  </a:lnTo>
                  <a:lnTo>
                    <a:pt x="873" y="67"/>
                  </a:lnTo>
                  <a:lnTo>
                    <a:pt x="918" y="95"/>
                  </a:lnTo>
                  <a:lnTo>
                    <a:pt x="951" y="123"/>
                  </a:lnTo>
                  <a:lnTo>
                    <a:pt x="984" y="151"/>
                  </a:lnTo>
                  <a:lnTo>
                    <a:pt x="1018" y="190"/>
                  </a:lnTo>
                  <a:lnTo>
                    <a:pt x="1041" y="224"/>
                  </a:lnTo>
                  <a:lnTo>
                    <a:pt x="1063" y="269"/>
                  </a:lnTo>
                  <a:lnTo>
                    <a:pt x="1079" y="313"/>
                  </a:lnTo>
                  <a:lnTo>
                    <a:pt x="1091" y="358"/>
                  </a:lnTo>
                  <a:lnTo>
                    <a:pt x="1097" y="408"/>
                  </a:lnTo>
                  <a:lnTo>
                    <a:pt x="1102" y="459"/>
                  </a:lnTo>
                  <a:lnTo>
                    <a:pt x="1102" y="459"/>
                  </a:lnTo>
                  <a:lnTo>
                    <a:pt x="1097" y="526"/>
                  </a:lnTo>
                  <a:lnTo>
                    <a:pt x="1085" y="593"/>
                  </a:lnTo>
                  <a:lnTo>
                    <a:pt x="1063" y="649"/>
                  </a:lnTo>
                  <a:lnTo>
                    <a:pt x="1035" y="705"/>
                  </a:lnTo>
                  <a:lnTo>
                    <a:pt x="996" y="750"/>
                  </a:lnTo>
                  <a:lnTo>
                    <a:pt x="951" y="795"/>
                  </a:lnTo>
                  <a:lnTo>
                    <a:pt x="901" y="829"/>
                  </a:lnTo>
                  <a:lnTo>
                    <a:pt x="839" y="862"/>
                  </a:lnTo>
                  <a:lnTo>
                    <a:pt x="1124" y="1271"/>
                  </a:lnTo>
                  <a:lnTo>
                    <a:pt x="811" y="1271"/>
                  </a:lnTo>
                  <a:close/>
                  <a:moveTo>
                    <a:pt x="537" y="240"/>
                  </a:moveTo>
                  <a:lnTo>
                    <a:pt x="296" y="240"/>
                  </a:lnTo>
                  <a:lnTo>
                    <a:pt x="296" y="683"/>
                  </a:lnTo>
                  <a:lnTo>
                    <a:pt x="537" y="683"/>
                  </a:lnTo>
                  <a:lnTo>
                    <a:pt x="537" y="683"/>
                  </a:lnTo>
                  <a:lnTo>
                    <a:pt x="599" y="677"/>
                  </a:lnTo>
                  <a:lnTo>
                    <a:pt x="654" y="666"/>
                  </a:lnTo>
                  <a:lnTo>
                    <a:pt x="700" y="649"/>
                  </a:lnTo>
                  <a:lnTo>
                    <a:pt x="738" y="621"/>
                  </a:lnTo>
                  <a:lnTo>
                    <a:pt x="766" y="588"/>
                  </a:lnTo>
                  <a:lnTo>
                    <a:pt x="789" y="554"/>
                  </a:lnTo>
                  <a:lnTo>
                    <a:pt x="800" y="509"/>
                  </a:lnTo>
                  <a:lnTo>
                    <a:pt x="805" y="459"/>
                  </a:lnTo>
                  <a:lnTo>
                    <a:pt x="805" y="459"/>
                  </a:lnTo>
                  <a:lnTo>
                    <a:pt x="800" y="408"/>
                  </a:lnTo>
                  <a:lnTo>
                    <a:pt x="789" y="364"/>
                  </a:lnTo>
                  <a:lnTo>
                    <a:pt x="766" y="330"/>
                  </a:lnTo>
                  <a:lnTo>
                    <a:pt x="738" y="297"/>
                  </a:lnTo>
                  <a:lnTo>
                    <a:pt x="700" y="269"/>
                  </a:lnTo>
                  <a:lnTo>
                    <a:pt x="654" y="252"/>
                  </a:lnTo>
                  <a:lnTo>
                    <a:pt x="599" y="240"/>
                  </a:lnTo>
                  <a:lnTo>
                    <a:pt x="537" y="24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6" name="Freeform 39">
              <a:extLst>
                <a:ext uri="{FF2B5EF4-FFF2-40B4-BE49-F238E27FC236}">
                  <a16:creationId xmlns:a16="http://schemas.microsoft.com/office/drawing/2014/main" id="{382B946C-1B58-3943-BB2D-C4C6234EC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5475" y="3290888"/>
              <a:ext cx="515938" cy="457200"/>
            </a:xfrm>
            <a:custGeom>
              <a:avLst/>
              <a:gdLst>
                <a:gd name="T0" fmla="*/ 1158 w 1434"/>
                <a:gd name="T1" fmla="*/ 1271 h 1272"/>
                <a:gd name="T2" fmla="*/ 1158 w 1434"/>
                <a:gd name="T3" fmla="*/ 503 h 1272"/>
                <a:gd name="T4" fmla="*/ 783 w 1434"/>
                <a:gd name="T5" fmla="*/ 1137 h 1272"/>
                <a:gd name="T6" fmla="*/ 650 w 1434"/>
                <a:gd name="T7" fmla="*/ 1137 h 1272"/>
                <a:gd name="T8" fmla="*/ 280 w 1434"/>
                <a:gd name="T9" fmla="*/ 521 h 1272"/>
                <a:gd name="T10" fmla="*/ 280 w 1434"/>
                <a:gd name="T11" fmla="*/ 1271 h 1272"/>
                <a:gd name="T12" fmla="*/ 0 w 1434"/>
                <a:gd name="T13" fmla="*/ 1271 h 1272"/>
                <a:gd name="T14" fmla="*/ 0 w 1434"/>
                <a:gd name="T15" fmla="*/ 0 h 1272"/>
                <a:gd name="T16" fmla="*/ 246 w 1434"/>
                <a:gd name="T17" fmla="*/ 0 h 1272"/>
                <a:gd name="T18" fmla="*/ 722 w 1434"/>
                <a:gd name="T19" fmla="*/ 789 h 1272"/>
                <a:gd name="T20" fmla="*/ 1186 w 1434"/>
                <a:gd name="T21" fmla="*/ 0 h 1272"/>
                <a:gd name="T22" fmla="*/ 1427 w 1434"/>
                <a:gd name="T23" fmla="*/ 0 h 1272"/>
                <a:gd name="T24" fmla="*/ 1433 w 1434"/>
                <a:gd name="T25" fmla="*/ 1271 h 1272"/>
                <a:gd name="T26" fmla="*/ 1158 w 1434"/>
                <a:gd name="T27" fmla="*/ 1271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4" h="1272">
                  <a:moveTo>
                    <a:pt x="1158" y="1271"/>
                  </a:moveTo>
                  <a:lnTo>
                    <a:pt x="1158" y="503"/>
                  </a:lnTo>
                  <a:lnTo>
                    <a:pt x="783" y="1137"/>
                  </a:lnTo>
                  <a:lnTo>
                    <a:pt x="650" y="1137"/>
                  </a:lnTo>
                  <a:lnTo>
                    <a:pt x="280" y="521"/>
                  </a:lnTo>
                  <a:lnTo>
                    <a:pt x="280" y="1271"/>
                  </a:lnTo>
                  <a:lnTo>
                    <a:pt x="0" y="1271"/>
                  </a:lnTo>
                  <a:lnTo>
                    <a:pt x="0" y="0"/>
                  </a:lnTo>
                  <a:lnTo>
                    <a:pt x="246" y="0"/>
                  </a:lnTo>
                  <a:lnTo>
                    <a:pt x="722" y="789"/>
                  </a:lnTo>
                  <a:lnTo>
                    <a:pt x="1186" y="0"/>
                  </a:lnTo>
                  <a:lnTo>
                    <a:pt x="1427" y="0"/>
                  </a:lnTo>
                  <a:lnTo>
                    <a:pt x="1433" y="1271"/>
                  </a:lnTo>
                  <a:lnTo>
                    <a:pt x="1158" y="127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7" name="Freeform 40">
              <a:extLst>
                <a:ext uri="{FF2B5EF4-FFF2-40B4-BE49-F238E27FC236}">
                  <a16:creationId xmlns:a16="http://schemas.microsoft.com/office/drawing/2014/main" id="{B2C98381-83F4-8E48-9940-D2386FAF0E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9038" y="3290888"/>
              <a:ext cx="511175" cy="457200"/>
            </a:xfrm>
            <a:custGeom>
              <a:avLst/>
              <a:gdLst>
                <a:gd name="T0" fmla="*/ 1001 w 1422"/>
                <a:gd name="T1" fmla="*/ 997 h 1272"/>
                <a:gd name="T2" fmla="*/ 414 w 1422"/>
                <a:gd name="T3" fmla="*/ 997 h 1272"/>
                <a:gd name="T4" fmla="*/ 302 w 1422"/>
                <a:gd name="T5" fmla="*/ 1271 h 1272"/>
                <a:gd name="T6" fmla="*/ 0 w 1422"/>
                <a:gd name="T7" fmla="*/ 1271 h 1272"/>
                <a:gd name="T8" fmla="*/ 565 w 1422"/>
                <a:gd name="T9" fmla="*/ 0 h 1272"/>
                <a:gd name="T10" fmla="*/ 856 w 1422"/>
                <a:gd name="T11" fmla="*/ 0 h 1272"/>
                <a:gd name="T12" fmla="*/ 1421 w 1422"/>
                <a:gd name="T13" fmla="*/ 1271 h 1272"/>
                <a:gd name="T14" fmla="*/ 1113 w 1422"/>
                <a:gd name="T15" fmla="*/ 1271 h 1272"/>
                <a:gd name="T16" fmla="*/ 1001 w 1422"/>
                <a:gd name="T17" fmla="*/ 997 h 1272"/>
                <a:gd name="T18" fmla="*/ 912 w 1422"/>
                <a:gd name="T19" fmla="*/ 772 h 1272"/>
                <a:gd name="T20" fmla="*/ 711 w 1422"/>
                <a:gd name="T21" fmla="*/ 285 h 1272"/>
                <a:gd name="T22" fmla="*/ 509 w 1422"/>
                <a:gd name="T23" fmla="*/ 772 h 1272"/>
                <a:gd name="T24" fmla="*/ 912 w 1422"/>
                <a:gd name="T25" fmla="*/ 772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2" h="1272">
                  <a:moveTo>
                    <a:pt x="1001" y="997"/>
                  </a:moveTo>
                  <a:lnTo>
                    <a:pt x="414" y="997"/>
                  </a:lnTo>
                  <a:lnTo>
                    <a:pt x="302" y="1271"/>
                  </a:lnTo>
                  <a:lnTo>
                    <a:pt x="0" y="1271"/>
                  </a:lnTo>
                  <a:lnTo>
                    <a:pt x="565" y="0"/>
                  </a:lnTo>
                  <a:lnTo>
                    <a:pt x="856" y="0"/>
                  </a:lnTo>
                  <a:lnTo>
                    <a:pt x="1421" y="1271"/>
                  </a:lnTo>
                  <a:lnTo>
                    <a:pt x="1113" y="1271"/>
                  </a:lnTo>
                  <a:lnTo>
                    <a:pt x="1001" y="997"/>
                  </a:lnTo>
                  <a:close/>
                  <a:moveTo>
                    <a:pt x="912" y="772"/>
                  </a:moveTo>
                  <a:lnTo>
                    <a:pt x="711" y="285"/>
                  </a:lnTo>
                  <a:lnTo>
                    <a:pt x="509" y="772"/>
                  </a:lnTo>
                  <a:lnTo>
                    <a:pt x="912" y="7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8" name="Freeform 41">
              <a:extLst>
                <a:ext uri="{FF2B5EF4-FFF2-40B4-BE49-F238E27FC236}">
                  <a16:creationId xmlns:a16="http://schemas.microsoft.com/office/drawing/2014/main" id="{42DDEDD9-F9E4-4649-A2CE-528FDA8DE5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54813" y="3290888"/>
              <a:ext cx="398462" cy="457200"/>
            </a:xfrm>
            <a:custGeom>
              <a:avLst/>
              <a:gdLst>
                <a:gd name="T0" fmla="*/ 408 w 1109"/>
                <a:gd name="T1" fmla="*/ 240 h 1272"/>
                <a:gd name="T2" fmla="*/ 0 w 1109"/>
                <a:gd name="T3" fmla="*/ 240 h 1272"/>
                <a:gd name="T4" fmla="*/ 0 w 1109"/>
                <a:gd name="T5" fmla="*/ 0 h 1272"/>
                <a:gd name="T6" fmla="*/ 1108 w 1109"/>
                <a:gd name="T7" fmla="*/ 0 h 1272"/>
                <a:gd name="T8" fmla="*/ 1108 w 1109"/>
                <a:gd name="T9" fmla="*/ 240 h 1272"/>
                <a:gd name="T10" fmla="*/ 699 w 1109"/>
                <a:gd name="T11" fmla="*/ 240 h 1272"/>
                <a:gd name="T12" fmla="*/ 699 w 1109"/>
                <a:gd name="T13" fmla="*/ 1271 h 1272"/>
                <a:gd name="T14" fmla="*/ 408 w 1109"/>
                <a:gd name="T15" fmla="*/ 1271 h 1272"/>
                <a:gd name="T16" fmla="*/ 408 w 1109"/>
                <a:gd name="T17" fmla="*/ 24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9" h="1272">
                  <a:moveTo>
                    <a:pt x="408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108" y="0"/>
                  </a:lnTo>
                  <a:lnTo>
                    <a:pt x="1108" y="240"/>
                  </a:lnTo>
                  <a:lnTo>
                    <a:pt x="699" y="240"/>
                  </a:lnTo>
                  <a:lnTo>
                    <a:pt x="699" y="1271"/>
                  </a:lnTo>
                  <a:lnTo>
                    <a:pt x="408" y="1271"/>
                  </a:lnTo>
                  <a:lnTo>
                    <a:pt x="408" y="24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9" name="Freeform 42">
              <a:extLst>
                <a:ext uri="{FF2B5EF4-FFF2-40B4-BE49-F238E27FC236}">
                  <a16:creationId xmlns:a16="http://schemas.microsoft.com/office/drawing/2014/main" id="{5C2F08F5-55BD-B546-AD94-B17AAC2F3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0425" y="3290888"/>
              <a:ext cx="106363" cy="457200"/>
            </a:xfrm>
            <a:custGeom>
              <a:avLst/>
              <a:gdLst>
                <a:gd name="T0" fmla="*/ 0 w 297"/>
                <a:gd name="T1" fmla="*/ 0 h 1272"/>
                <a:gd name="T2" fmla="*/ 296 w 297"/>
                <a:gd name="T3" fmla="*/ 0 h 1272"/>
                <a:gd name="T4" fmla="*/ 296 w 297"/>
                <a:gd name="T5" fmla="*/ 1271 h 1272"/>
                <a:gd name="T6" fmla="*/ 0 w 297"/>
                <a:gd name="T7" fmla="*/ 1271 h 1272"/>
                <a:gd name="T8" fmla="*/ 0 w 297"/>
                <a:gd name="T9" fmla="*/ 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7" h="1272">
                  <a:moveTo>
                    <a:pt x="0" y="0"/>
                  </a:moveTo>
                  <a:lnTo>
                    <a:pt x="296" y="0"/>
                  </a:lnTo>
                  <a:lnTo>
                    <a:pt x="296" y="1271"/>
                  </a:lnTo>
                  <a:lnTo>
                    <a:pt x="0" y="1271"/>
                  </a:ln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0" name="Freeform 43">
              <a:extLst>
                <a:ext uri="{FF2B5EF4-FFF2-40B4-BE49-F238E27FC236}">
                  <a16:creationId xmlns:a16="http://schemas.microsoft.com/office/drawing/2014/main" id="{00B489A4-CC59-B64B-A00E-91266D904D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4575" y="3282950"/>
              <a:ext cx="500063" cy="473075"/>
            </a:xfrm>
            <a:custGeom>
              <a:avLst/>
              <a:gdLst>
                <a:gd name="T0" fmla="*/ 6 w 1389"/>
                <a:gd name="T1" fmla="*/ 589 h 1312"/>
                <a:gd name="T2" fmla="*/ 51 w 1389"/>
                <a:gd name="T3" fmla="*/ 393 h 1312"/>
                <a:gd name="T4" fmla="*/ 157 w 1389"/>
                <a:gd name="T5" fmla="*/ 230 h 1312"/>
                <a:gd name="T6" fmla="*/ 302 w 1389"/>
                <a:gd name="T7" fmla="*/ 107 h 1312"/>
                <a:gd name="T8" fmla="*/ 481 w 1389"/>
                <a:gd name="T9" fmla="*/ 28 h 1312"/>
                <a:gd name="T10" fmla="*/ 694 w 1389"/>
                <a:gd name="T11" fmla="*/ 0 h 1312"/>
                <a:gd name="T12" fmla="*/ 840 w 1389"/>
                <a:gd name="T13" fmla="*/ 12 h 1312"/>
                <a:gd name="T14" fmla="*/ 1035 w 1389"/>
                <a:gd name="T15" fmla="*/ 73 h 1312"/>
                <a:gd name="T16" fmla="*/ 1192 w 1389"/>
                <a:gd name="T17" fmla="*/ 185 h 1312"/>
                <a:gd name="T18" fmla="*/ 1309 w 1389"/>
                <a:gd name="T19" fmla="*/ 336 h 1312"/>
                <a:gd name="T20" fmla="*/ 1376 w 1389"/>
                <a:gd name="T21" fmla="*/ 521 h 1312"/>
                <a:gd name="T22" fmla="*/ 1388 w 1389"/>
                <a:gd name="T23" fmla="*/ 656 h 1312"/>
                <a:gd name="T24" fmla="*/ 1360 w 1389"/>
                <a:gd name="T25" fmla="*/ 857 h 1312"/>
                <a:gd name="T26" fmla="*/ 1276 w 1389"/>
                <a:gd name="T27" fmla="*/ 1031 h 1312"/>
                <a:gd name="T28" fmla="*/ 1141 w 1389"/>
                <a:gd name="T29" fmla="*/ 1171 h 1312"/>
                <a:gd name="T30" fmla="*/ 973 w 1389"/>
                <a:gd name="T31" fmla="*/ 1266 h 1312"/>
                <a:gd name="T32" fmla="*/ 767 w 1389"/>
                <a:gd name="T33" fmla="*/ 1311 h 1312"/>
                <a:gd name="T34" fmla="*/ 621 w 1389"/>
                <a:gd name="T35" fmla="*/ 1311 h 1312"/>
                <a:gd name="T36" fmla="*/ 420 w 1389"/>
                <a:gd name="T37" fmla="*/ 1266 h 1312"/>
                <a:gd name="T38" fmla="*/ 246 w 1389"/>
                <a:gd name="T39" fmla="*/ 1171 h 1312"/>
                <a:gd name="T40" fmla="*/ 118 w 1389"/>
                <a:gd name="T41" fmla="*/ 1031 h 1312"/>
                <a:gd name="T42" fmla="*/ 28 w 1389"/>
                <a:gd name="T43" fmla="*/ 857 h 1312"/>
                <a:gd name="T44" fmla="*/ 0 w 1389"/>
                <a:gd name="T45" fmla="*/ 656 h 1312"/>
                <a:gd name="T46" fmla="*/ 1091 w 1389"/>
                <a:gd name="T47" fmla="*/ 611 h 1312"/>
                <a:gd name="T48" fmla="*/ 1063 w 1389"/>
                <a:gd name="T49" fmla="*/ 493 h 1312"/>
                <a:gd name="T50" fmla="*/ 1001 w 1389"/>
                <a:gd name="T51" fmla="*/ 393 h 1312"/>
                <a:gd name="T52" fmla="*/ 918 w 1389"/>
                <a:gd name="T53" fmla="*/ 314 h 1312"/>
                <a:gd name="T54" fmla="*/ 817 w 1389"/>
                <a:gd name="T55" fmla="*/ 269 h 1312"/>
                <a:gd name="T56" fmla="*/ 694 w 1389"/>
                <a:gd name="T57" fmla="*/ 252 h 1312"/>
                <a:gd name="T58" fmla="*/ 616 w 1389"/>
                <a:gd name="T59" fmla="*/ 258 h 1312"/>
                <a:gd name="T60" fmla="*/ 503 w 1389"/>
                <a:gd name="T61" fmla="*/ 297 h 1312"/>
                <a:gd name="T62" fmla="*/ 414 w 1389"/>
                <a:gd name="T63" fmla="*/ 364 h 1312"/>
                <a:gd name="T64" fmla="*/ 347 w 1389"/>
                <a:gd name="T65" fmla="*/ 454 h 1312"/>
                <a:gd name="T66" fmla="*/ 308 w 1389"/>
                <a:gd name="T67" fmla="*/ 571 h 1312"/>
                <a:gd name="T68" fmla="*/ 297 w 1389"/>
                <a:gd name="T69" fmla="*/ 656 h 1312"/>
                <a:gd name="T70" fmla="*/ 313 w 1389"/>
                <a:gd name="T71" fmla="*/ 785 h 1312"/>
                <a:gd name="T72" fmla="*/ 364 w 1389"/>
                <a:gd name="T73" fmla="*/ 891 h 1312"/>
                <a:gd name="T74" fmla="*/ 442 w 1389"/>
                <a:gd name="T75" fmla="*/ 975 h 1312"/>
                <a:gd name="T76" fmla="*/ 537 w 1389"/>
                <a:gd name="T77" fmla="*/ 1031 h 1312"/>
                <a:gd name="T78" fmla="*/ 654 w 1389"/>
                <a:gd name="T79" fmla="*/ 1059 h 1312"/>
                <a:gd name="T80" fmla="*/ 739 w 1389"/>
                <a:gd name="T81" fmla="*/ 1059 h 1312"/>
                <a:gd name="T82" fmla="*/ 850 w 1389"/>
                <a:gd name="T83" fmla="*/ 1031 h 1312"/>
                <a:gd name="T84" fmla="*/ 951 w 1389"/>
                <a:gd name="T85" fmla="*/ 975 h 1312"/>
                <a:gd name="T86" fmla="*/ 1024 w 1389"/>
                <a:gd name="T87" fmla="*/ 891 h 1312"/>
                <a:gd name="T88" fmla="*/ 1074 w 1389"/>
                <a:gd name="T89" fmla="*/ 785 h 1312"/>
                <a:gd name="T90" fmla="*/ 1091 w 1389"/>
                <a:gd name="T91" fmla="*/ 656 h 1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89" h="1312">
                  <a:moveTo>
                    <a:pt x="0" y="656"/>
                  </a:moveTo>
                  <a:lnTo>
                    <a:pt x="0" y="656"/>
                  </a:lnTo>
                  <a:lnTo>
                    <a:pt x="6" y="589"/>
                  </a:lnTo>
                  <a:lnTo>
                    <a:pt x="17" y="521"/>
                  </a:lnTo>
                  <a:lnTo>
                    <a:pt x="28" y="454"/>
                  </a:lnTo>
                  <a:lnTo>
                    <a:pt x="51" y="393"/>
                  </a:lnTo>
                  <a:lnTo>
                    <a:pt x="84" y="336"/>
                  </a:lnTo>
                  <a:lnTo>
                    <a:pt x="118" y="280"/>
                  </a:lnTo>
                  <a:lnTo>
                    <a:pt x="157" y="230"/>
                  </a:lnTo>
                  <a:lnTo>
                    <a:pt x="196" y="185"/>
                  </a:lnTo>
                  <a:lnTo>
                    <a:pt x="246" y="146"/>
                  </a:lnTo>
                  <a:lnTo>
                    <a:pt x="302" y="107"/>
                  </a:lnTo>
                  <a:lnTo>
                    <a:pt x="358" y="79"/>
                  </a:lnTo>
                  <a:lnTo>
                    <a:pt x="420" y="51"/>
                  </a:lnTo>
                  <a:lnTo>
                    <a:pt x="481" y="28"/>
                  </a:lnTo>
                  <a:lnTo>
                    <a:pt x="548" y="12"/>
                  </a:lnTo>
                  <a:lnTo>
                    <a:pt x="621" y="0"/>
                  </a:lnTo>
                  <a:lnTo>
                    <a:pt x="694" y="0"/>
                  </a:lnTo>
                  <a:lnTo>
                    <a:pt x="694" y="0"/>
                  </a:lnTo>
                  <a:lnTo>
                    <a:pt x="767" y="0"/>
                  </a:lnTo>
                  <a:lnTo>
                    <a:pt x="840" y="12"/>
                  </a:lnTo>
                  <a:lnTo>
                    <a:pt x="906" y="28"/>
                  </a:lnTo>
                  <a:lnTo>
                    <a:pt x="973" y="51"/>
                  </a:lnTo>
                  <a:lnTo>
                    <a:pt x="1035" y="73"/>
                  </a:lnTo>
                  <a:lnTo>
                    <a:pt x="1091" y="107"/>
                  </a:lnTo>
                  <a:lnTo>
                    <a:pt x="1141" y="146"/>
                  </a:lnTo>
                  <a:lnTo>
                    <a:pt x="1192" y="185"/>
                  </a:lnTo>
                  <a:lnTo>
                    <a:pt x="1237" y="230"/>
                  </a:lnTo>
                  <a:lnTo>
                    <a:pt x="1276" y="280"/>
                  </a:lnTo>
                  <a:lnTo>
                    <a:pt x="1309" y="336"/>
                  </a:lnTo>
                  <a:lnTo>
                    <a:pt x="1337" y="393"/>
                  </a:lnTo>
                  <a:lnTo>
                    <a:pt x="1360" y="454"/>
                  </a:lnTo>
                  <a:lnTo>
                    <a:pt x="1376" y="521"/>
                  </a:lnTo>
                  <a:lnTo>
                    <a:pt x="1388" y="589"/>
                  </a:lnTo>
                  <a:lnTo>
                    <a:pt x="1388" y="656"/>
                  </a:lnTo>
                  <a:lnTo>
                    <a:pt x="1388" y="656"/>
                  </a:lnTo>
                  <a:lnTo>
                    <a:pt x="1388" y="728"/>
                  </a:lnTo>
                  <a:lnTo>
                    <a:pt x="1376" y="795"/>
                  </a:lnTo>
                  <a:lnTo>
                    <a:pt x="1360" y="857"/>
                  </a:lnTo>
                  <a:lnTo>
                    <a:pt x="1337" y="919"/>
                  </a:lnTo>
                  <a:lnTo>
                    <a:pt x="1309" y="975"/>
                  </a:lnTo>
                  <a:lnTo>
                    <a:pt x="1276" y="1031"/>
                  </a:lnTo>
                  <a:lnTo>
                    <a:pt x="1237" y="1081"/>
                  </a:lnTo>
                  <a:lnTo>
                    <a:pt x="1192" y="1126"/>
                  </a:lnTo>
                  <a:lnTo>
                    <a:pt x="1141" y="1171"/>
                  </a:lnTo>
                  <a:lnTo>
                    <a:pt x="1091" y="1204"/>
                  </a:lnTo>
                  <a:lnTo>
                    <a:pt x="1035" y="1238"/>
                  </a:lnTo>
                  <a:lnTo>
                    <a:pt x="973" y="1266"/>
                  </a:lnTo>
                  <a:lnTo>
                    <a:pt x="906" y="1283"/>
                  </a:lnTo>
                  <a:lnTo>
                    <a:pt x="840" y="1299"/>
                  </a:lnTo>
                  <a:lnTo>
                    <a:pt x="767" y="1311"/>
                  </a:lnTo>
                  <a:lnTo>
                    <a:pt x="694" y="1311"/>
                  </a:lnTo>
                  <a:lnTo>
                    <a:pt x="694" y="1311"/>
                  </a:lnTo>
                  <a:lnTo>
                    <a:pt x="621" y="1311"/>
                  </a:lnTo>
                  <a:lnTo>
                    <a:pt x="548" y="1299"/>
                  </a:lnTo>
                  <a:lnTo>
                    <a:pt x="481" y="1283"/>
                  </a:lnTo>
                  <a:lnTo>
                    <a:pt x="420" y="1266"/>
                  </a:lnTo>
                  <a:lnTo>
                    <a:pt x="358" y="1238"/>
                  </a:lnTo>
                  <a:lnTo>
                    <a:pt x="302" y="1204"/>
                  </a:lnTo>
                  <a:lnTo>
                    <a:pt x="246" y="1171"/>
                  </a:lnTo>
                  <a:lnTo>
                    <a:pt x="196" y="1126"/>
                  </a:lnTo>
                  <a:lnTo>
                    <a:pt x="157" y="1081"/>
                  </a:lnTo>
                  <a:lnTo>
                    <a:pt x="118" y="1031"/>
                  </a:lnTo>
                  <a:lnTo>
                    <a:pt x="84" y="975"/>
                  </a:lnTo>
                  <a:lnTo>
                    <a:pt x="51" y="919"/>
                  </a:lnTo>
                  <a:lnTo>
                    <a:pt x="28" y="857"/>
                  </a:lnTo>
                  <a:lnTo>
                    <a:pt x="17" y="795"/>
                  </a:lnTo>
                  <a:lnTo>
                    <a:pt x="6" y="728"/>
                  </a:lnTo>
                  <a:lnTo>
                    <a:pt x="0" y="656"/>
                  </a:lnTo>
                  <a:close/>
                  <a:moveTo>
                    <a:pt x="1091" y="656"/>
                  </a:moveTo>
                  <a:lnTo>
                    <a:pt x="1091" y="656"/>
                  </a:lnTo>
                  <a:lnTo>
                    <a:pt x="1091" y="611"/>
                  </a:lnTo>
                  <a:lnTo>
                    <a:pt x="1086" y="571"/>
                  </a:lnTo>
                  <a:lnTo>
                    <a:pt x="1074" y="526"/>
                  </a:lnTo>
                  <a:lnTo>
                    <a:pt x="1063" y="493"/>
                  </a:lnTo>
                  <a:lnTo>
                    <a:pt x="1046" y="454"/>
                  </a:lnTo>
                  <a:lnTo>
                    <a:pt x="1024" y="421"/>
                  </a:lnTo>
                  <a:lnTo>
                    <a:pt x="1001" y="393"/>
                  </a:lnTo>
                  <a:lnTo>
                    <a:pt x="979" y="364"/>
                  </a:lnTo>
                  <a:lnTo>
                    <a:pt x="951" y="336"/>
                  </a:lnTo>
                  <a:lnTo>
                    <a:pt x="918" y="314"/>
                  </a:lnTo>
                  <a:lnTo>
                    <a:pt x="890" y="297"/>
                  </a:lnTo>
                  <a:lnTo>
                    <a:pt x="850" y="280"/>
                  </a:lnTo>
                  <a:lnTo>
                    <a:pt x="817" y="269"/>
                  </a:lnTo>
                  <a:lnTo>
                    <a:pt x="777" y="258"/>
                  </a:lnTo>
                  <a:lnTo>
                    <a:pt x="739" y="252"/>
                  </a:lnTo>
                  <a:lnTo>
                    <a:pt x="694" y="252"/>
                  </a:lnTo>
                  <a:lnTo>
                    <a:pt x="694" y="252"/>
                  </a:lnTo>
                  <a:lnTo>
                    <a:pt x="654" y="252"/>
                  </a:lnTo>
                  <a:lnTo>
                    <a:pt x="616" y="258"/>
                  </a:lnTo>
                  <a:lnTo>
                    <a:pt x="576" y="269"/>
                  </a:lnTo>
                  <a:lnTo>
                    <a:pt x="537" y="280"/>
                  </a:lnTo>
                  <a:lnTo>
                    <a:pt x="503" y="297"/>
                  </a:lnTo>
                  <a:lnTo>
                    <a:pt x="470" y="314"/>
                  </a:lnTo>
                  <a:lnTo>
                    <a:pt x="442" y="336"/>
                  </a:lnTo>
                  <a:lnTo>
                    <a:pt x="414" y="364"/>
                  </a:lnTo>
                  <a:lnTo>
                    <a:pt x="386" y="393"/>
                  </a:lnTo>
                  <a:lnTo>
                    <a:pt x="364" y="421"/>
                  </a:lnTo>
                  <a:lnTo>
                    <a:pt x="347" y="454"/>
                  </a:lnTo>
                  <a:lnTo>
                    <a:pt x="330" y="493"/>
                  </a:lnTo>
                  <a:lnTo>
                    <a:pt x="313" y="526"/>
                  </a:lnTo>
                  <a:lnTo>
                    <a:pt x="308" y="571"/>
                  </a:lnTo>
                  <a:lnTo>
                    <a:pt x="302" y="611"/>
                  </a:lnTo>
                  <a:lnTo>
                    <a:pt x="297" y="656"/>
                  </a:lnTo>
                  <a:lnTo>
                    <a:pt x="297" y="656"/>
                  </a:lnTo>
                  <a:lnTo>
                    <a:pt x="302" y="700"/>
                  </a:lnTo>
                  <a:lnTo>
                    <a:pt x="308" y="745"/>
                  </a:lnTo>
                  <a:lnTo>
                    <a:pt x="313" y="785"/>
                  </a:lnTo>
                  <a:lnTo>
                    <a:pt x="330" y="824"/>
                  </a:lnTo>
                  <a:lnTo>
                    <a:pt x="347" y="857"/>
                  </a:lnTo>
                  <a:lnTo>
                    <a:pt x="364" y="891"/>
                  </a:lnTo>
                  <a:lnTo>
                    <a:pt x="386" y="925"/>
                  </a:lnTo>
                  <a:lnTo>
                    <a:pt x="414" y="953"/>
                  </a:lnTo>
                  <a:lnTo>
                    <a:pt x="442" y="975"/>
                  </a:lnTo>
                  <a:lnTo>
                    <a:pt x="470" y="997"/>
                  </a:lnTo>
                  <a:lnTo>
                    <a:pt x="503" y="1020"/>
                  </a:lnTo>
                  <a:lnTo>
                    <a:pt x="537" y="1031"/>
                  </a:lnTo>
                  <a:lnTo>
                    <a:pt x="576" y="1048"/>
                  </a:lnTo>
                  <a:lnTo>
                    <a:pt x="616" y="1053"/>
                  </a:lnTo>
                  <a:lnTo>
                    <a:pt x="654" y="1059"/>
                  </a:lnTo>
                  <a:lnTo>
                    <a:pt x="694" y="1064"/>
                  </a:lnTo>
                  <a:lnTo>
                    <a:pt x="694" y="1064"/>
                  </a:lnTo>
                  <a:lnTo>
                    <a:pt x="739" y="1059"/>
                  </a:lnTo>
                  <a:lnTo>
                    <a:pt x="777" y="1053"/>
                  </a:lnTo>
                  <a:lnTo>
                    <a:pt x="817" y="1048"/>
                  </a:lnTo>
                  <a:lnTo>
                    <a:pt x="850" y="1031"/>
                  </a:lnTo>
                  <a:lnTo>
                    <a:pt x="890" y="1020"/>
                  </a:lnTo>
                  <a:lnTo>
                    <a:pt x="918" y="997"/>
                  </a:lnTo>
                  <a:lnTo>
                    <a:pt x="951" y="975"/>
                  </a:lnTo>
                  <a:lnTo>
                    <a:pt x="979" y="953"/>
                  </a:lnTo>
                  <a:lnTo>
                    <a:pt x="1001" y="925"/>
                  </a:lnTo>
                  <a:lnTo>
                    <a:pt x="1024" y="891"/>
                  </a:lnTo>
                  <a:lnTo>
                    <a:pt x="1046" y="857"/>
                  </a:lnTo>
                  <a:lnTo>
                    <a:pt x="1063" y="824"/>
                  </a:lnTo>
                  <a:lnTo>
                    <a:pt x="1074" y="785"/>
                  </a:lnTo>
                  <a:lnTo>
                    <a:pt x="1086" y="745"/>
                  </a:lnTo>
                  <a:lnTo>
                    <a:pt x="1091" y="700"/>
                  </a:lnTo>
                  <a:lnTo>
                    <a:pt x="1091" y="6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1" name="Freeform 44">
              <a:extLst>
                <a:ext uri="{FF2B5EF4-FFF2-40B4-BE49-F238E27FC236}">
                  <a16:creationId xmlns:a16="http://schemas.microsoft.com/office/drawing/2014/main" id="{C15EF4A5-9B2E-1B4B-A6AA-CFA5E33B2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74013" y="3290888"/>
              <a:ext cx="419100" cy="457200"/>
            </a:xfrm>
            <a:custGeom>
              <a:avLst/>
              <a:gdLst>
                <a:gd name="T0" fmla="*/ 1164 w 1165"/>
                <a:gd name="T1" fmla="*/ 0 h 1272"/>
                <a:gd name="T2" fmla="*/ 1164 w 1165"/>
                <a:gd name="T3" fmla="*/ 1271 h 1272"/>
                <a:gd name="T4" fmla="*/ 923 w 1165"/>
                <a:gd name="T5" fmla="*/ 1271 h 1272"/>
                <a:gd name="T6" fmla="*/ 292 w 1165"/>
                <a:gd name="T7" fmla="*/ 498 h 1272"/>
                <a:gd name="T8" fmla="*/ 292 w 1165"/>
                <a:gd name="T9" fmla="*/ 1271 h 1272"/>
                <a:gd name="T10" fmla="*/ 0 w 1165"/>
                <a:gd name="T11" fmla="*/ 1271 h 1272"/>
                <a:gd name="T12" fmla="*/ 0 w 1165"/>
                <a:gd name="T13" fmla="*/ 0 h 1272"/>
                <a:gd name="T14" fmla="*/ 241 w 1165"/>
                <a:gd name="T15" fmla="*/ 0 h 1272"/>
                <a:gd name="T16" fmla="*/ 873 w 1165"/>
                <a:gd name="T17" fmla="*/ 767 h 1272"/>
                <a:gd name="T18" fmla="*/ 873 w 1165"/>
                <a:gd name="T19" fmla="*/ 0 h 1272"/>
                <a:gd name="T20" fmla="*/ 1164 w 1165"/>
                <a:gd name="T21" fmla="*/ 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5" h="1272">
                  <a:moveTo>
                    <a:pt x="1164" y="0"/>
                  </a:moveTo>
                  <a:lnTo>
                    <a:pt x="1164" y="1271"/>
                  </a:lnTo>
                  <a:lnTo>
                    <a:pt x="923" y="1271"/>
                  </a:lnTo>
                  <a:lnTo>
                    <a:pt x="292" y="498"/>
                  </a:lnTo>
                  <a:lnTo>
                    <a:pt x="292" y="1271"/>
                  </a:lnTo>
                  <a:lnTo>
                    <a:pt x="0" y="1271"/>
                  </a:lnTo>
                  <a:lnTo>
                    <a:pt x="0" y="0"/>
                  </a:lnTo>
                  <a:lnTo>
                    <a:pt x="241" y="0"/>
                  </a:lnTo>
                  <a:lnTo>
                    <a:pt x="873" y="767"/>
                  </a:lnTo>
                  <a:lnTo>
                    <a:pt x="873" y="0"/>
                  </a:lnTo>
                  <a:lnTo>
                    <a:pt x="1164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2" name="Freeform 45">
              <a:extLst>
                <a:ext uri="{FF2B5EF4-FFF2-40B4-BE49-F238E27FC236}">
                  <a16:creationId xmlns:a16="http://schemas.microsoft.com/office/drawing/2014/main" id="{7BBC44CA-C499-6941-9C83-5350C5099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6750" y="3846513"/>
              <a:ext cx="514350" cy="458787"/>
            </a:xfrm>
            <a:custGeom>
              <a:avLst/>
              <a:gdLst>
                <a:gd name="T0" fmla="*/ 1153 w 1428"/>
                <a:gd name="T1" fmla="*/ 1272 h 1273"/>
                <a:gd name="T2" fmla="*/ 1153 w 1428"/>
                <a:gd name="T3" fmla="*/ 510 h 1273"/>
                <a:gd name="T4" fmla="*/ 778 w 1428"/>
                <a:gd name="T5" fmla="*/ 1137 h 1273"/>
                <a:gd name="T6" fmla="*/ 643 w 1428"/>
                <a:gd name="T7" fmla="*/ 1137 h 1273"/>
                <a:gd name="T8" fmla="*/ 274 w 1428"/>
                <a:gd name="T9" fmla="*/ 522 h 1273"/>
                <a:gd name="T10" fmla="*/ 274 w 1428"/>
                <a:gd name="T11" fmla="*/ 1272 h 1273"/>
                <a:gd name="T12" fmla="*/ 0 w 1428"/>
                <a:gd name="T13" fmla="*/ 1272 h 1273"/>
                <a:gd name="T14" fmla="*/ 0 w 1428"/>
                <a:gd name="T15" fmla="*/ 0 h 1273"/>
                <a:gd name="T16" fmla="*/ 241 w 1428"/>
                <a:gd name="T17" fmla="*/ 0 h 1273"/>
                <a:gd name="T18" fmla="*/ 716 w 1428"/>
                <a:gd name="T19" fmla="*/ 790 h 1273"/>
                <a:gd name="T20" fmla="*/ 1181 w 1428"/>
                <a:gd name="T21" fmla="*/ 0 h 1273"/>
                <a:gd name="T22" fmla="*/ 1427 w 1428"/>
                <a:gd name="T23" fmla="*/ 0 h 1273"/>
                <a:gd name="T24" fmla="*/ 1427 w 1428"/>
                <a:gd name="T25" fmla="*/ 1272 h 1273"/>
                <a:gd name="T26" fmla="*/ 1153 w 1428"/>
                <a:gd name="T27" fmla="*/ 1272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28" h="1273">
                  <a:moveTo>
                    <a:pt x="1153" y="1272"/>
                  </a:moveTo>
                  <a:lnTo>
                    <a:pt x="1153" y="510"/>
                  </a:lnTo>
                  <a:lnTo>
                    <a:pt x="778" y="1137"/>
                  </a:lnTo>
                  <a:lnTo>
                    <a:pt x="643" y="1137"/>
                  </a:lnTo>
                  <a:lnTo>
                    <a:pt x="274" y="522"/>
                  </a:lnTo>
                  <a:lnTo>
                    <a:pt x="274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241" y="0"/>
                  </a:lnTo>
                  <a:lnTo>
                    <a:pt x="716" y="790"/>
                  </a:lnTo>
                  <a:lnTo>
                    <a:pt x="1181" y="0"/>
                  </a:lnTo>
                  <a:lnTo>
                    <a:pt x="1427" y="0"/>
                  </a:lnTo>
                  <a:lnTo>
                    <a:pt x="1427" y="1272"/>
                  </a:lnTo>
                  <a:lnTo>
                    <a:pt x="1153" y="1272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3" name="Freeform 46">
              <a:extLst>
                <a:ext uri="{FF2B5EF4-FFF2-40B4-BE49-F238E27FC236}">
                  <a16:creationId xmlns:a16="http://schemas.microsoft.com/office/drawing/2014/main" id="{D53D178E-54C1-D447-AA2D-13A5AB6904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8725" y="3846513"/>
              <a:ext cx="514350" cy="458787"/>
            </a:xfrm>
            <a:custGeom>
              <a:avLst/>
              <a:gdLst>
                <a:gd name="T0" fmla="*/ 1001 w 1427"/>
                <a:gd name="T1" fmla="*/ 997 h 1273"/>
                <a:gd name="T2" fmla="*/ 414 w 1427"/>
                <a:gd name="T3" fmla="*/ 997 h 1273"/>
                <a:gd name="T4" fmla="*/ 302 w 1427"/>
                <a:gd name="T5" fmla="*/ 1272 h 1273"/>
                <a:gd name="T6" fmla="*/ 0 w 1427"/>
                <a:gd name="T7" fmla="*/ 1272 h 1273"/>
                <a:gd name="T8" fmla="*/ 565 w 1427"/>
                <a:gd name="T9" fmla="*/ 0 h 1273"/>
                <a:gd name="T10" fmla="*/ 856 w 1427"/>
                <a:gd name="T11" fmla="*/ 0 h 1273"/>
                <a:gd name="T12" fmla="*/ 1426 w 1427"/>
                <a:gd name="T13" fmla="*/ 1272 h 1273"/>
                <a:gd name="T14" fmla="*/ 1119 w 1427"/>
                <a:gd name="T15" fmla="*/ 1272 h 1273"/>
                <a:gd name="T16" fmla="*/ 1001 w 1427"/>
                <a:gd name="T17" fmla="*/ 997 h 1273"/>
                <a:gd name="T18" fmla="*/ 912 w 1427"/>
                <a:gd name="T19" fmla="*/ 773 h 1273"/>
                <a:gd name="T20" fmla="*/ 710 w 1427"/>
                <a:gd name="T21" fmla="*/ 286 h 1273"/>
                <a:gd name="T22" fmla="*/ 509 w 1427"/>
                <a:gd name="T23" fmla="*/ 773 h 1273"/>
                <a:gd name="T24" fmla="*/ 912 w 1427"/>
                <a:gd name="T25" fmla="*/ 773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7" h="1273">
                  <a:moveTo>
                    <a:pt x="1001" y="997"/>
                  </a:moveTo>
                  <a:lnTo>
                    <a:pt x="414" y="997"/>
                  </a:lnTo>
                  <a:lnTo>
                    <a:pt x="302" y="1272"/>
                  </a:lnTo>
                  <a:lnTo>
                    <a:pt x="0" y="1272"/>
                  </a:lnTo>
                  <a:lnTo>
                    <a:pt x="565" y="0"/>
                  </a:lnTo>
                  <a:lnTo>
                    <a:pt x="856" y="0"/>
                  </a:lnTo>
                  <a:lnTo>
                    <a:pt x="1426" y="1272"/>
                  </a:lnTo>
                  <a:lnTo>
                    <a:pt x="1119" y="1272"/>
                  </a:lnTo>
                  <a:lnTo>
                    <a:pt x="1001" y="997"/>
                  </a:lnTo>
                  <a:close/>
                  <a:moveTo>
                    <a:pt x="912" y="773"/>
                  </a:moveTo>
                  <a:lnTo>
                    <a:pt x="710" y="286"/>
                  </a:lnTo>
                  <a:lnTo>
                    <a:pt x="509" y="773"/>
                  </a:lnTo>
                  <a:lnTo>
                    <a:pt x="912" y="7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4" name="Freeform 47">
              <a:extLst>
                <a:ext uri="{FF2B5EF4-FFF2-40B4-BE49-F238E27FC236}">
                  <a16:creationId xmlns:a16="http://schemas.microsoft.com/office/drawing/2014/main" id="{41B7ACF4-802A-F649-B818-18A499E7D6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113" y="3846513"/>
              <a:ext cx="419100" cy="458787"/>
            </a:xfrm>
            <a:custGeom>
              <a:avLst/>
              <a:gdLst>
                <a:gd name="T0" fmla="*/ 1164 w 1165"/>
                <a:gd name="T1" fmla="*/ 0 h 1273"/>
                <a:gd name="T2" fmla="*/ 1164 w 1165"/>
                <a:gd name="T3" fmla="*/ 1272 h 1273"/>
                <a:gd name="T4" fmla="*/ 924 w 1165"/>
                <a:gd name="T5" fmla="*/ 1272 h 1273"/>
                <a:gd name="T6" fmla="*/ 291 w 1165"/>
                <a:gd name="T7" fmla="*/ 499 h 1273"/>
                <a:gd name="T8" fmla="*/ 291 w 1165"/>
                <a:gd name="T9" fmla="*/ 1272 h 1273"/>
                <a:gd name="T10" fmla="*/ 0 w 1165"/>
                <a:gd name="T11" fmla="*/ 1272 h 1273"/>
                <a:gd name="T12" fmla="*/ 0 w 1165"/>
                <a:gd name="T13" fmla="*/ 0 h 1273"/>
                <a:gd name="T14" fmla="*/ 246 w 1165"/>
                <a:gd name="T15" fmla="*/ 0 h 1273"/>
                <a:gd name="T16" fmla="*/ 873 w 1165"/>
                <a:gd name="T17" fmla="*/ 773 h 1273"/>
                <a:gd name="T18" fmla="*/ 873 w 1165"/>
                <a:gd name="T19" fmla="*/ 0 h 1273"/>
                <a:gd name="T20" fmla="*/ 1164 w 1165"/>
                <a:gd name="T21" fmla="*/ 0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5" h="1273">
                  <a:moveTo>
                    <a:pt x="1164" y="0"/>
                  </a:moveTo>
                  <a:lnTo>
                    <a:pt x="1164" y="1272"/>
                  </a:lnTo>
                  <a:lnTo>
                    <a:pt x="924" y="1272"/>
                  </a:lnTo>
                  <a:lnTo>
                    <a:pt x="291" y="499"/>
                  </a:lnTo>
                  <a:lnTo>
                    <a:pt x="291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246" y="0"/>
                  </a:lnTo>
                  <a:lnTo>
                    <a:pt x="873" y="773"/>
                  </a:lnTo>
                  <a:lnTo>
                    <a:pt x="873" y="0"/>
                  </a:lnTo>
                  <a:lnTo>
                    <a:pt x="1164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5" name="Freeform 48">
              <a:extLst>
                <a:ext uri="{FF2B5EF4-FFF2-40B4-BE49-F238E27FC236}">
                  <a16:creationId xmlns:a16="http://schemas.microsoft.com/office/drawing/2014/main" id="{93F2AD52-AB0F-964E-BFDA-1BE44D7A7C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838" y="3846513"/>
              <a:ext cx="514350" cy="458787"/>
            </a:xfrm>
            <a:custGeom>
              <a:avLst/>
              <a:gdLst>
                <a:gd name="T0" fmla="*/ 1007 w 1428"/>
                <a:gd name="T1" fmla="*/ 997 h 1273"/>
                <a:gd name="T2" fmla="*/ 414 w 1428"/>
                <a:gd name="T3" fmla="*/ 997 h 1273"/>
                <a:gd name="T4" fmla="*/ 302 w 1428"/>
                <a:gd name="T5" fmla="*/ 1272 h 1273"/>
                <a:gd name="T6" fmla="*/ 0 w 1428"/>
                <a:gd name="T7" fmla="*/ 1272 h 1273"/>
                <a:gd name="T8" fmla="*/ 565 w 1428"/>
                <a:gd name="T9" fmla="*/ 0 h 1273"/>
                <a:gd name="T10" fmla="*/ 856 w 1428"/>
                <a:gd name="T11" fmla="*/ 0 h 1273"/>
                <a:gd name="T12" fmla="*/ 1427 w 1428"/>
                <a:gd name="T13" fmla="*/ 1272 h 1273"/>
                <a:gd name="T14" fmla="*/ 1119 w 1428"/>
                <a:gd name="T15" fmla="*/ 1272 h 1273"/>
                <a:gd name="T16" fmla="*/ 1007 w 1428"/>
                <a:gd name="T17" fmla="*/ 997 h 1273"/>
                <a:gd name="T18" fmla="*/ 912 w 1428"/>
                <a:gd name="T19" fmla="*/ 773 h 1273"/>
                <a:gd name="T20" fmla="*/ 711 w 1428"/>
                <a:gd name="T21" fmla="*/ 286 h 1273"/>
                <a:gd name="T22" fmla="*/ 510 w 1428"/>
                <a:gd name="T23" fmla="*/ 773 h 1273"/>
                <a:gd name="T24" fmla="*/ 912 w 1428"/>
                <a:gd name="T25" fmla="*/ 773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8" h="1273">
                  <a:moveTo>
                    <a:pt x="1007" y="997"/>
                  </a:moveTo>
                  <a:lnTo>
                    <a:pt x="414" y="997"/>
                  </a:lnTo>
                  <a:lnTo>
                    <a:pt x="302" y="1272"/>
                  </a:lnTo>
                  <a:lnTo>
                    <a:pt x="0" y="1272"/>
                  </a:lnTo>
                  <a:lnTo>
                    <a:pt x="565" y="0"/>
                  </a:lnTo>
                  <a:lnTo>
                    <a:pt x="856" y="0"/>
                  </a:lnTo>
                  <a:lnTo>
                    <a:pt x="1427" y="1272"/>
                  </a:lnTo>
                  <a:lnTo>
                    <a:pt x="1119" y="1272"/>
                  </a:lnTo>
                  <a:lnTo>
                    <a:pt x="1007" y="997"/>
                  </a:lnTo>
                  <a:close/>
                  <a:moveTo>
                    <a:pt x="912" y="773"/>
                  </a:moveTo>
                  <a:lnTo>
                    <a:pt x="711" y="286"/>
                  </a:lnTo>
                  <a:lnTo>
                    <a:pt x="510" y="773"/>
                  </a:lnTo>
                  <a:lnTo>
                    <a:pt x="912" y="7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6" name="Freeform 49">
              <a:extLst>
                <a:ext uri="{FF2B5EF4-FFF2-40B4-BE49-F238E27FC236}">
                  <a16:creationId xmlns:a16="http://schemas.microsoft.com/office/drawing/2014/main" id="{E5BDAB13-5D6E-1B4D-8BAA-AAF497EE9D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1300" y="3838575"/>
              <a:ext cx="442913" cy="474663"/>
            </a:xfrm>
            <a:custGeom>
              <a:avLst/>
              <a:gdLst>
                <a:gd name="T0" fmla="*/ 1203 w 1232"/>
                <a:gd name="T1" fmla="*/ 639 h 1318"/>
                <a:gd name="T2" fmla="*/ 1203 w 1232"/>
                <a:gd name="T3" fmla="*/ 1154 h 1318"/>
                <a:gd name="T4" fmla="*/ 1091 w 1232"/>
                <a:gd name="T5" fmla="*/ 1221 h 1318"/>
                <a:gd name="T6" fmla="*/ 962 w 1232"/>
                <a:gd name="T7" fmla="*/ 1272 h 1318"/>
                <a:gd name="T8" fmla="*/ 829 w 1232"/>
                <a:gd name="T9" fmla="*/ 1305 h 1318"/>
                <a:gd name="T10" fmla="*/ 694 w 1232"/>
                <a:gd name="T11" fmla="*/ 1317 h 1318"/>
                <a:gd name="T12" fmla="*/ 621 w 1232"/>
                <a:gd name="T13" fmla="*/ 1311 h 1318"/>
                <a:gd name="T14" fmla="*/ 482 w 1232"/>
                <a:gd name="T15" fmla="*/ 1288 h 1318"/>
                <a:gd name="T16" fmla="*/ 353 w 1232"/>
                <a:gd name="T17" fmla="*/ 1238 h 1318"/>
                <a:gd name="T18" fmla="*/ 246 w 1232"/>
                <a:gd name="T19" fmla="*/ 1171 h 1318"/>
                <a:gd name="T20" fmla="*/ 151 w 1232"/>
                <a:gd name="T21" fmla="*/ 1081 h 1318"/>
                <a:gd name="T22" fmla="*/ 79 w 1232"/>
                <a:gd name="T23" fmla="*/ 981 h 1318"/>
                <a:gd name="T24" fmla="*/ 28 w 1232"/>
                <a:gd name="T25" fmla="*/ 857 h 1318"/>
                <a:gd name="T26" fmla="*/ 6 w 1232"/>
                <a:gd name="T27" fmla="*/ 728 h 1318"/>
                <a:gd name="T28" fmla="*/ 0 w 1232"/>
                <a:gd name="T29" fmla="*/ 655 h 1318"/>
                <a:gd name="T30" fmla="*/ 12 w 1232"/>
                <a:gd name="T31" fmla="*/ 521 h 1318"/>
                <a:gd name="T32" fmla="*/ 51 w 1232"/>
                <a:gd name="T33" fmla="*/ 392 h 1318"/>
                <a:gd name="T34" fmla="*/ 113 w 1232"/>
                <a:gd name="T35" fmla="*/ 280 h 1318"/>
                <a:gd name="T36" fmla="*/ 196 w 1232"/>
                <a:gd name="T37" fmla="*/ 185 h 1318"/>
                <a:gd name="T38" fmla="*/ 297 w 1232"/>
                <a:gd name="T39" fmla="*/ 107 h 1318"/>
                <a:gd name="T40" fmla="*/ 420 w 1232"/>
                <a:gd name="T41" fmla="*/ 50 h 1318"/>
                <a:gd name="T42" fmla="*/ 554 w 1232"/>
                <a:gd name="T43" fmla="*/ 12 h 1318"/>
                <a:gd name="T44" fmla="*/ 700 w 1232"/>
                <a:gd name="T45" fmla="*/ 0 h 1318"/>
                <a:gd name="T46" fmla="*/ 778 w 1232"/>
                <a:gd name="T47" fmla="*/ 6 h 1318"/>
                <a:gd name="T48" fmla="*/ 929 w 1232"/>
                <a:gd name="T49" fmla="*/ 34 h 1318"/>
                <a:gd name="T50" fmla="*/ 1063 w 1232"/>
                <a:gd name="T51" fmla="*/ 90 h 1318"/>
                <a:gd name="T52" fmla="*/ 1181 w 1232"/>
                <a:gd name="T53" fmla="*/ 168 h 1318"/>
                <a:gd name="T54" fmla="*/ 1041 w 1232"/>
                <a:gd name="T55" fmla="*/ 392 h 1318"/>
                <a:gd name="T56" fmla="*/ 1007 w 1232"/>
                <a:gd name="T57" fmla="*/ 358 h 1318"/>
                <a:gd name="T58" fmla="*/ 929 w 1232"/>
                <a:gd name="T59" fmla="*/ 303 h 1318"/>
                <a:gd name="T60" fmla="*/ 851 w 1232"/>
                <a:gd name="T61" fmla="*/ 269 h 1318"/>
                <a:gd name="T62" fmla="*/ 761 w 1232"/>
                <a:gd name="T63" fmla="*/ 252 h 1318"/>
                <a:gd name="T64" fmla="*/ 711 w 1232"/>
                <a:gd name="T65" fmla="*/ 252 h 1318"/>
                <a:gd name="T66" fmla="*/ 621 w 1232"/>
                <a:gd name="T67" fmla="*/ 258 h 1318"/>
                <a:gd name="T68" fmla="*/ 543 w 1232"/>
                <a:gd name="T69" fmla="*/ 280 h 1318"/>
                <a:gd name="T70" fmla="*/ 470 w 1232"/>
                <a:gd name="T71" fmla="*/ 314 h 1318"/>
                <a:gd name="T72" fmla="*/ 414 w 1232"/>
                <a:gd name="T73" fmla="*/ 364 h 1318"/>
                <a:gd name="T74" fmla="*/ 364 w 1232"/>
                <a:gd name="T75" fmla="*/ 420 h 1318"/>
                <a:gd name="T76" fmla="*/ 325 w 1232"/>
                <a:gd name="T77" fmla="*/ 493 h 1318"/>
                <a:gd name="T78" fmla="*/ 303 w 1232"/>
                <a:gd name="T79" fmla="*/ 571 h 1318"/>
                <a:gd name="T80" fmla="*/ 297 w 1232"/>
                <a:gd name="T81" fmla="*/ 655 h 1318"/>
                <a:gd name="T82" fmla="*/ 297 w 1232"/>
                <a:gd name="T83" fmla="*/ 700 h 1318"/>
                <a:gd name="T84" fmla="*/ 314 w 1232"/>
                <a:gd name="T85" fmla="*/ 785 h 1318"/>
                <a:gd name="T86" fmla="*/ 341 w 1232"/>
                <a:gd name="T87" fmla="*/ 857 h 1318"/>
                <a:gd name="T88" fmla="*/ 387 w 1232"/>
                <a:gd name="T89" fmla="*/ 918 h 1318"/>
                <a:gd name="T90" fmla="*/ 442 w 1232"/>
                <a:gd name="T91" fmla="*/ 975 h 1318"/>
                <a:gd name="T92" fmla="*/ 504 w 1232"/>
                <a:gd name="T93" fmla="*/ 1019 h 1318"/>
                <a:gd name="T94" fmla="*/ 582 w 1232"/>
                <a:gd name="T95" fmla="*/ 1048 h 1318"/>
                <a:gd name="T96" fmla="*/ 666 w 1232"/>
                <a:gd name="T97" fmla="*/ 1059 h 1318"/>
                <a:gd name="T98" fmla="*/ 711 w 1232"/>
                <a:gd name="T99" fmla="*/ 1064 h 1318"/>
                <a:gd name="T100" fmla="*/ 823 w 1232"/>
                <a:gd name="T101" fmla="*/ 1053 h 1318"/>
                <a:gd name="T102" fmla="*/ 934 w 1232"/>
                <a:gd name="T103" fmla="*/ 1008 h 1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32" h="1318">
                  <a:moveTo>
                    <a:pt x="934" y="639"/>
                  </a:moveTo>
                  <a:lnTo>
                    <a:pt x="1203" y="639"/>
                  </a:lnTo>
                  <a:lnTo>
                    <a:pt x="1203" y="1154"/>
                  </a:lnTo>
                  <a:lnTo>
                    <a:pt x="1203" y="1154"/>
                  </a:lnTo>
                  <a:lnTo>
                    <a:pt x="1153" y="1187"/>
                  </a:lnTo>
                  <a:lnTo>
                    <a:pt x="1091" y="1221"/>
                  </a:lnTo>
                  <a:lnTo>
                    <a:pt x="1030" y="1249"/>
                  </a:lnTo>
                  <a:lnTo>
                    <a:pt x="962" y="1272"/>
                  </a:lnTo>
                  <a:lnTo>
                    <a:pt x="896" y="1288"/>
                  </a:lnTo>
                  <a:lnTo>
                    <a:pt x="829" y="1305"/>
                  </a:lnTo>
                  <a:lnTo>
                    <a:pt x="761" y="1311"/>
                  </a:lnTo>
                  <a:lnTo>
                    <a:pt x="694" y="1317"/>
                  </a:lnTo>
                  <a:lnTo>
                    <a:pt x="694" y="1317"/>
                  </a:lnTo>
                  <a:lnTo>
                    <a:pt x="621" y="1311"/>
                  </a:lnTo>
                  <a:lnTo>
                    <a:pt x="549" y="1299"/>
                  </a:lnTo>
                  <a:lnTo>
                    <a:pt x="482" y="1288"/>
                  </a:lnTo>
                  <a:lnTo>
                    <a:pt x="414" y="1266"/>
                  </a:lnTo>
                  <a:lnTo>
                    <a:pt x="353" y="1238"/>
                  </a:lnTo>
                  <a:lnTo>
                    <a:pt x="297" y="1204"/>
                  </a:lnTo>
                  <a:lnTo>
                    <a:pt x="246" y="1171"/>
                  </a:lnTo>
                  <a:lnTo>
                    <a:pt x="196" y="1131"/>
                  </a:lnTo>
                  <a:lnTo>
                    <a:pt x="151" y="1081"/>
                  </a:lnTo>
                  <a:lnTo>
                    <a:pt x="113" y="1031"/>
                  </a:lnTo>
                  <a:lnTo>
                    <a:pt x="79" y="981"/>
                  </a:lnTo>
                  <a:lnTo>
                    <a:pt x="51" y="918"/>
                  </a:lnTo>
                  <a:lnTo>
                    <a:pt x="28" y="857"/>
                  </a:lnTo>
                  <a:lnTo>
                    <a:pt x="12" y="795"/>
                  </a:lnTo>
                  <a:lnTo>
                    <a:pt x="6" y="728"/>
                  </a:lnTo>
                  <a:lnTo>
                    <a:pt x="0" y="655"/>
                  </a:lnTo>
                  <a:lnTo>
                    <a:pt x="0" y="655"/>
                  </a:lnTo>
                  <a:lnTo>
                    <a:pt x="6" y="588"/>
                  </a:lnTo>
                  <a:lnTo>
                    <a:pt x="12" y="521"/>
                  </a:lnTo>
                  <a:lnTo>
                    <a:pt x="28" y="454"/>
                  </a:lnTo>
                  <a:lnTo>
                    <a:pt x="51" y="392"/>
                  </a:lnTo>
                  <a:lnTo>
                    <a:pt x="79" y="336"/>
                  </a:lnTo>
                  <a:lnTo>
                    <a:pt x="113" y="280"/>
                  </a:lnTo>
                  <a:lnTo>
                    <a:pt x="151" y="230"/>
                  </a:lnTo>
                  <a:lnTo>
                    <a:pt x="196" y="185"/>
                  </a:lnTo>
                  <a:lnTo>
                    <a:pt x="246" y="146"/>
                  </a:lnTo>
                  <a:lnTo>
                    <a:pt x="297" y="107"/>
                  </a:lnTo>
                  <a:lnTo>
                    <a:pt x="359" y="73"/>
                  </a:lnTo>
                  <a:lnTo>
                    <a:pt x="420" y="50"/>
                  </a:lnTo>
                  <a:lnTo>
                    <a:pt x="482" y="28"/>
                  </a:lnTo>
                  <a:lnTo>
                    <a:pt x="554" y="12"/>
                  </a:lnTo>
                  <a:lnTo>
                    <a:pt x="621" y="6"/>
                  </a:lnTo>
                  <a:lnTo>
                    <a:pt x="700" y="0"/>
                  </a:lnTo>
                  <a:lnTo>
                    <a:pt x="700" y="0"/>
                  </a:lnTo>
                  <a:lnTo>
                    <a:pt x="778" y="6"/>
                  </a:lnTo>
                  <a:lnTo>
                    <a:pt x="856" y="12"/>
                  </a:lnTo>
                  <a:lnTo>
                    <a:pt x="929" y="34"/>
                  </a:lnTo>
                  <a:lnTo>
                    <a:pt x="1002" y="56"/>
                  </a:lnTo>
                  <a:lnTo>
                    <a:pt x="1063" y="90"/>
                  </a:lnTo>
                  <a:lnTo>
                    <a:pt x="1125" y="123"/>
                  </a:lnTo>
                  <a:lnTo>
                    <a:pt x="1181" y="168"/>
                  </a:lnTo>
                  <a:lnTo>
                    <a:pt x="1231" y="218"/>
                  </a:lnTo>
                  <a:lnTo>
                    <a:pt x="1041" y="392"/>
                  </a:lnTo>
                  <a:lnTo>
                    <a:pt x="1041" y="392"/>
                  </a:lnTo>
                  <a:lnTo>
                    <a:pt x="1007" y="358"/>
                  </a:lnTo>
                  <a:lnTo>
                    <a:pt x="968" y="331"/>
                  </a:lnTo>
                  <a:lnTo>
                    <a:pt x="929" y="303"/>
                  </a:lnTo>
                  <a:lnTo>
                    <a:pt x="890" y="285"/>
                  </a:lnTo>
                  <a:lnTo>
                    <a:pt x="851" y="269"/>
                  </a:lnTo>
                  <a:lnTo>
                    <a:pt x="806" y="258"/>
                  </a:lnTo>
                  <a:lnTo>
                    <a:pt x="761" y="252"/>
                  </a:lnTo>
                  <a:lnTo>
                    <a:pt x="711" y="252"/>
                  </a:lnTo>
                  <a:lnTo>
                    <a:pt x="711" y="252"/>
                  </a:lnTo>
                  <a:lnTo>
                    <a:pt x="666" y="252"/>
                  </a:lnTo>
                  <a:lnTo>
                    <a:pt x="621" y="258"/>
                  </a:lnTo>
                  <a:lnTo>
                    <a:pt x="582" y="269"/>
                  </a:lnTo>
                  <a:lnTo>
                    <a:pt x="543" y="280"/>
                  </a:lnTo>
                  <a:lnTo>
                    <a:pt x="510" y="297"/>
                  </a:lnTo>
                  <a:lnTo>
                    <a:pt x="470" y="314"/>
                  </a:lnTo>
                  <a:lnTo>
                    <a:pt x="442" y="336"/>
                  </a:lnTo>
                  <a:lnTo>
                    <a:pt x="414" y="364"/>
                  </a:lnTo>
                  <a:lnTo>
                    <a:pt x="387" y="392"/>
                  </a:lnTo>
                  <a:lnTo>
                    <a:pt x="364" y="420"/>
                  </a:lnTo>
                  <a:lnTo>
                    <a:pt x="341" y="454"/>
                  </a:lnTo>
                  <a:lnTo>
                    <a:pt x="325" y="493"/>
                  </a:lnTo>
                  <a:lnTo>
                    <a:pt x="314" y="532"/>
                  </a:lnTo>
                  <a:lnTo>
                    <a:pt x="303" y="571"/>
                  </a:lnTo>
                  <a:lnTo>
                    <a:pt x="297" y="611"/>
                  </a:lnTo>
                  <a:lnTo>
                    <a:pt x="297" y="655"/>
                  </a:lnTo>
                  <a:lnTo>
                    <a:pt x="297" y="655"/>
                  </a:lnTo>
                  <a:lnTo>
                    <a:pt x="297" y="700"/>
                  </a:lnTo>
                  <a:lnTo>
                    <a:pt x="303" y="745"/>
                  </a:lnTo>
                  <a:lnTo>
                    <a:pt x="314" y="785"/>
                  </a:lnTo>
                  <a:lnTo>
                    <a:pt x="325" y="818"/>
                  </a:lnTo>
                  <a:lnTo>
                    <a:pt x="341" y="857"/>
                  </a:lnTo>
                  <a:lnTo>
                    <a:pt x="364" y="890"/>
                  </a:lnTo>
                  <a:lnTo>
                    <a:pt x="387" y="918"/>
                  </a:lnTo>
                  <a:lnTo>
                    <a:pt x="414" y="947"/>
                  </a:lnTo>
                  <a:lnTo>
                    <a:pt x="442" y="975"/>
                  </a:lnTo>
                  <a:lnTo>
                    <a:pt x="470" y="997"/>
                  </a:lnTo>
                  <a:lnTo>
                    <a:pt x="504" y="1019"/>
                  </a:lnTo>
                  <a:lnTo>
                    <a:pt x="543" y="1031"/>
                  </a:lnTo>
                  <a:lnTo>
                    <a:pt x="582" y="1048"/>
                  </a:lnTo>
                  <a:lnTo>
                    <a:pt x="621" y="1053"/>
                  </a:lnTo>
                  <a:lnTo>
                    <a:pt x="666" y="1059"/>
                  </a:lnTo>
                  <a:lnTo>
                    <a:pt x="711" y="1064"/>
                  </a:lnTo>
                  <a:lnTo>
                    <a:pt x="711" y="1064"/>
                  </a:lnTo>
                  <a:lnTo>
                    <a:pt x="767" y="1059"/>
                  </a:lnTo>
                  <a:lnTo>
                    <a:pt x="823" y="1053"/>
                  </a:lnTo>
                  <a:lnTo>
                    <a:pt x="879" y="1036"/>
                  </a:lnTo>
                  <a:lnTo>
                    <a:pt x="934" y="1008"/>
                  </a:lnTo>
                  <a:lnTo>
                    <a:pt x="934" y="639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7" name="Freeform 50">
              <a:extLst>
                <a:ext uri="{FF2B5EF4-FFF2-40B4-BE49-F238E27FC236}">
                  <a16:creationId xmlns:a16="http://schemas.microsoft.com/office/drawing/2014/main" id="{E73C0D66-A13C-954E-ADFA-D5C3B29736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3113" y="3846513"/>
              <a:ext cx="355600" cy="458787"/>
            </a:xfrm>
            <a:custGeom>
              <a:avLst/>
              <a:gdLst>
                <a:gd name="T0" fmla="*/ 985 w 986"/>
                <a:gd name="T1" fmla="*/ 1037 h 1273"/>
                <a:gd name="T2" fmla="*/ 985 w 986"/>
                <a:gd name="T3" fmla="*/ 1272 h 1273"/>
                <a:gd name="T4" fmla="*/ 0 w 986"/>
                <a:gd name="T5" fmla="*/ 1272 h 1273"/>
                <a:gd name="T6" fmla="*/ 0 w 986"/>
                <a:gd name="T7" fmla="*/ 0 h 1273"/>
                <a:gd name="T8" fmla="*/ 957 w 986"/>
                <a:gd name="T9" fmla="*/ 0 h 1273"/>
                <a:gd name="T10" fmla="*/ 957 w 986"/>
                <a:gd name="T11" fmla="*/ 236 h 1273"/>
                <a:gd name="T12" fmla="*/ 291 w 986"/>
                <a:gd name="T13" fmla="*/ 236 h 1273"/>
                <a:gd name="T14" fmla="*/ 291 w 986"/>
                <a:gd name="T15" fmla="*/ 510 h 1273"/>
                <a:gd name="T16" fmla="*/ 879 w 986"/>
                <a:gd name="T17" fmla="*/ 510 h 1273"/>
                <a:gd name="T18" fmla="*/ 879 w 986"/>
                <a:gd name="T19" fmla="*/ 740 h 1273"/>
                <a:gd name="T20" fmla="*/ 291 w 986"/>
                <a:gd name="T21" fmla="*/ 740 h 1273"/>
                <a:gd name="T22" fmla="*/ 291 w 986"/>
                <a:gd name="T23" fmla="*/ 1037 h 1273"/>
                <a:gd name="T24" fmla="*/ 985 w 986"/>
                <a:gd name="T25" fmla="*/ 1037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86" h="1273">
                  <a:moveTo>
                    <a:pt x="985" y="1037"/>
                  </a:moveTo>
                  <a:lnTo>
                    <a:pt x="985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957" y="0"/>
                  </a:lnTo>
                  <a:lnTo>
                    <a:pt x="957" y="236"/>
                  </a:lnTo>
                  <a:lnTo>
                    <a:pt x="291" y="236"/>
                  </a:lnTo>
                  <a:lnTo>
                    <a:pt x="291" y="510"/>
                  </a:lnTo>
                  <a:lnTo>
                    <a:pt x="879" y="510"/>
                  </a:lnTo>
                  <a:lnTo>
                    <a:pt x="879" y="740"/>
                  </a:lnTo>
                  <a:lnTo>
                    <a:pt x="291" y="740"/>
                  </a:lnTo>
                  <a:lnTo>
                    <a:pt x="291" y="1037"/>
                  </a:lnTo>
                  <a:lnTo>
                    <a:pt x="985" y="1037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8" name="Freeform 51">
              <a:extLst>
                <a:ext uri="{FF2B5EF4-FFF2-40B4-BE49-F238E27FC236}">
                  <a16:creationId xmlns:a16="http://schemas.microsoft.com/office/drawing/2014/main" id="{B6A6CD00-4FAF-1341-B57F-2458B520B2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1263" y="3846513"/>
              <a:ext cx="515937" cy="458787"/>
            </a:xfrm>
            <a:custGeom>
              <a:avLst/>
              <a:gdLst>
                <a:gd name="T0" fmla="*/ 1157 w 1432"/>
                <a:gd name="T1" fmla="*/ 1272 h 1273"/>
                <a:gd name="T2" fmla="*/ 1157 w 1432"/>
                <a:gd name="T3" fmla="*/ 510 h 1273"/>
                <a:gd name="T4" fmla="*/ 782 w 1432"/>
                <a:gd name="T5" fmla="*/ 1137 h 1273"/>
                <a:gd name="T6" fmla="*/ 648 w 1432"/>
                <a:gd name="T7" fmla="*/ 1137 h 1273"/>
                <a:gd name="T8" fmla="*/ 279 w 1432"/>
                <a:gd name="T9" fmla="*/ 522 h 1273"/>
                <a:gd name="T10" fmla="*/ 279 w 1432"/>
                <a:gd name="T11" fmla="*/ 1272 h 1273"/>
                <a:gd name="T12" fmla="*/ 0 w 1432"/>
                <a:gd name="T13" fmla="*/ 1272 h 1273"/>
                <a:gd name="T14" fmla="*/ 0 w 1432"/>
                <a:gd name="T15" fmla="*/ 0 h 1273"/>
                <a:gd name="T16" fmla="*/ 245 w 1432"/>
                <a:gd name="T17" fmla="*/ 0 h 1273"/>
                <a:gd name="T18" fmla="*/ 721 w 1432"/>
                <a:gd name="T19" fmla="*/ 790 h 1273"/>
                <a:gd name="T20" fmla="*/ 1185 w 1432"/>
                <a:gd name="T21" fmla="*/ 0 h 1273"/>
                <a:gd name="T22" fmla="*/ 1426 w 1432"/>
                <a:gd name="T23" fmla="*/ 0 h 1273"/>
                <a:gd name="T24" fmla="*/ 1431 w 1432"/>
                <a:gd name="T25" fmla="*/ 1272 h 1273"/>
                <a:gd name="T26" fmla="*/ 1157 w 1432"/>
                <a:gd name="T27" fmla="*/ 1272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32" h="1273">
                  <a:moveTo>
                    <a:pt x="1157" y="1272"/>
                  </a:moveTo>
                  <a:lnTo>
                    <a:pt x="1157" y="510"/>
                  </a:lnTo>
                  <a:lnTo>
                    <a:pt x="782" y="1137"/>
                  </a:lnTo>
                  <a:lnTo>
                    <a:pt x="648" y="1137"/>
                  </a:lnTo>
                  <a:lnTo>
                    <a:pt x="279" y="522"/>
                  </a:lnTo>
                  <a:lnTo>
                    <a:pt x="279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245" y="0"/>
                  </a:lnTo>
                  <a:lnTo>
                    <a:pt x="721" y="790"/>
                  </a:lnTo>
                  <a:lnTo>
                    <a:pt x="1185" y="0"/>
                  </a:lnTo>
                  <a:lnTo>
                    <a:pt x="1426" y="0"/>
                  </a:lnTo>
                  <a:lnTo>
                    <a:pt x="1431" y="1272"/>
                  </a:lnTo>
                  <a:lnTo>
                    <a:pt x="1157" y="1272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9" name="Freeform 52">
              <a:extLst>
                <a:ext uri="{FF2B5EF4-FFF2-40B4-BE49-F238E27FC236}">
                  <a16:creationId xmlns:a16="http://schemas.microsoft.com/office/drawing/2014/main" id="{0F50DDC5-1BC5-E040-B8A3-7B65FCEA62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5150" y="3846513"/>
              <a:ext cx="354013" cy="458787"/>
            </a:xfrm>
            <a:custGeom>
              <a:avLst/>
              <a:gdLst>
                <a:gd name="T0" fmla="*/ 984 w 985"/>
                <a:gd name="T1" fmla="*/ 1037 h 1273"/>
                <a:gd name="T2" fmla="*/ 984 w 985"/>
                <a:gd name="T3" fmla="*/ 1272 h 1273"/>
                <a:gd name="T4" fmla="*/ 0 w 985"/>
                <a:gd name="T5" fmla="*/ 1272 h 1273"/>
                <a:gd name="T6" fmla="*/ 0 w 985"/>
                <a:gd name="T7" fmla="*/ 0 h 1273"/>
                <a:gd name="T8" fmla="*/ 956 w 985"/>
                <a:gd name="T9" fmla="*/ 0 h 1273"/>
                <a:gd name="T10" fmla="*/ 956 w 985"/>
                <a:gd name="T11" fmla="*/ 236 h 1273"/>
                <a:gd name="T12" fmla="*/ 290 w 985"/>
                <a:gd name="T13" fmla="*/ 236 h 1273"/>
                <a:gd name="T14" fmla="*/ 290 w 985"/>
                <a:gd name="T15" fmla="*/ 510 h 1273"/>
                <a:gd name="T16" fmla="*/ 878 w 985"/>
                <a:gd name="T17" fmla="*/ 510 h 1273"/>
                <a:gd name="T18" fmla="*/ 878 w 985"/>
                <a:gd name="T19" fmla="*/ 740 h 1273"/>
                <a:gd name="T20" fmla="*/ 290 w 985"/>
                <a:gd name="T21" fmla="*/ 740 h 1273"/>
                <a:gd name="T22" fmla="*/ 290 w 985"/>
                <a:gd name="T23" fmla="*/ 1037 h 1273"/>
                <a:gd name="T24" fmla="*/ 984 w 985"/>
                <a:gd name="T25" fmla="*/ 1037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85" h="1273">
                  <a:moveTo>
                    <a:pt x="984" y="1037"/>
                  </a:moveTo>
                  <a:lnTo>
                    <a:pt x="984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956" y="0"/>
                  </a:lnTo>
                  <a:lnTo>
                    <a:pt x="956" y="236"/>
                  </a:lnTo>
                  <a:lnTo>
                    <a:pt x="290" y="236"/>
                  </a:lnTo>
                  <a:lnTo>
                    <a:pt x="290" y="510"/>
                  </a:lnTo>
                  <a:lnTo>
                    <a:pt x="878" y="510"/>
                  </a:lnTo>
                  <a:lnTo>
                    <a:pt x="878" y="740"/>
                  </a:lnTo>
                  <a:lnTo>
                    <a:pt x="290" y="740"/>
                  </a:lnTo>
                  <a:lnTo>
                    <a:pt x="290" y="1037"/>
                  </a:lnTo>
                  <a:lnTo>
                    <a:pt x="984" y="1037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0" name="Freeform 53">
              <a:extLst>
                <a:ext uri="{FF2B5EF4-FFF2-40B4-BE49-F238E27FC236}">
                  <a16:creationId xmlns:a16="http://schemas.microsoft.com/office/drawing/2014/main" id="{8B8BD9A8-8D14-6745-9D73-F35183CAA9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1713" y="3846513"/>
              <a:ext cx="419100" cy="458787"/>
            </a:xfrm>
            <a:custGeom>
              <a:avLst/>
              <a:gdLst>
                <a:gd name="T0" fmla="*/ 1163 w 1164"/>
                <a:gd name="T1" fmla="*/ 0 h 1273"/>
                <a:gd name="T2" fmla="*/ 1163 w 1164"/>
                <a:gd name="T3" fmla="*/ 1272 h 1273"/>
                <a:gd name="T4" fmla="*/ 922 w 1164"/>
                <a:gd name="T5" fmla="*/ 1272 h 1273"/>
                <a:gd name="T6" fmla="*/ 291 w 1164"/>
                <a:gd name="T7" fmla="*/ 499 h 1273"/>
                <a:gd name="T8" fmla="*/ 291 w 1164"/>
                <a:gd name="T9" fmla="*/ 1272 h 1273"/>
                <a:gd name="T10" fmla="*/ 0 w 1164"/>
                <a:gd name="T11" fmla="*/ 1272 h 1273"/>
                <a:gd name="T12" fmla="*/ 0 w 1164"/>
                <a:gd name="T13" fmla="*/ 0 h 1273"/>
                <a:gd name="T14" fmla="*/ 246 w 1164"/>
                <a:gd name="T15" fmla="*/ 0 h 1273"/>
                <a:gd name="T16" fmla="*/ 878 w 1164"/>
                <a:gd name="T17" fmla="*/ 773 h 1273"/>
                <a:gd name="T18" fmla="*/ 878 w 1164"/>
                <a:gd name="T19" fmla="*/ 0 h 1273"/>
                <a:gd name="T20" fmla="*/ 1163 w 1164"/>
                <a:gd name="T21" fmla="*/ 0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4" h="1273">
                  <a:moveTo>
                    <a:pt x="1163" y="0"/>
                  </a:moveTo>
                  <a:lnTo>
                    <a:pt x="1163" y="1272"/>
                  </a:lnTo>
                  <a:lnTo>
                    <a:pt x="922" y="1272"/>
                  </a:lnTo>
                  <a:lnTo>
                    <a:pt x="291" y="499"/>
                  </a:lnTo>
                  <a:lnTo>
                    <a:pt x="291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246" y="0"/>
                  </a:lnTo>
                  <a:lnTo>
                    <a:pt x="878" y="773"/>
                  </a:lnTo>
                  <a:lnTo>
                    <a:pt x="878" y="0"/>
                  </a:lnTo>
                  <a:lnTo>
                    <a:pt x="1163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1" name="Freeform 54">
              <a:extLst>
                <a:ext uri="{FF2B5EF4-FFF2-40B4-BE49-F238E27FC236}">
                  <a16:creationId xmlns:a16="http://schemas.microsoft.com/office/drawing/2014/main" id="{9DD57830-E0EA-734D-A8B8-EE7CCC1EF7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9550" y="3846513"/>
              <a:ext cx="396875" cy="458787"/>
            </a:xfrm>
            <a:custGeom>
              <a:avLst/>
              <a:gdLst>
                <a:gd name="T0" fmla="*/ 402 w 1102"/>
                <a:gd name="T1" fmla="*/ 241 h 1273"/>
                <a:gd name="T2" fmla="*/ 0 w 1102"/>
                <a:gd name="T3" fmla="*/ 241 h 1273"/>
                <a:gd name="T4" fmla="*/ 0 w 1102"/>
                <a:gd name="T5" fmla="*/ 0 h 1273"/>
                <a:gd name="T6" fmla="*/ 1101 w 1102"/>
                <a:gd name="T7" fmla="*/ 0 h 1273"/>
                <a:gd name="T8" fmla="*/ 1101 w 1102"/>
                <a:gd name="T9" fmla="*/ 241 h 1273"/>
                <a:gd name="T10" fmla="*/ 699 w 1102"/>
                <a:gd name="T11" fmla="*/ 241 h 1273"/>
                <a:gd name="T12" fmla="*/ 699 w 1102"/>
                <a:gd name="T13" fmla="*/ 1272 h 1273"/>
                <a:gd name="T14" fmla="*/ 402 w 1102"/>
                <a:gd name="T15" fmla="*/ 1272 h 1273"/>
                <a:gd name="T16" fmla="*/ 402 w 1102"/>
                <a:gd name="T17" fmla="*/ 241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2" h="1273">
                  <a:moveTo>
                    <a:pt x="402" y="241"/>
                  </a:moveTo>
                  <a:lnTo>
                    <a:pt x="0" y="241"/>
                  </a:lnTo>
                  <a:lnTo>
                    <a:pt x="0" y="0"/>
                  </a:lnTo>
                  <a:lnTo>
                    <a:pt x="1101" y="0"/>
                  </a:lnTo>
                  <a:lnTo>
                    <a:pt x="1101" y="241"/>
                  </a:lnTo>
                  <a:lnTo>
                    <a:pt x="699" y="241"/>
                  </a:lnTo>
                  <a:lnTo>
                    <a:pt x="699" y="1272"/>
                  </a:lnTo>
                  <a:lnTo>
                    <a:pt x="402" y="1272"/>
                  </a:lnTo>
                  <a:lnTo>
                    <a:pt x="402" y="24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2" name="Freeform 55">
              <a:extLst>
                <a:ext uri="{FF2B5EF4-FFF2-40B4-BE49-F238E27FC236}">
                  <a16:creationId xmlns:a16="http://schemas.microsoft.com/office/drawing/2014/main" id="{93E6EBB3-BC26-1E44-9446-17B422CB23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97725" y="3846513"/>
              <a:ext cx="419100" cy="458787"/>
            </a:xfrm>
            <a:custGeom>
              <a:avLst/>
              <a:gdLst>
                <a:gd name="T0" fmla="*/ 1164 w 1165"/>
                <a:gd name="T1" fmla="*/ 925 h 1273"/>
                <a:gd name="T2" fmla="*/ 1158 w 1165"/>
                <a:gd name="T3" fmla="*/ 1003 h 1273"/>
                <a:gd name="T4" fmla="*/ 1136 w 1165"/>
                <a:gd name="T5" fmla="*/ 1070 h 1273"/>
                <a:gd name="T6" fmla="*/ 1091 w 1165"/>
                <a:gd name="T7" fmla="*/ 1132 h 1273"/>
                <a:gd name="T8" fmla="*/ 1035 w 1165"/>
                <a:gd name="T9" fmla="*/ 1177 h 1273"/>
                <a:gd name="T10" fmla="*/ 962 w 1165"/>
                <a:gd name="T11" fmla="*/ 1216 h 1273"/>
                <a:gd name="T12" fmla="*/ 878 w 1165"/>
                <a:gd name="T13" fmla="*/ 1244 h 1273"/>
                <a:gd name="T14" fmla="*/ 777 w 1165"/>
                <a:gd name="T15" fmla="*/ 1266 h 1273"/>
                <a:gd name="T16" fmla="*/ 0 w 1165"/>
                <a:gd name="T17" fmla="*/ 1272 h 1273"/>
                <a:gd name="T18" fmla="*/ 621 w 1165"/>
                <a:gd name="T19" fmla="*/ 0 h 1273"/>
                <a:gd name="T20" fmla="*/ 732 w 1165"/>
                <a:gd name="T21" fmla="*/ 6 h 1273"/>
                <a:gd name="T22" fmla="*/ 828 w 1165"/>
                <a:gd name="T23" fmla="*/ 23 h 1273"/>
                <a:gd name="T24" fmla="*/ 912 w 1165"/>
                <a:gd name="T25" fmla="*/ 51 h 1273"/>
                <a:gd name="T26" fmla="*/ 979 w 1165"/>
                <a:gd name="T27" fmla="*/ 90 h 1273"/>
                <a:gd name="T28" fmla="*/ 1035 w 1165"/>
                <a:gd name="T29" fmla="*/ 140 h 1273"/>
                <a:gd name="T30" fmla="*/ 1074 w 1165"/>
                <a:gd name="T31" fmla="*/ 196 h 1273"/>
                <a:gd name="T32" fmla="*/ 1096 w 1165"/>
                <a:gd name="T33" fmla="*/ 258 h 1273"/>
                <a:gd name="T34" fmla="*/ 1102 w 1165"/>
                <a:gd name="T35" fmla="*/ 331 h 1273"/>
                <a:gd name="T36" fmla="*/ 1096 w 1165"/>
                <a:gd name="T37" fmla="*/ 376 h 1273"/>
                <a:gd name="T38" fmla="*/ 1074 w 1165"/>
                <a:gd name="T39" fmla="*/ 460 h 1273"/>
                <a:gd name="T40" fmla="*/ 1029 w 1165"/>
                <a:gd name="T41" fmla="*/ 532 h 1273"/>
                <a:gd name="T42" fmla="*/ 968 w 1165"/>
                <a:gd name="T43" fmla="*/ 589 h 1273"/>
                <a:gd name="T44" fmla="*/ 934 w 1165"/>
                <a:gd name="T45" fmla="*/ 611 h 1273"/>
                <a:gd name="T46" fmla="*/ 1029 w 1165"/>
                <a:gd name="T47" fmla="*/ 656 h 1273"/>
                <a:gd name="T48" fmla="*/ 1102 w 1165"/>
                <a:gd name="T49" fmla="*/ 723 h 1273"/>
                <a:gd name="T50" fmla="*/ 1147 w 1165"/>
                <a:gd name="T51" fmla="*/ 813 h 1273"/>
                <a:gd name="T52" fmla="*/ 1164 w 1165"/>
                <a:gd name="T53" fmla="*/ 925 h 1273"/>
                <a:gd name="T54" fmla="*/ 291 w 1165"/>
                <a:gd name="T55" fmla="*/ 522 h 1273"/>
                <a:gd name="T56" fmla="*/ 587 w 1165"/>
                <a:gd name="T57" fmla="*/ 522 h 1273"/>
                <a:gd name="T58" fmla="*/ 682 w 1165"/>
                <a:gd name="T59" fmla="*/ 510 h 1273"/>
                <a:gd name="T60" fmla="*/ 750 w 1165"/>
                <a:gd name="T61" fmla="*/ 482 h 1273"/>
                <a:gd name="T62" fmla="*/ 794 w 1165"/>
                <a:gd name="T63" fmla="*/ 437 h 1273"/>
                <a:gd name="T64" fmla="*/ 805 w 1165"/>
                <a:gd name="T65" fmla="*/ 370 h 1273"/>
                <a:gd name="T66" fmla="*/ 805 w 1165"/>
                <a:gd name="T67" fmla="*/ 336 h 1273"/>
                <a:gd name="T68" fmla="*/ 772 w 1165"/>
                <a:gd name="T69" fmla="*/ 281 h 1273"/>
                <a:gd name="T70" fmla="*/ 716 w 1165"/>
                <a:gd name="T71" fmla="*/ 241 h 1273"/>
                <a:gd name="T72" fmla="*/ 637 w 1165"/>
                <a:gd name="T73" fmla="*/ 225 h 1273"/>
                <a:gd name="T74" fmla="*/ 291 w 1165"/>
                <a:gd name="T75" fmla="*/ 219 h 1273"/>
                <a:gd name="T76" fmla="*/ 867 w 1165"/>
                <a:gd name="T77" fmla="*/ 891 h 1273"/>
                <a:gd name="T78" fmla="*/ 856 w 1165"/>
                <a:gd name="T79" fmla="*/ 824 h 1273"/>
                <a:gd name="T80" fmla="*/ 811 w 1165"/>
                <a:gd name="T81" fmla="*/ 773 h 1273"/>
                <a:gd name="T82" fmla="*/ 738 w 1165"/>
                <a:gd name="T83" fmla="*/ 745 h 1273"/>
                <a:gd name="T84" fmla="*/ 637 w 1165"/>
                <a:gd name="T85" fmla="*/ 734 h 1273"/>
                <a:gd name="T86" fmla="*/ 291 w 1165"/>
                <a:gd name="T87" fmla="*/ 1048 h 1273"/>
                <a:gd name="T88" fmla="*/ 637 w 1165"/>
                <a:gd name="T89" fmla="*/ 1048 h 1273"/>
                <a:gd name="T90" fmla="*/ 738 w 1165"/>
                <a:gd name="T91" fmla="*/ 1037 h 1273"/>
                <a:gd name="T92" fmla="*/ 811 w 1165"/>
                <a:gd name="T93" fmla="*/ 1009 h 1273"/>
                <a:gd name="T94" fmla="*/ 856 w 1165"/>
                <a:gd name="T95" fmla="*/ 964 h 1273"/>
                <a:gd name="T96" fmla="*/ 867 w 1165"/>
                <a:gd name="T97" fmla="*/ 891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65" h="1273">
                  <a:moveTo>
                    <a:pt x="1164" y="925"/>
                  </a:moveTo>
                  <a:lnTo>
                    <a:pt x="1164" y="925"/>
                  </a:lnTo>
                  <a:lnTo>
                    <a:pt x="1164" y="964"/>
                  </a:lnTo>
                  <a:lnTo>
                    <a:pt x="1158" y="1003"/>
                  </a:lnTo>
                  <a:lnTo>
                    <a:pt x="1147" y="1037"/>
                  </a:lnTo>
                  <a:lnTo>
                    <a:pt x="1136" y="1070"/>
                  </a:lnTo>
                  <a:lnTo>
                    <a:pt x="1113" y="1098"/>
                  </a:lnTo>
                  <a:lnTo>
                    <a:pt x="1091" y="1132"/>
                  </a:lnTo>
                  <a:lnTo>
                    <a:pt x="1069" y="1154"/>
                  </a:lnTo>
                  <a:lnTo>
                    <a:pt x="1035" y="1177"/>
                  </a:lnTo>
                  <a:lnTo>
                    <a:pt x="1001" y="1199"/>
                  </a:lnTo>
                  <a:lnTo>
                    <a:pt x="962" y="1216"/>
                  </a:lnTo>
                  <a:lnTo>
                    <a:pt x="923" y="1232"/>
                  </a:lnTo>
                  <a:lnTo>
                    <a:pt x="878" y="1244"/>
                  </a:lnTo>
                  <a:lnTo>
                    <a:pt x="828" y="1255"/>
                  </a:lnTo>
                  <a:lnTo>
                    <a:pt x="777" y="1266"/>
                  </a:lnTo>
                  <a:lnTo>
                    <a:pt x="660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621" y="0"/>
                  </a:lnTo>
                  <a:lnTo>
                    <a:pt x="621" y="0"/>
                  </a:lnTo>
                  <a:lnTo>
                    <a:pt x="732" y="6"/>
                  </a:lnTo>
                  <a:lnTo>
                    <a:pt x="783" y="12"/>
                  </a:lnTo>
                  <a:lnTo>
                    <a:pt x="828" y="23"/>
                  </a:lnTo>
                  <a:lnTo>
                    <a:pt x="873" y="34"/>
                  </a:lnTo>
                  <a:lnTo>
                    <a:pt x="912" y="51"/>
                  </a:lnTo>
                  <a:lnTo>
                    <a:pt x="951" y="68"/>
                  </a:lnTo>
                  <a:lnTo>
                    <a:pt x="979" y="90"/>
                  </a:lnTo>
                  <a:lnTo>
                    <a:pt x="1007" y="113"/>
                  </a:lnTo>
                  <a:lnTo>
                    <a:pt x="1035" y="140"/>
                  </a:lnTo>
                  <a:lnTo>
                    <a:pt x="1051" y="163"/>
                  </a:lnTo>
                  <a:lnTo>
                    <a:pt x="1074" y="196"/>
                  </a:lnTo>
                  <a:lnTo>
                    <a:pt x="1085" y="225"/>
                  </a:lnTo>
                  <a:lnTo>
                    <a:pt x="1096" y="258"/>
                  </a:lnTo>
                  <a:lnTo>
                    <a:pt x="1102" y="292"/>
                  </a:lnTo>
                  <a:lnTo>
                    <a:pt x="1102" y="331"/>
                  </a:lnTo>
                  <a:lnTo>
                    <a:pt x="1102" y="331"/>
                  </a:lnTo>
                  <a:lnTo>
                    <a:pt x="1096" y="376"/>
                  </a:lnTo>
                  <a:lnTo>
                    <a:pt x="1091" y="421"/>
                  </a:lnTo>
                  <a:lnTo>
                    <a:pt x="1074" y="460"/>
                  </a:lnTo>
                  <a:lnTo>
                    <a:pt x="1057" y="499"/>
                  </a:lnTo>
                  <a:lnTo>
                    <a:pt x="1029" y="532"/>
                  </a:lnTo>
                  <a:lnTo>
                    <a:pt x="1001" y="561"/>
                  </a:lnTo>
                  <a:lnTo>
                    <a:pt x="968" y="589"/>
                  </a:lnTo>
                  <a:lnTo>
                    <a:pt x="934" y="611"/>
                  </a:lnTo>
                  <a:lnTo>
                    <a:pt x="934" y="611"/>
                  </a:lnTo>
                  <a:lnTo>
                    <a:pt x="984" y="628"/>
                  </a:lnTo>
                  <a:lnTo>
                    <a:pt x="1029" y="656"/>
                  </a:lnTo>
                  <a:lnTo>
                    <a:pt x="1069" y="684"/>
                  </a:lnTo>
                  <a:lnTo>
                    <a:pt x="1102" y="723"/>
                  </a:lnTo>
                  <a:lnTo>
                    <a:pt x="1130" y="768"/>
                  </a:lnTo>
                  <a:lnTo>
                    <a:pt x="1147" y="813"/>
                  </a:lnTo>
                  <a:lnTo>
                    <a:pt x="1164" y="863"/>
                  </a:lnTo>
                  <a:lnTo>
                    <a:pt x="1164" y="925"/>
                  </a:lnTo>
                  <a:close/>
                  <a:moveTo>
                    <a:pt x="291" y="219"/>
                  </a:moveTo>
                  <a:lnTo>
                    <a:pt x="291" y="522"/>
                  </a:lnTo>
                  <a:lnTo>
                    <a:pt x="587" y="522"/>
                  </a:lnTo>
                  <a:lnTo>
                    <a:pt x="587" y="522"/>
                  </a:lnTo>
                  <a:lnTo>
                    <a:pt x="637" y="516"/>
                  </a:lnTo>
                  <a:lnTo>
                    <a:pt x="682" y="510"/>
                  </a:lnTo>
                  <a:lnTo>
                    <a:pt x="716" y="499"/>
                  </a:lnTo>
                  <a:lnTo>
                    <a:pt x="750" y="482"/>
                  </a:lnTo>
                  <a:lnTo>
                    <a:pt x="772" y="460"/>
                  </a:lnTo>
                  <a:lnTo>
                    <a:pt x="794" y="437"/>
                  </a:lnTo>
                  <a:lnTo>
                    <a:pt x="805" y="404"/>
                  </a:lnTo>
                  <a:lnTo>
                    <a:pt x="805" y="370"/>
                  </a:lnTo>
                  <a:lnTo>
                    <a:pt x="805" y="370"/>
                  </a:lnTo>
                  <a:lnTo>
                    <a:pt x="805" y="336"/>
                  </a:lnTo>
                  <a:lnTo>
                    <a:pt x="794" y="303"/>
                  </a:lnTo>
                  <a:lnTo>
                    <a:pt x="772" y="281"/>
                  </a:lnTo>
                  <a:lnTo>
                    <a:pt x="750" y="258"/>
                  </a:lnTo>
                  <a:lnTo>
                    <a:pt x="716" y="241"/>
                  </a:lnTo>
                  <a:lnTo>
                    <a:pt x="682" y="230"/>
                  </a:lnTo>
                  <a:lnTo>
                    <a:pt x="637" y="225"/>
                  </a:lnTo>
                  <a:lnTo>
                    <a:pt x="587" y="219"/>
                  </a:lnTo>
                  <a:lnTo>
                    <a:pt x="291" y="219"/>
                  </a:lnTo>
                  <a:close/>
                  <a:moveTo>
                    <a:pt x="867" y="891"/>
                  </a:moveTo>
                  <a:lnTo>
                    <a:pt x="867" y="891"/>
                  </a:lnTo>
                  <a:lnTo>
                    <a:pt x="867" y="858"/>
                  </a:lnTo>
                  <a:lnTo>
                    <a:pt x="856" y="824"/>
                  </a:lnTo>
                  <a:lnTo>
                    <a:pt x="833" y="796"/>
                  </a:lnTo>
                  <a:lnTo>
                    <a:pt x="811" y="773"/>
                  </a:lnTo>
                  <a:lnTo>
                    <a:pt x="777" y="757"/>
                  </a:lnTo>
                  <a:lnTo>
                    <a:pt x="738" y="745"/>
                  </a:lnTo>
                  <a:lnTo>
                    <a:pt x="688" y="734"/>
                  </a:lnTo>
                  <a:lnTo>
                    <a:pt x="637" y="734"/>
                  </a:lnTo>
                  <a:lnTo>
                    <a:pt x="291" y="734"/>
                  </a:lnTo>
                  <a:lnTo>
                    <a:pt x="291" y="1048"/>
                  </a:lnTo>
                  <a:lnTo>
                    <a:pt x="637" y="1048"/>
                  </a:lnTo>
                  <a:lnTo>
                    <a:pt x="637" y="1048"/>
                  </a:lnTo>
                  <a:lnTo>
                    <a:pt x="688" y="1048"/>
                  </a:lnTo>
                  <a:lnTo>
                    <a:pt x="738" y="1037"/>
                  </a:lnTo>
                  <a:lnTo>
                    <a:pt x="777" y="1026"/>
                  </a:lnTo>
                  <a:lnTo>
                    <a:pt x="811" y="1009"/>
                  </a:lnTo>
                  <a:lnTo>
                    <a:pt x="833" y="992"/>
                  </a:lnTo>
                  <a:lnTo>
                    <a:pt x="856" y="964"/>
                  </a:lnTo>
                  <a:lnTo>
                    <a:pt x="867" y="930"/>
                  </a:lnTo>
                  <a:lnTo>
                    <a:pt x="867" y="89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3" name="Freeform 56">
              <a:extLst>
                <a:ext uri="{FF2B5EF4-FFF2-40B4-BE49-F238E27FC236}">
                  <a16:creationId xmlns:a16="http://schemas.microsoft.com/office/drawing/2014/main" id="{E9F5FB2F-99ED-BA4A-B414-B5281566B0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7788" y="3846513"/>
              <a:ext cx="404812" cy="458787"/>
            </a:xfrm>
            <a:custGeom>
              <a:avLst/>
              <a:gdLst>
                <a:gd name="T0" fmla="*/ 811 w 1125"/>
                <a:gd name="T1" fmla="*/ 1272 h 1273"/>
                <a:gd name="T2" fmla="*/ 564 w 1125"/>
                <a:gd name="T3" fmla="*/ 913 h 1273"/>
                <a:gd name="T4" fmla="*/ 548 w 1125"/>
                <a:gd name="T5" fmla="*/ 913 h 1273"/>
                <a:gd name="T6" fmla="*/ 296 w 1125"/>
                <a:gd name="T7" fmla="*/ 913 h 1273"/>
                <a:gd name="T8" fmla="*/ 296 w 1125"/>
                <a:gd name="T9" fmla="*/ 1272 h 1273"/>
                <a:gd name="T10" fmla="*/ 0 w 1125"/>
                <a:gd name="T11" fmla="*/ 1272 h 1273"/>
                <a:gd name="T12" fmla="*/ 0 w 1125"/>
                <a:gd name="T13" fmla="*/ 0 h 1273"/>
                <a:gd name="T14" fmla="*/ 548 w 1125"/>
                <a:gd name="T15" fmla="*/ 0 h 1273"/>
                <a:gd name="T16" fmla="*/ 548 w 1125"/>
                <a:gd name="T17" fmla="*/ 0 h 1273"/>
                <a:gd name="T18" fmla="*/ 609 w 1125"/>
                <a:gd name="T19" fmla="*/ 0 h 1273"/>
                <a:gd name="T20" fmla="*/ 671 w 1125"/>
                <a:gd name="T21" fmla="*/ 6 h 1273"/>
                <a:gd name="T22" fmla="*/ 726 w 1125"/>
                <a:gd name="T23" fmla="*/ 17 h 1273"/>
                <a:gd name="T24" fmla="*/ 777 w 1125"/>
                <a:gd name="T25" fmla="*/ 34 h 1273"/>
                <a:gd name="T26" fmla="*/ 827 w 1125"/>
                <a:gd name="T27" fmla="*/ 51 h 1273"/>
                <a:gd name="T28" fmla="*/ 872 w 1125"/>
                <a:gd name="T29" fmla="*/ 68 h 1273"/>
                <a:gd name="T30" fmla="*/ 917 w 1125"/>
                <a:gd name="T31" fmla="*/ 95 h 1273"/>
                <a:gd name="T32" fmla="*/ 950 w 1125"/>
                <a:gd name="T33" fmla="*/ 124 h 1273"/>
                <a:gd name="T34" fmla="*/ 984 w 1125"/>
                <a:gd name="T35" fmla="*/ 158 h 1273"/>
                <a:gd name="T36" fmla="*/ 1017 w 1125"/>
                <a:gd name="T37" fmla="*/ 191 h 1273"/>
                <a:gd name="T38" fmla="*/ 1040 w 1125"/>
                <a:gd name="T39" fmla="*/ 230 h 1273"/>
                <a:gd name="T40" fmla="*/ 1063 w 1125"/>
                <a:gd name="T41" fmla="*/ 269 h 1273"/>
                <a:gd name="T42" fmla="*/ 1079 w 1125"/>
                <a:gd name="T43" fmla="*/ 314 h 1273"/>
                <a:gd name="T44" fmla="*/ 1090 w 1125"/>
                <a:gd name="T45" fmla="*/ 359 h 1273"/>
                <a:gd name="T46" fmla="*/ 1095 w 1125"/>
                <a:gd name="T47" fmla="*/ 409 h 1273"/>
                <a:gd name="T48" fmla="*/ 1101 w 1125"/>
                <a:gd name="T49" fmla="*/ 460 h 1273"/>
                <a:gd name="T50" fmla="*/ 1101 w 1125"/>
                <a:gd name="T51" fmla="*/ 460 h 1273"/>
                <a:gd name="T52" fmla="*/ 1095 w 1125"/>
                <a:gd name="T53" fmla="*/ 527 h 1273"/>
                <a:gd name="T54" fmla="*/ 1085 w 1125"/>
                <a:gd name="T55" fmla="*/ 595 h 1273"/>
                <a:gd name="T56" fmla="*/ 1063 w 1125"/>
                <a:gd name="T57" fmla="*/ 650 h 1273"/>
                <a:gd name="T58" fmla="*/ 1034 w 1125"/>
                <a:gd name="T59" fmla="*/ 706 h 1273"/>
                <a:gd name="T60" fmla="*/ 995 w 1125"/>
                <a:gd name="T61" fmla="*/ 757 h 1273"/>
                <a:gd name="T62" fmla="*/ 950 w 1125"/>
                <a:gd name="T63" fmla="*/ 796 h 1273"/>
                <a:gd name="T64" fmla="*/ 900 w 1125"/>
                <a:gd name="T65" fmla="*/ 829 h 1273"/>
                <a:gd name="T66" fmla="*/ 839 w 1125"/>
                <a:gd name="T67" fmla="*/ 863 h 1273"/>
                <a:gd name="T68" fmla="*/ 1124 w 1125"/>
                <a:gd name="T69" fmla="*/ 1272 h 1273"/>
                <a:gd name="T70" fmla="*/ 811 w 1125"/>
                <a:gd name="T71" fmla="*/ 1272 h 1273"/>
                <a:gd name="T72" fmla="*/ 531 w 1125"/>
                <a:gd name="T73" fmla="*/ 241 h 1273"/>
                <a:gd name="T74" fmla="*/ 296 w 1125"/>
                <a:gd name="T75" fmla="*/ 241 h 1273"/>
                <a:gd name="T76" fmla="*/ 296 w 1125"/>
                <a:gd name="T77" fmla="*/ 684 h 1273"/>
                <a:gd name="T78" fmla="*/ 531 w 1125"/>
                <a:gd name="T79" fmla="*/ 684 h 1273"/>
                <a:gd name="T80" fmla="*/ 531 w 1125"/>
                <a:gd name="T81" fmla="*/ 684 h 1273"/>
                <a:gd name="T82" fmla="*/ 598 w 1125"/>
                <a:gd name="T83" fmla="*/ 678 h 1273"/>
                <a:gd name="T84" fmla="*/ 654 w 1125"/>
                <a:gd name="T85" fmla="*/ 667 h 1273"/>
                <a:gd name="T86" fmla="*/ 698 w 1125"/>
                <a:gd name="T87" fmla="*/ 650 h 1273"/>
                <a:gd name="T88" fmla="*/ 738 w 1125"/>
                <a:gd name="T89" fmla="*/ 622 h 1273"/>
                <a:gd name="T90" fmla="*/ 766 w 1125"/>
                <a:gd name="T91" fmla="*/ 589 h 1273"/>
                <a:gd name="T92" fmla="*/ 788 w 1125"/>
                <a:gd name="T93" fmla="*/ 555 h 1273"/>
                <a:gd name="T94" fmla="*/ 799 w 1125"/>
                <a:gd name="T95" fmla="*/ 510 h 1273"/>
                <a:gd name="T96" fmla="*/ 805 w 1125"/>
                <a:gd name="T97" fmla="*/ 460 h 1273"/>
                <a:gd name="T98" fmla="*/ 805 w 1125"/>
                <a:gd name="T99" fmla="*/ 460 h 1273"/>
                <a:gd name="T100" fmla="*/ 799 w 1125"/>
                <a:gd name="T101" fmla="*/ 409 h 1273"/>
                <a:gd name="T102" fmla="*/ 788 w 1125"/>
                <a:gd name="T103" fmla="*/ 364 h 1273"/>
                <a:gd name="T104" fmla="*/ 766 w 1125"/>
                <a:gd name="T105" fmla="*/ 331 h 1273"/>
                <a:gd name="T106" fmla="*/ 738 w 1125"/>
                <a:gd name="T107" fmla="*/ 297 h 1273"/>
                <a:gd name="T108" fmla="*/ 698 w 1125"/>
                <a:gd name="T109" fmla="*/ 275 h 1273"/>
                <a:gd name="T110" fmla="*/ 654 w 1125"/>
                <a:gd name="T111" fmla="*/ 253 h 1273"/>
                <a:gd name="T112" fmla="*/ 598 w 1125"/>
                <a:gd name="T113" fmla="*/ 241 h 1273"/>
                <a:gd name="T114" fmla="*/ 531 w 1125"/>
                <a:gd name="T115" fmla="*/ 241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25" h="1273">
                  <a:moveTo>
                    <a:pt x="811" y="1272"/>
                  </a:moveTo>
                  <a:lnTo>
                    <a:pt x="564" y="913"/>
                  </a:lnTo>
                  <a:lnTo>
                    <a:pt x="548" y="913"/>
                  </a:lnTo>
                  <a:lnTo>
                    <a:pt x="296" y="913"/>
                  </a:lnTo>
                  <a:lnTo>
                    <a:pt x="296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609" y="0"/>
                  </a:lnTo>
                  <a:lnTo>
                    <a:pt x="671" y="6"/>
                  </a:lnTo>
                  <a:lnTo>
                    <a:pt x="726" y="17"/>
                  </a:lnTo>
                  <a:lnTo>
                    <a:pt x="777" y="34"/>
                  </a:lnTo>
                  <a:lnTo>
                    <a:pt x="827" y="51"/>
                  </a:lnTo>
                  <a:lnTo>
                    <a:pt x="872" y="68"/>
                  </a:lnTo>
                  <a:lnTo>
                    <a:pt x="917" y="95"/>
                  </a:lnTo>
                  <a:lnTo>
                    <a:pt x="950" y="124"/>
                  </a:lnTo>
                  <a:lnTo>
                    <a:pt x="984" y="158"/>
                  </a:lnTo>
                  <a:lnTo>
                    <a:pt x="1017" y="191"/>
                  </a:lnTo>
                  <a:lnTo>
                    <a:pt x="1040" y="230"/>
                  </a:lnTo>
                  <a:lnTo>
                    <a:pt x="1063" y="269"/>
                  </a:lnTo>
                  <a:lnTo>
                    <a:pt x="1079" y="314"/>
                  </a:lnTo>
                  <a:lnTo>
                    <a:pt x="1090" y="359"/>
                  </a:lnTo>
                  <a:lnTo>
                    <a:pt x="1095" y="409"/>
                  </a:lnTo>
                  <a:lnTo>
                    <a:pt x="1101" y="460"/>
                  </a:lnTo>
                  <a:lnTo>
                    <a:pt x="1101" y="460"/>
                  </a:lnTo>
                  <a:lnTo>
                    <a:pt x="1095" y="527"/>
                  </a:lnTo>
                  <a:lnTo>
                    <a:pt x="1085" y="595"/>
                  </a:lnTo>
                  <a:lnTo>
                    <a:pt x="1063" y="650"/>
                  </a:lnTo>
                  <a:lnTo>
                    <a:pt x="1034" y="706"/>
                  </a:lnTo>
                  <a:lnTo>
                    <a:pt x="995" y="757"/>
                  </a:lnTo>
                  <a:lnTo>
                    <a:pt x="950" y="796"/>
                  </a:lnTo>
                  <a:lnTo>
                    <a:pt x="900" y="829"/>
                  </a:lnTo>
                  <a:lnTo>
                    <a:pt x="839" y="863"/>
                  </a:lnTo>
                  <a:lnTo>
                    <a:pt x="1124" y="1272"/>
                  </a:lnTo>
                  <a:lnTo>
                    <a:pt x="811" y="1272"/>
                  </a:lnTo>
                  <a:close/>
                  <a:moveTo>
                    <a:pt x="531" y="241"/>
                  </a:moveTo>
                  <a:lnTo>
                    <a:pt x="296" y="241"/>
                  </a:lnTo>
                  <a:lnTo>
                    <a:pt x="296" y="684"/>
                  </a:lnTo>
                  <a:lnTo>
                    <a:pt x="531" y="684"/>
                  </a:lnTo>
                  <a:lnTo>
                    <a:pt x="531" y="684"/>
                  </a:lnTo>
                  <a:lnTo>
                    <a:pt x="598" y="678"/>
                  </a:lnTo>
                  <a:lnTo>
                    <a:pt x="654" y="667"/>
                  </a:lnTo>
                  <a:lnTo>
                    <a:pt x="698" y="650"/>
                  </a:lnTo>
                  <a:lnTo>
                    <a:pt x="738" y="622"/>
                  </a:lnTo>
                  <a:lnTo>
                    <a:pt x="766" y="589"/>
                  </a:lnTo>
                  <a:lnTo>
                    <a:pt x="788" y="555"/>
                  </a:lnTo>
                  <a:lnTo>
                    <a:pt x="799" y="510"/>
                  </a:lnTo>
                  <a:lnTo>
                    <a:pt x="805" y="460"/>
                  </a:lnTo>
                  <a:lnTo>
                    <a:pt x="805" y="460"/>
                  </a:lnTo>
                  <a:lnTo>
                    <a:pt x="799" y="409"/>
                  </a:lnTo>
                  <a:lnTo>
                    <a:pt x="788" y="364"/>
                  </a:lnTo>
                  <a:lnTo>
                    <a:pt x="766" y="331"/>
                  </a:lnTo>
                  <a:lnTo>
                    <a:pt x="738" y="297"/>
                  </a:lnTo>
                  <a:lnTo>
                    <a:pt x="698" y="275"/>
                  </a:lnTo>
                  <a:lnTo>
                    <a:pt x="654" y="253"/>
                  </a:lnTo>
                  <a:lnTo>
                    <a:pt x="598" y="241"/>
                  </a:lnTo>
                  <a:lnTo>
                    <a:pt x="531" y="24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4" name="Freeform 57">
              <a:extLst>
                <a:ext uri="{FF2B5EF4-FFF2-40B4-BE49-F238E27FC236}">
                  <a16:creationId xmlns:a16="http://schemas.microsoft.com/office/drawing/2014/main" id="{0BB3A9F8-DCA2-014E-BB70-2DC3F6B863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6888" y="3846513"/>
              <a:ext cx="512762" cy="458787"/>
            </a:xfrm>
            <a:custGeom>
              <a:avLst/>
              <a:gdLst>
                <a:gd name="T0" fmla="*/ 1002 w 1423"/>
                <a:gd name="T1" fmla="*/ 997 h 1273"/>
                <a:gd name="T2" fmla="*/ 409 w 1423"/>
                <a:gd name="T3" fmla="*/ 997 h 1273"/>
                <a:gd name="T4" fmla="*/ 297 w 1423"/>
                <a:gd name="T5" fmla="*/ 1272 h 1273"/>
                <a:gd name="T6" fmla="*/ 0 w 1423"/>
                <a:gd name="T7" fmla="*/ 1272 h 1273"/>
                <a:gd name="T8" fmla="*/ 565 w 1423"/>
                <a:gd name="T9" fmla="*/ 0 h 1273"/>
                <a:gd name="T10" fmla="*/ 857 w 1423"/>
                <a:gd name="T11" fmla="*/ 0 h 1273"/>
                <a:gd name="T12" fmla="*/ 1422 w 1423"/>
                <a:gd name="T13" fmla="*/ 1272 h 1273"/>
                <a:gd name="T14" fmla="*/ 1114 w 1423"/>
                <a:gd name="T15" fmla="*/ 1272 h 1273"/>
                <a:gd name="T16" fmla="*/ 1002 w 1423"/>
                <a:gd name="T17" fmla="*/ 997 h 1273"/>
                <a:gd name="T18" fmla="*/ 907 w 1423"/>
                <a:gd name="T19" fmla="*/ 773 h 1273"/>
                <a:gd name="T20" fmla="*/ 706 w 1423"/>
                <a:gd name="T21" fmla="*/ 286 h 1273"/>
                <a:gd name="T22" fmla="*/ 504 w 1423"/>
                <a:gd name="T23" fmla="*/ 773 h 1273"/>
                <a:gd name="T24" fmla="*/ 907 w 1423"/>
                <a:gd name="T25" fmla="*/ 773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3" h="1273">
                  <a:moveTo>
                    <a:pt x="1002" y="997"/>
                  </a:moveTo>
                  <a:lnTo>
                    <a:pt x="409" y="997"/>
                  </a:lnTo>
                  <a:lnTo>
                    <a:pt x="297" y="1272"/>
                  </a:lnTo>
                  <a:lnTo>
                    <a:pt x="0" y="1272"/>
                  </a:lnTo>
                  <a:lnTo>
                    <a:pt x="565" y="0"/>
                  </a:lnTo>
                  <a:lnTo>
                    <a:pt x="857" y="0"/>
                  </a:lnTo>
                  <a:lnTo>
                    <a:pt x="1422" y="1272"/>
                  </a:lnTo>
                  <a:lnTo>
                    <a:pt x="1114" y="1272"/>
                  </a:lnTo>
                  <a:lnTo>
                    <a:pt x="1002" y="997"/>
                  </a:lnTo>
                  <a:close/>
                  <a:moveTo>
                    <a:pt x="907" y="773"/>
                  </a:moveTo>
                  <a:lnTo>
                    <a:pt x="706" y="286"/>
                  </a:lnTo>
                  <a:lnTo>
                    <a:pt x="504" y="773"/>
                  </a:lnTo>
                  <a:lnTo>
                    <a:pt x="907" y="7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5" name="Freeform 58">
              <a:extLst>
                <a:ext uri="{FF2B5EF4-FFF2-40B4-BE49-F238E27FC236}">
                  <a16:creationId xmlns:a16="http://schemas.microsoft.com/office/drawing/2014/main" id="{BA9B7CF3-C5B1-6444-9620-1E62EC9293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77275" y="3846513"/>
              <a:ext cx="419100" cy="458787"/>
            </a:xfrm>
            <a:custGeom>
              <a:avLst/>
              <a:gdLst>
                <a:gd name="T0" fmla="*/ 1164 w 1165"/>
                <a:gd name="T1" fmla="*/ 0 h 1273"/>
                <a:gd name="T2" fmla="*/ 1164 w 1165"/>
                <a:gd name="T3" fmla="*/ 1272 h 1273"/>
                <a:gd name="T4" fmla="*/ 924 w 1165"/>
                <a:gd name="T5" fmla="*/ 1272 h 1273"/>
                <a:gd name="T6" fmla="*/ 292 w 1165"/>
                <a:gd name="T7" fmla="*/ 499 h 1273"/>
                <a:gd name="T8" fmla="*/ 292 w 1165"/>
                <a:gd name="T9" fmla="*/ 1272 h 1273"/>
                <a:gd name="T10" fmla="*/ 0 w 1165"/>
                <a:gd name="T11" fmla="*/ 1272 h 1273"/>
                <a:gd name="T12" fmla="*/ 0 w 1165"/>
                <a:gd name="T13" fmla="*/ 0 h 1273"/>
                <a:gd name="T14" fmla="*/ 241 w 1165"/>
                <a:gd name="T15" fmla="*/ 0 h 1273"/>
                <a:gd name="T16" fmla="*/ 874 w 1165"/>
                <a:gd name="T17" fmla="*/ 773 h 1273"/>
                <a:gd name="T18" fmla="*/ 874 w 1165"/>
                <a:gd name="T19" fmla="*/ 0 h 1273"/>
                <a:gd name="T20" fmla="*/ 1164 w 1165"/>
                <a:gd name="T21" fmla="*/ 0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5" h="1273">
                  <a:moveTo>
                    <a:pt x="1164" y="0"/>
                  </a:moveTo>
                  <a:lnTo>
                    <a:pt x="1164" y="1272"/>
                  </a:lnTo>
                  <a:lnTo>
                    <a:pt x="924" y="1272"/>
                  </a:lnTo>
                  <a:lnTo>
                    <a:pt x="292" y="499"/>
                  </a:lnTo>
                  <a:lnTo>
                    <a:pt x="292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241" y="0"/>
                  </a:lnTo>
                  <a:lnTo>
                    <a:pt x="874" y="773"/>
                  </a:lnTo>
                  <a:lnTo>
                    <a:pt x="874" y="0"/>
                  </a:lnTo>
                  <a:lnTo>
                    <a:pt x="1164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6" name="Freeform 59">
              <a:extLst>
                <a:ext uri="{FF2B5EF4-FFF2-40B4-BE49-F238E27FC236}">
                  <a16:creationId xmlns:a16="http://schemas.microsoft.com/office/drawing/2014/main" id="{725F5EF4-027D-E340-B3D1-7A54AD5F2B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5750" y="3838575"/>
              <a:ext cx="438150" cy="474663"/>
            </a:xfrm>
            <a:custGeom>
              <a:avLst/>
              <a:gdLst>
                <a:gd name="T0" fmla="*/ 0 w 1215"/>
                <a:gd name="T1" fmla="*/ 655 h 1318"/>
                <a:gd name="T2" fmla="*/ 18 w 1215"/>
                <a:gd name="T3" fmla="*/ 521 h 1318"/>
                <a:gd name="T4" fmla="*/ 56 w 1215"/>
                <a:gd name="T5" fmla="*/ 392 h 1318"/>
                <a:gd name="T6" fmla="*/ 118 w 1215"/>
                <a:gd name="T7" fmla="*/ 280 h 1318"/>
                <a:gd name="T8" fmla="*/ 196 w 1215"/>
                <a:gd name="T9" fmla="*/ 185 h 1318"/>
                <a:gd name="T10" fmla="*/ 297 w 1215"/>
                <a:gd name="T11" fmla="*/ 107 h 1318"/>
                <a:gd name="T12" fmla="*/ 415 w 1215"/>
                <a:gd name="T13" fmla="*/ 50 h 1318"/>
                <a:gd name="T14" fmla="*/ 549 w 1215"/>
                <a:gd name="T15" fmla="*/ 12 h 1318"/>
                <a:gd name="T16" fmla="*/ 689 w 1215"/>
                <a:gd name="T17" fmla="*/ 0 h 1318"/>
                <a:gd name="T18" fmla="*/ 773 w 1215"/>
                <a:gd name="T19" fmla="*/ 6 h 1318"/>
                <a:gd name="T20" fmla="*/ 924 w 1215"/>
                <a:gd name="T21" fmla="*/ 34 h 1318"/>
                <a:gd name="T22" fmla="*/ 1053 w 1215"/>
                <a:gd name="T23" fmla="*/ 90 h 1318"/>
                <a:gd name="T24" fmla="*/ 1164 w 1215"/>
                <a:gd name="T25" fmla="*/ 174 h 1318"/>
                <a:gd name="T26" fmla="*/ 1025 w 1215"/>
                <a:gd name="T27" fmla="*/ 398 h 1318"/>
                <a:gd name="T28" fmla="*/ 991 w 1215"/>
                <a:gd name="T29" fmla="*/ 364 h 1318"/>
                <a:gd name="T30" fmla="*/ 918 w 1215"/>
                <a:gd name="T31" fmla="*/ 308 h 1318"/>
                <a:gd name="T32" fmla="*/ 839 w 1215"/>
                <a:gd name="T33" fmla="*/ 269 h 1318"/>
                <a:gd name="T34" fmla="*/ 750 w 1215"/>
                <a:gd name="T35" fmla="*/ 252 h 1318"/>
                <a:gd name="T36" fmla="*/ 706 w 1215"/>
                <a:gd name="T37" fmla="*/ 252 h 1318"/>
                <a:gd name="T38" fmla="*/ 621 w 1215"/>
                <a:gd name="T39" fmla="*/ 258 h 1318"/>
                <a:gd name="T40" fmla="*/ 543 w 1215"/>
                <a:gd name="T41" fmla="*/ 280 h 1318"/>
                <a:gd name="T42" fmla="*/ 470 w 1215"/>
                <a:gd name="T43" fmla="*/ 314 h 1318"/>
                <a:gd name="T44" fmla="*/ 415 w 1215"/>
                <a:gd name="T45" fmla="*/ 364 h 1318"/>
                <a:gd name="T46" fmla="*/ 364 w 1215"/>
                <a:gd name="T47" fmla="*/ 420 h 1318"/>
                <a:gd name="T48" fmla="*/ 331 w 1215"/>
                <a:gd name="T49" fmla="*/ 493 h 1318"/>
                <a:gd name="T50" fmla="*/ 308 w 1215"/>
                <a:gd name="T51" fmla="*/ 571 h 1318"/>
                <a:gd name="T52" fmla="*/ 297 w 1215"/>
                <a:gd name="T53" fmla="*/ 655 h 1318"/>
                <a:gd name="T54" fmla="*/ 303 w 1215"/>
                <a:gd name="T55" fmla="*/ 700 h 1318"/>
                <a:gd name="T56" fmla="*/ 314 w 1215"/>
                <a:gd name="T57" fmla="*/ 785 h 1318"/>
                <a:gd name="T58" fmla="*/ 347 w 1215"/>
                <a:gd name="T59" fmla="*/ 857 h 1318"/>
                <a:gd name="T60" fmla="*/ 387 w 1215"/>
                <a:gd name="T61" fmla="*/ 924 h 1318"/>
                <a:gd name="T62" fmla="*/ 442 w 1215"/>
                <a:gd name="T63" fmla="*/ 975 h 1318"/>
                <a:gd name="T64" fmla="*/ 504 w 1215"/>
                <a:gd name="T65" fmla="*/ 1019 h 1318"/>
                <a:gd name="T66" fmla="*/ 583 w 1215"/>
                <a:gd name="T67" fmla="*/ 1048 h 1318"/>
                <a:gd name="T68" fmla="*/ 661 w 1215"/>
                <a:gd name="T69" fmla="*/ 1059 h 1318"/>
                <a:gd name="T70" fmla="*/ 706 w 1215"/>
                <a:gd name="T71" fmla="*/ 1064 h 1318"/>
                <a:gd name="T72" fmla="*/ 795 w 1215"/>
                <a:gd name="T73" fmla="*/ 1053 h 1318"/>
                <a:gd name="T74" fmla="*/ 879 w 1215"/>
                <a:gd name="T75" fmla="*/ 1025 h 1318"/>
                <a:gd name="T76" fmla="*/ 957 w 1215"/>
                <a:gd name="T77" fmla="*/ 981 h 1318"/>
                <a:gd name="T78" fmla="*/ 1025 w 1215"/>
                <a:gd name="T79" fmla="*/ 913 h 1318"/>
                <a:gd name="T80" fmla="*/ 1214 w 1215"/>
                <a:gd name="T81" fmla="*/ 1086 h 1318"/>
                <a:gd name="T82" fmla="*/ 1114 w 1215"/>
                <a:gd name="T83" fmla="*/ 1182 h 1318"/>
                <a:gd name="T84" fmla="*/ 991 w 1215"/>
                <a:gd name="T85" fmla="*/ 1254 h 1318"/>
                <a:gd name="T86" fmla="*/ 845 w 1215"/>
                <a:gd name="T87" fmla="*/ 1299 h 1318"/>
                <a:gd name="T88" fmla="*/ 689 w 1215"/>
                <a:gd name="T89" fmla="*/ 1317 h 1318"/>
                <a:gd name="T90" fmla="*/ 616 w 1215"/>
                <a:gd name="T91" fmla="*/ 1311 h 1318"/>
                <a:gd name="T92" fmla="*/ 482 w 1215"/>
                <a:gd name="T93" fmla="*/ 1288 h 1318"/>
                <a:gd name="T94" fmla="*/ 353 w 1215"/>
                <a:gd name="T95" fmla="*/ 1238 h 1318"/>
                <a:gd name="T96" fmla="*/ 246 w 1215"/>
                <a:gd name="T97" fmla="*/ 1171 h 1318"/>
                <a:gd name="T98" fmla="*/ 157 w 1215"/>
                <a:gd name="T99" fmla="*/ 1081 h 1318"/>
                <a:gd name="T100" fmla="*/ 85 w 1215"/>
                <a:gd name="T101" fmla="*/ 981 h 1318"/>
                <a:gd name="T102" fmla="*/ 34 w 1215"/>
                <a:gd name="T103" fmla="*/ 857 h 1318"/>
                <a:gd name="T104" fmla="*/ 6 w 1215"/>
                <a:gd name="T105" fmla="*/ 728 h 1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15" h="1318">
                  <a:moveTo>
                    <a:pt x="0" y="655"/>
                  </a:moveTo>
                  <a:lnTo>
                    <a:pt x="0" y="655"/>
                  </a:lnTo>
                  <a:lnTo>
                    <a:pt x="6" y="588"/>
                  </a:lnTo>
                  <a:lnTo>
                    <a:pt x="18" y="521"/>
                  </a:lnTo>
                  <a:lnTo>
                    <a:pt x="34" y="454"/>
                  </a:lnTo>
                  <a:lnTo>
                    <a:pt x="56" y="392"/>
                  </a:lnTo>
                  <a:lnTo>
                    <a:pt x="85" y="336"/>
                  </a:lnTo>
                  <a:lnTo>
                    <a:pt x="118" y="280"/>
                  </a:lnTo>
                  <a:lnTo>
                    <a:pt x="157" y="230"/>
                  </a:lnTo>
                  <a:lnTo>
                    <a:pt x="196" y="185"/>
                  </a:lnTo>
                  <a:lnTo>
                    <a:pt x="246" y="146"/>
                  </a:lnTo>
                  <a:lnTo>
                    <a:pt x="297" y="107"/>
                  </a:lnTo>
                  <a:lnTo>
                    <a:pt x="359" y="73"/>
                  </a:lnTo>
                  <a:lnTo>
                    <a:pt x="415" y="50"/>
                  </a:lnTo>
                  <a:lnTo>
                    <a:pt x="482" y="28"/>
                  </a:lnTo>
                  <a:lnTo>
                    <a:pt x="549" y="12"/>
                  </a:lnTo>
                  <a:lnTo>
                    <a:pt x="616" y="6"/>
                  </a:lnTo>
                  <a:lnTo>
                    <a:pt x="689" y="0"/>
                  </a:lnTo>
                  <a:lnTo>
                    <a:pt x="689" y="0"/>
                  </a:lnTo>
                  <a:lnTo>
                    <a:pt x="773" y="6"/>
                  </a:lnTo>
                  <a:lnTo>
                    <a:pt x="845" y="17"/>
                  </a:lnTo>
                  <a:lnTo>
                    <a:pt x="924" y="34"/>
                  </a:lnTo>
                  <a:lnTo>
                    <a:pt x="991" y="56"/>
                  </a:lnTo>
                  <a:lnTo>
                    <a:pt x="1053" y="90"/>
                  </a:lnTo>
                  <a:lnTo>
                    <a:pt x="1114" y="129"/>
                  </a:lnTo>
                  <a:lnTo>
                    <a:pt x="1164" y="174"/>
                  </a:lnTo>
                  <a:lnTo>
                    <a:pt x="1214" y="224"/>
                  </a:lnTo>
                  <a:lnTo>
                    <a:pt x="1025" y="398"/>
                  </a:lnTo>
                  <a:lnTo>
                    <a:pt x="1025" y="398"/>
                  </a:lnTo>
                  <a:lnTo>
                    <a:pt x="991" y="364"/>
                  </a:lnTo>
                  <a:lnTo>
                    <a:pt x="957" y="336"/>
                  </a:lnTo>
                  <a:lnTo>
                    <a:pt x="918" y="308"/>
                  </a:lnTo>
                  <a:lnTo>
                    <a:pt x="879" y="285"/>
                  </a:lnTo>
                  <a:lnTo>
                    <a:pt x="839" y="269"/>
                  </a:lnTo>
                  <a:lnTo>
                    <a:pt x="795" y="258"/>
                  </a:lnTo>
                  <a:lnTo>
                    <a:pt x="750" y="252"/>
                  </a:lnTo>
                  <a:lnTo>
                    <a:pt x="706" y="252"/>
                  </a:lnTo>
                  <a:lnTo>
                    <a:pt x="706" y="252"/>
                  </a:lnTo>
                  <a:lnTo>
                    <a:pt x="661" y="252"/>
                  </a:lnTo>
                  <a:lnTo>
                    <a:pt x="621" y="258"/>
                  </a:lnTo>
                  <a:lnTo>
                    <a:pt x="583" y="269"/>
                  </a:lnTo>
                  <a:lnTo>
                    <a:pt x="543" y="280"/>
                  </a:lnTo>
                  <a:lnTo>
                    <a:pt x="504" y="297"/>
                  </a:lnTo>
                  <a:lnTo>
                    <a:pt x="470" y="314"/>
                  </a:lnTo>
                  <a:lnTo>
                    <a:pt x="442" y="336"/>
                  </a:lnTo>
                  <a:lnTo>
                    <a:pt x="415" y="364"/>
                  </a:lnTo>
                  <a:lnTo>
                    <a:pt x="387" y="392"/>
                  </a:lnTo>
                  <a:lnTo>
                    <a:pt x="364" y="420"/>
                  </a:lnTo>
                  <a:lnTo>
                    <a:pt x="347" y="454"/>
                  </a:lnTo>
                  <a:lnTo>
                    <a:pt x="331" y="493"/>
                  </a:lnTo>
                  <a:lnTo>
                    <a:pt x="314" y="532"/>
                  </a:lnTo>
                  <a:lnTo>
                    <a:pt x="308" y="571"/>
                  </a:lnTo>
                  <a:lnTo>
                    <a:pt x="303" y="611"/>
                  </a:lnTo>
                  <a:lnTo>
                    <a:pt x="297" y="655"/>
                  </a:lnTo>
                  <a:lnTo>
                    <a:pt x="297" y="655"/>
                  </a:lnTo>
                  <a:lnTo>
                    <a:pt x="303" y="700"/>
                  </a:lnTo>
                  <a:lnTo>
                    <a:pt x="308" y="745"/>
                  </a:lnTo>
                  <a:lnTo>
                    <a:pt x="314" y="785"/>
                  </a:lnTo>
                  <a:lnTo>
                    <a:pt x="331" y="823"/>
                  </a:lnTo>
                  <a:lnTo>
                    <a:pt x="347" y="857"/>
                  </a:lnTo>
                  <a:lnTo>
                    <a:pt x="364" y="890"/>
                  </a:lnTo>
                  <a:lnTo>
                    <a:pt x="387" y="924"/>
                  </a:lnTo>
                  <a:lnTo>
                    <a:pt x="415" y="952"/>
                  </a:lnTo>
                  <a:lnTo>
                    <a:pt x="442" y="975"/>
                  </a:lnTo>
                  <a:lnTo>
                    <a:pt x="470" y="997"/>
                  </a:lnTo>
                  <a:lnTo>
                    <a:pt x="504" y="1019"/>
                  </a:lnTo>
                  <a:lnTo>
                    <a:pt x="543" y="1031"/>
                  </a:lnTo>
                  <a:lnTo>
                    <a:pt x="583" y="1048"/>
                  </a:lnTo>
                  <a:lnTo>
                    <a:pt x="621" y="1053"/>
                  </a:lnTo>
                  <a:lnTo>
                    <a:pt x="661" y="1059"/>
                  </a:lnTo>
                  <a:lnTo>
                    <a:pt x="706" y="1064"/>
                  </a:lnTo>
                  <a:lnTo>
                    <a:pt x="706" y="1064"/>
                  </a:lnTo>
                  <a:lnTo>
                    <a:pt x="750" y="1059"/>
                  </a:lnTo>
                  <a:lnTo>
                    <a:pt x="795" y="1053"/>
                  </a:lnTo>
                  <a:lnTo>
                    <a:pt x="839" y="1042"/>
                  </a:lnTo>
                  <a:lnTo>
                    <a:pt x="879" y="1025"/>
                  </a:lnTo>
                  <a:lnTo>
                    <a:pt x="918" y="1003"/>
                  </a:lnTo>
                  <a:lnTo>
                    <a:pt x="957" y="981"/>
                  </a:lnTo>
                  <a:lnTo>
                    <a:pt x="991" y="947"/>
                  </a:lnTo>
                  <a:lnTo>
                    <a:pt x="1025" y="913"/>
                  </a:lnTo>
                  <a:lnTo>
                    <a:pt x="1214" y="1086"/>
                  </a:lnTo>
                  <a:lnTo>
                    <a:pt x="1214" y="1086"/>
                  </a:lnTo>
                  <a:lnTo>
                    <a:pt x="1164" y="1137"/>
                  </a:lnTo>
                  <a:lnTo>
                    <a:pt x="1114" y="1182"/>
                  </a:lnTo>
                  <a:lnTo>
                    <a:pt x="1053" y="1221"/>
                  </a:lnTo>
                  <a:lnTo>
                    <a:pt x="991" y="1254"/>
                  </a:lnTo>
                  <a:lnTo>
                    <a:pt x="918" y="1283"/>
                  </a:lnTo>
                  <a:lnTo>
                    <a:pt x="845" y="1299"/>
                  </a:lnTo>
                  <a:lnTo>
                    <a:pt x="773" y="1311"/>
                  </a:lnTo>
                  <a:lnTo>
                    <a:pt x="689" y="1317"/>
                  </a:lnTo>
                  <a:lnTo>
                    <a:pt x="689" y="1317"/>
                  </a:lnTo>
                  <a:lnTo>
                    <a:pt x="616" y="1311"/>
                  </a:lnTo>
                  <a:lnTo>
                    <a:pt x="549" y="1299"/>
                  </a:lnTo>
                  <a:lnTo>
                    <a:pt x="482" y="1288"/>
                  </a:lnTo>
                  <a:lnTo>
                    <a:pt x="415" y="1266"/>
                  </a:lnTo>
                  <a:lnTo>
                    <a:pt x="353" y="1238"/>
                  </a:lnTo>
                  <a:lnTo>
                    <a:pt x="297" y="1204"/>
                  </a:lnTo>
                  <a:lnTo>
                    <a:pt x="246" y="1171"/>
                  </a:lnTo>
                  <a:lnTo>
                    <a:pt x="196" y="1131"/>
                  </a:lnTo>
                  <a:lnTo>
                    <a:pt x="157" y="1081"/>
                  </a:lnTo>
                  <a:lnTo>
                    <a:pt x="118" y="1031"/>
                  </a:lnTo>
                  <a:lnTo>
                    <a:pt x="85" y="981"/>
                  </a:lnTo>
                  <a:lnTo>
                    <a:pt x="56" y="918"/>
                  </a:lnTo>
                  <a:lnTo>
                    <a:pt x="34" y="857"/>
                  </a:lnTo>
                  <a:lnTo>
                    <a:pt x="18" y="795"/>
                  </a:lnTo>
                  <a:lnTo>
                    <a:pt x="6" y="728"/>
                  </a:lnTo>
                  <a:lnTo>
                    <a:pt x="0" y="65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7" name="Freeform 60">
              <a:extLst>
                <a:ext uri="{FF2B5EF4-FFF2-40B4-BE49-F238E27FC236}">
                  <a16:creationId xmlns:a16="http://schemas.microsoft.com/office/drawing/2014/main" id="{B31A1D63-F015-284C-9242-5D5AF97B0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2163" y="3846513"/>
              <a:ext cx="419100" cy="458787"/>
            </a:xfrm>
            <a:custGeom>
              <a:avLst/>
              <a:gdLst>
                <a:gd name="T0" fmla="*/ 1164 w 1165"/>
                <a:gd name="T1" fmla="*/ 0 h 1273"/>
                <a:gd name="T2" fmla="*/ 1164 w 1165"/>
                <a:gd name="T3" fmla="*/ 1272 h 1273"/>
                <a:gd name="T4" fmla="*/ 873 w 1165"/>
                <a:gd name="T5" fmla="*/ 1272 h 1273"/>
                <a:gd name="T6" fmla="*/ 873 w 1165"/>
                <a:gd name="T7" fmla="*/ 751 h 1273"/>
                <a:gd name="T8" fmla="*/ 297 w 1165"/>
                <a:gd name="T9" fmla="*/ 751 h 1273"/>
                <a:gd name="T10" fmla="*/ 297 w 1165"/>
                <a:gd name="T11" fmla="*/ 1272 h 1273"/>
                <a:gd name="T12" fmla="*/ 0 w 1165"/>
                <a:gd name="T13" fmla="*/ 1272 h 1273"/>
                <a:gd name="T14" fmla="*/ 0 w 1165"/>
                <a:gd name="T15" fmla="*/ 0 h 1273"/>
                <a:gd name="T16" fmla="*/ 297 w 1165"/>
                <a:gd name="T17" fmla="*/ 0 h 1273"/>
                <a:gd name="T18" fmla="*/ 297 w 1165"/>
                <a:gd name="T19" fmla="*/ 499 h 1273"/>
                <a:gd name="T20" fmla="*/ 873 w 1165"/>
                <a:gd name="T21" fmla="*/ 499 h 1273"/>
                <a:gd name="T22" fmla="*/ 873 w 1165"/>
                <a:gd name="T23" fmla="*/ 0 h 1273"/>
                <a:gd name="T24" fmla="*/ 1164 w 1165"/>
                <a:gd name="T25" fmla="*/ 0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65" h="1273">
                  <a:moveTo>
                    <a:pt x="1164" y="0"/>
                  </a:moveTo>
                  <a:lnTo>
                    <a:pt x="1164" y="1272"/>
                  </a:lnTo>
                  <a:lnTo>
                    <a:pt x="873" y="1272"/>
                  </a:lnTo>
                  <a:lnTo>
                    <a:pt x="873" y="751"/>
                  </a:lnTo>
                  <a:lnTo>
                    <a:pt x="297" y="751"/>
                  </a:lnTo>
                  <a:lnTo>
                    <a:pt x="297" y="1272"/>
                  </a:lnTo>
                  <a:lnTo>
                    <a:pt x="0" y="1272"/>
                  </a:lnTo>
                  <a:lnTo>
                    <a:pt x="0" y="0"/>
                  </a:lnTo>
                  <a:lnTo>
                    <a:pt x="297" y="0"/>
                  </a:lnTo>
                  <a:lnTo>
                    <a:pt x="297" y="499"/>
                  </a:lnTo>
                  <a:lnTo>
                    <a:pt x="873" y="499"/>
                  </a:lnTo>
                  <a:lnTo>
                    <a:pt x="873" y="0"/>
                  </a:lnTo>
                  <a:lnTo>
                    <a:pt x="1164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8" name="Freeform 61">
              <a:extLst>
                <a:ext uri="{FF2B5EF4-FFF2-40B4-BE49-F238E27FC236}">
                  <a16:creationId xmlns:a16="http://schemas.microsoft.com/office/drawing/2014/main" id="{5A649595-AC79-7A4C-9FF5-DBB4B47198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713" y="3797300"/>
              <a:ext cx="334962" cy="334963"/>
            </a:xfrm>
            <a:custGeom>
              <a:avLst/>
              <a:gdLst>
                <a:gd name="T0" fmla="*/ 929 w 930"/>
                <a:gd name="T1" fmla="*/ 929 h 930"/>
                <a:gd name="T2" fmla="*/ 0 w 930"/>
                <a:gd name="T3" fmla="*/ 929 h 930"/>
                <a:gd name="T4" fmla="*/ 0 w 930"/>
                <a:gd name="T5" fmla="*/ 0 h 930"/>
                <a:gd name="T6" fmla="*/ 252 w 930"/>
                <a:gd name="T7" fmla="*/ 0 h 930"/>
                <a:gd name="T8" fmla="*/ 252 w 930"/>
                <a:gd name="T9" fmla="*/ 683 h 930"/>
                <a:gd name="T10" fmla="*/ 929 w 930"/>
                <a:gd name="T11" fmla="*/ 683 h 930"/>
                <a:gd name="T12" fmla="*/ 929 w 930"/>
                <a:gd name="T13" fmla="*/ 929 h 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0" h="930">
                  <a:moveTo>
                    <a:pt x="929" y="929"/>
                  </a:moveTo>
                  <a:lnTo>
                    <a:pt x="0" y="929"/>
                  </a:lnTo>
                  <a:lnTo>
                    <a:pt x="0" y="0"/>
                  </a:lnTo>
                  <a:lnTo>
                    <a:pt x="252" y="0"/>
                  </a:lnTo>
                  <a:lnTo>
                    <a:pt x="252" y="683"/>
                  </a:lnTo>
                  <a:lnTo>
                    <a:pt x="929" y="683"/>
                  </a:lnTo>
                  <a:lnTo>
                    <a:pt x="929" y="929"/>
                  </a:lnTo>
                </a:path>
              </a:pathLst>
            </a:custGeom>
            <a:solidFill>
              <a:srgbClr val="828F2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9" name="Freeform 62">
              <a:extLst>
                <a:ext uri="{FF2B5EF4-FFF2-40B4-BE49-F238E27FC236}">
                  <a16:creationId xmlns:a16="http://schemas.microsoft.com/office/drawing/2014/main" id="{0BD138AC-ED84-DD41-9088-09C83A783C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088" y="3462338"/>
              <a:ext cx="334962" cy="334962"/>
            </a:xfrm>
            <a:custGeom>
              <a:avLst/>
              <a:gdLst>
                <a:gd name="T0" fmla="*/ 929 w 930"/>
                <a:gd name="T1" fmla="*/ 929 h 930"/>
                <a:gd name="T2" fmla="*/ 683 w 930"/>
                <a:gd name="T3" fmla="*/ 929 h 930"/>
                <a:gd name="T4" fmla="*/ 683 w 930"/>
                <a:gd name="T5" fmla="*/ 252 h 930"/>
                <a:gd name="T6" fmla="*/ 0 w 930"/>
                <a:gd name="T7" fmla="*/ 252 h 930"/>
                <a:gd name="T8" fmla="*/ 0 w 930"/>
                <a:gd name="T9" fmla="*/ 0 h 930"/>
                <a:gd name="T10" fmla="*/ 929 w 930"/>
                <a:gd name="T11" fmla="*/ 0 h 930"/>
                <a:gd name="T12" fmla="*/ 929 w 930"/>
                <a:gd name="T13" fmla="*/ 929 h 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0" h="930">
                  <a:moveTo>
                    <a:pt x="929" y="929"/>
                  </a:moveTo>
                  <a:lnTo>
                    <a:pt x="683" y="929"/>
                  </a:lnTo>
                  <a:lnTo>
                    <a:pt x="683" y="252"/>
                  </a:lnTo>
                  <a:lnTo>
                    <a:pt x="0" y="252"/>
                  </a:lnTo>
                  <a:lnTo>
                    <a:pt x="0" y="0"/>
                  </a:lnTo>
                  <a:lnTo>
                    <a:pt x="929" y="0"/>
                  </a:lnTo>
                  <a:lnTo>
                    <a:pt x="929" y="929"/>
                  </a:lnTo>
                </a:path>
              </a:pathLst>
            </a:custGeom>
            <a:solidFill>
              <a:srgbClr val="F64C3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" name="Freeform 63">
              <a:extLst>
                <a:ext uri="{FF2B5EF4-FFF2-40B4-BE49-F238E27FC236}">
                  <a16:creationId xmlns:a16="http://schemas.microsoft.com/office/drawing/2014/main" id="{1667C3FD-2B29-7749-AE65-C9F767165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088" y="3797300"/>
              <a:ext cx="506412" cy="506413"/>
            </a:xfrm>
            <a:custGeom>
              <a:avLst/>
              <a:gdLst>
                <a:gd name="T0" fmla="*/ 1405 w 1406"/>
                <a:gd name="T1" fmla="*/ 1405 h 1406"/>
                <a:gd name="T2" fmla="*/ 0 w 1406"/>
                <a:gd name="T3" fmla="*/ 1405 h 1406"/>
                <a:gd name="T4" fmla="*/ 0 w 1406"/>
                <a:gd name="T5" fmla="*/ 1159 h 1406"/>
                <a:gd name="T6" fmla="*/ 1159 w 1406"/>
                <a:gd name="T7" fmla="*/ 1159 h 1406"/>
                <a:gd name="T8" fmla="*/ 1159 w 1406"/>
                <a:gd name="T9" fmla="*/ 0 h 1406"/>
                <a:gd name="T10" fmla="*/ 1405 w 1406"/>
                <a:gd name="T11" fmla="*/ 0 h 1406"/>
                <a:gd name="T12" fmla="*/ 1405 w 1406"/>
                <a:gd name="T13" fmla="*/ 1405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6" h="1406">
                  <a:moveTo>
                    <a:pt x="1405" y="1405"/>
                  </a:moveTo>
                  <a:lnTo>
                    <a:pt x="0" y="1405"/>
                  </a:lnTo>
                  <a:lnTo>
                    <a:pt x="0" y="1159"/>
                  </a:lnTo>
                  <a:lnTo>
                    <a:pt x="1159" y="1159"/>
                  </a:lnTo>
                  <a:lnTo>
                    <a:pt x="1159" y="0"/>
                  </a:lnTo>
                  <a:lnTo>
                    <a:pt x="1405" y="0"/>
                  </a:lnTo>
                  <a:lnTo>
                    <a:pt x="1405" y="1405"/>
                  </a:lnTo>
                </a:path>
              </a:pathLst>
            </a:custGeom>
            <a:solidFill>
              <a:srgbClr val="F9A62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1" name="Freeform 64">
              <a:extLst>
                <a:ext uri="{FF2B5EF4-FFF2-40B4-BE49-F238E27FC236}">
                  <a16:creationId xmlns:a16="http://schemas.microsoft.com/office/drawing/2014/main" id="{A71420F0-85A4-744A-98D2-60217D852B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263" y="3290888"/>
              <a:ext cx="506412" cy="506412"/>
            </a:xfrm>
            <a:custGeom>
              <a:avLst/>
              <a:gdLst>
                <a:gd name="T0" fmla="*/ 246 w 1405"/>
                <a:gd name="T1" fmla="*/ 1405 h 1406"/>
                <a:gd name="T2" fmla="*/ 0 w 1405"/>
                <a:gd name="T3" fmla="*/ 1405 h 1406"/>
                <a:gd name="T4" fmla="*/ 0 w 1405"/>
                <a:gd name="T5" fmla="*/ 0 h 1406"/>
                <a:gd name="T6" fmla="*/ 1404 w 1405"/>
                <a:gd name="T7" fmla="*/ 0 h 1406"/>
                <a:gd name="T8" fmla="*/ 1404 w 1405"/>
                <a:gd name="T9" fmla="*/ 246 h 1406"/>
                <a:gd name="T10" fmla="*/ 246 w 1405"/>
                <a:gd name="T11" fmla="*/ 246 h 1406"/>
                <a:gd name="T12" fmla="*/ 246 w 1405"/>
                <a:gd name="T13" fmla="*/ 1405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5" h="1406">
                  <a:moveTo>
                    <a:pt x="246" y="1405"/>
                  </a:moveTo>
                  <a:lnTo>
                    <a:pt x="0" y="1405"/>
                  </a:lnTo>
                  <a:lnTo>
                    <a:pt x="0" y="0"/>
                  </a:lnTo>
                  <a:lnTo>
                    <a:pt x="1404" y="0"/>
                  </a:lnTo>
                  <a:lnTo>
                    <a:pt x="1404" y="246"/>
                  </a:lnTo>
                  <a:lnTo>
                    <a:pt x="246" y="246"/>
                  </a:lnTo>
                  <a:lnTo>
                    <a:pt x="246" y="1405"/>
                  </a:lnTo>
                </a:path>
              </a:pathLst>
            </a:custGeom>
            <a:solidFill>
              <a:srgbClr val="57AFC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2" name="Freeform 65">
              <a:extLst>
                <a:ext uri="{FF2B5EF4-FFF2-40B4-BE49-F238E27FC236}">
                  <a16:creationId xmlns:a16="http://schemas.microsoft.com/office/drawing/2014/main" id="{CEDD7CD7-465A-EA42-A963-2397BE3EC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25" y="3797300"/>
              <a:ext cx="679450" cy="679450"/>
            </a:xfrm>
            <a:custGeom>
              <a:avLst/>
              <a:gdLst>
                <a:gd name="T0" fmla="*/ 1885 w 1886"/>
                <a:gd name="T1" fmla="*/ 1887 h 1888"/>
                <a:gd name="T2" fmla="*/ 0 w 1886"/>
                <a:gd name="T3" fmla="*/ 1887 h 1888"/>
                <a:gd name="T4" fmla="*/ 0 w 1886"/>
                <a:gd name="T5" fmla="*/ 0 h 1888"/>
                <a:gd name="T6" fmla="*/ 252 w 1886"/>
                <a:gd name="T7" fmla="*/ 0 h 1888"/>
                <a:gd name="T8" fmla="*/ 252 w 1886"/>
                <a:gd name="T9" fmla="*/ 1640 h 1888"/>
                <a:gd name="T10" fmla="*/ 1885 w 1886"/>
                <a:gd name="T11" fmla="*/ 1640 h 1888"/>
                <a:gd name="T12" fmla="*/ 1885 w 1886"/>
                <a:gd name="T13" fmla="*/ 1887 h 1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6" h="1888">
                  <a:moveTo>
                    <a:pt x="1885" y="1887"/>
                  </a:moveTo>
                  <a:lnTo>
                    <a:pt x="0" y="1887"/>
                  </a:lnTo>
                  <a:lnTo>
                    <a:pt x="0" y="0"/>
                  </a:lnTo>
                  <a:lnTo>
                    <a:pt x="252" y="0"/>
                  </a:lnTo>
                  <a:lnTo>
                    <a:pt x="252" y="1640"/>
                  </a:lnTo>
                  <a:lnTo>
                    <a:pt x="1885" y="1640"/>
                  </a:lnTo>
                  <a:lnTo>
                    <a:pt x="1885" y="1887"/>
                  </a:lnTo>
                </a:path>
              </a:pathLst>
            </a:custGeom>
            <a:solidFill>
              <a:srgbClr val="975DA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3" name="Freeform 66">
              <a:extLst>
                <a:ext uri="{FF2B5EF4-FFF2-40B4-BE49-F238E27FC236}">
                  <a16:creationId xmlns:a16="http://schemas.microsoft.com/office/drawing/2014/main" id="{F081AC3A-4E30-2049-B36A-8C5A0F14ED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088" y="3117850"/>
              <a:ext cx="679450" cy="679450"/>
            </a:xfrm>
            <a:custGeom>
              <a:avLst/>
              <a:gdLst>
                <a:gd name="T0" fmla="*/ 1885 w 1886"/>
                <a:gd name="T1" fmla="*/ 1887 h 1888"/>
                <a:gd name="T2" fmla="*/ 1639 w 1886"/>
                <a:gd name="T3" fmla="*/ 1887 h 1888"/>
                <a:gd name="T4" fmla="*/ 1639 w 1886"/>
                <a:gd name="T5" fmla="*/ 252 h 1888"/>
                <a:gd name="T6" fmla="*/ 0 w 1886"/>
                <a:gd name="T7" fmla="*/ 252 h 1888"/>
                <a:gd name="T8" fmla="*/ 0 w 1886"/>
                <a:gd name="T9" fmla="*/ 0 h 1888"/>
                <a:gd name="T10" fmla="*/ 1885 w 1886"/>
                <a:gd name="T11" fmla="*/ 0 h 1888"/>
                <a:gd name="T12" fmla="*/ 1885 w 1886"/>
                <a:gd name="T13" fmla="*/ 1887 h 1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6" h="1888">
                  <a:moveTo>
                    <a:pt x="1885" y="1887"/>
                  </a:moveTo>
                  <a:lnTo>
                    <a:pt x="1639" y="1887"/>
                  </a:lnTo>
                  <a:lnTo>
                    <a:pt x="1639" y="252"/>
                  </a:lnTo>
                  <a:lnTo>
                    <a:pt x="0" y="252"/>
                  </a:lnTo>
                  <a:lnTo>
                    <a:pt x="0" y="0"/>
                  </a:lnTo>
                  <a:lnTo>
                    <a:pt x="1885" y="0"/>
                  </a:lnTo>
                  <a:lnTo>
                    <a:pt x="1885" y="1887"/>
                  </a:lnTo>
                </a:path>
              </a:pathLst>
            </a:custGeom>
            <a:solidFill>
              <a:srgbClr val="17567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E6530993-1F72-884D-8E35-C68C02D78784}"/>
              </a:ext>
            </a:extLst>
          </p:cNvPr>
          <p:cNvCxnSpPr>
            <a:cxnSpLocks/>
          </p:cNvCxnSpPr>
          <p:nvPr userDrawn="1"/>
        </p:nvCxnSpPr>
        <p:spPr>
          <a:xfrm>
            <a:off x="670560" y="5841551"/>
            <a:ext cx="107391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608731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Horizonta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6147353-67BF-3B4B-A02D-23D3112B5C45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78F7204-D57C-D719-1558-9D7706407F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2000" b="0">
                <a:solidFill>
                  <a:schemeClr val="accent1"/>
                </a:solidFill>
                <a:latin typeface="Aptos" panose="020B0004020202020204" pitchFamily="34" charset="0"/>
              </a:defRPr>
            </a:lvl2pPr>
            <a:lvl3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3pPr>
            <a:lvl4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4pPr>
            <a:lvl5pPr>
              <a:defRPr b="1">
                <a:solidFill>
                  <a:schemeClr val="accent1"/>
                </a:solidFill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slide title</a:t>
            </a:r>
            <a:endParaRPr lang="en-CA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DAFC18E0-75A5-4567-539E-7FC6ED55A8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subtitle (if applicable)</a:t>
            </a:r>
            <a:endParaRPr lang="en-CA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04996259-3C6F-E50B-A8DC-F52D2BB58A5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77677" y="1299423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NOT using a subtitle</a:t>
            </a:r>
            <a:endParaRPr lang="en-CA"/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0B02F8FF-64CA-D2BE-8F60-FE4D74F1709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7676" y="1600966"/>
            <a:ext cx="11015663" cy="298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ptos" panose="020B0004020202020204" pitchFamily="34" charset="0"/>
              </a:defRPr>
            </a:lvl1pPr>
            <a:lvl2pPr>
              <a:defRPr sz="1400">
                <a:latin typeface="Aptos" panose="020B0004020202020204" pitchFamily="34" charset="0"/>
              </a:defRPr>
            </a:lvl2pPr>
            <a:lvl3pPr>
              <a:defRPr sz="1400">
                <a:latin typeface="Aptos" panose="020B0004020202020204" pitchFamily="34" charset="0"/>
              </a:defRPr>
            </a:lvl3pPr>
            <a:lvl4pPr>
              <a:defRPr sz="1400">
                <a:latin typeface="Aptos" panose="020B0004020202020204" pitchFamily="34" charset="0"/>
              </a:defRPr>
            </a:lvl4pPr>
            <a:lvl5pPr>
              <a:defRPr sz="1400">
                <a:latin typeface="Aptos" panose="020B0004020202020204" pitchFamily="34" charset="0"/>
              </a:defRPr>
            </a:lvl5pPr>
          </a:lstStyle>
          <a:p>
            <a:pPr lvl="0"/>
            <a:r>
              <a:rPr lang="en-US"/>
              <a:t>Click to edit text body here if using a 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7867682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BC3D5E1B-CAFA-318C-5CDF-C13D66C66BF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14" name="Rectangle 21">
            <a:extLst>
              <a:ext uri="{FF2B5EF4-FFF2-40B4-BE49-F238E27FC236}">
                <a16:creationId xmlns:a16="http://schemas.microsoft.com/office/drawing/2014/main" id="{383C8B2C-E5C7-A60D-2B99-67F06135836A}"/>
              </a:ext>
            </a:extLst>
          </p:cNvPr>
          <p:cNvSpPr>
            <a:spLocks/>
          </p:cNvSpPr>
          <p:nvPr userDrawn="1"/>
        </p:nvSpPr>
        <p:spPr>
          <a:xfrm rot="5400000" flipH="1">
            <a:off x="-794209" y="794209"/>
            <a:ext cx="6858002" cy="5269584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3929049" y="2458538"/>
                  <a:pt x="7400671" y="21112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8EB153A-6BDA-BD5C-6DDE-68879845E0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33847" y="1388749"/>
            <a:ext cx="3602483" cy="120021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4400" b="1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  <a:endParaRPr lang="en-CA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EC989A0-2726-33C1-B217-E7CE82D190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39430" y="1112991"/>
            <a:ext cx="4359276" cy="551517"/>
          </a:xfrm>
          <a:prstGeom prst="round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>
              <a:buNone/>
              <a:defRPr sz="3200" b="1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1BAC904-5F97-8759-796E-F325977626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38823" y="1823547"/>
            <a:ext cx="4359276" cy="39214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edit text list</a:t>
            </a:r>
          </a:p>
        </p:txBody>
      </p:sp>
    </p:spTree>
    <p:extLst>
      <p:ext uri="{BB962C8B-B14F-4D97-AF65-F5344CB8AC3E}">
        <p14:creationId xmlns:p14="http://schemas.microsoft.com/office/powerpoint/2010/main" val="34241854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discus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BC3D5E1B-CAFA-318C-5CDF-C13D66C66BF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5" name="Rectangle 21">
            <a:extLst>
              <a:ext uri="{FF2B5EF4-FFF2-40B4-BE49-F238E27FC236}">
                <a16:creationId xmlns:a16="http://schemas.microsoft.com/office/drawing/2014/main" id="{CEFD7007-8842-7415-7AC4-BECAB19FA005}"/>
              </a:ext>
            </a:extLst>
          </p:cNvPr>
          <p:cNvSpPr>
            <a:spLocks/>
          </p:cNvSpPr>
          <p:nvPr userDrawn="1"/>
        </p:nvSpPr>
        <p:spPr>
          <a:xfrm rot="5400000" flipH="1">
            <a:off x="4026817" y="-4026817"/>
            <a:ext cx="4138368" cy="12192002"/>
          </a:xfrm>
          <a:custGeom>
            <a:avLst/>
            <a:gdLst>
              <a:gd name="connsiteX0" fmla="*/ 0 w 3663108"/>
              <a:gd name="connsiteY0" fmla="*/ 0 h 12192002"/>
              <a:gd name="connsiteX1" fmla="*/ 3663108 w 3663108"/>
              <a:gd name="connsiteY1" fmla="*/ 0 h 12192002"/>
              <a:gd name="connsiteX2" fmla="*/ 3663108 w 3663108"/>
              <a:gd name="connsiteY2" fmla="*/ 12192002 h 12192002"/>
              <a:gd name="connsiteX3" fmla="*/ 0 w 3663108"/>
              <a:gd name="connsiteY3" fmla="*/ 12192002 h 12192002"/>
              <a:gd name="connsiteX4" fmla="*/ 0 w 3663108"/>
              <a:gd name="connsiteY4" fmla="*/ 0 h 12192002"/>
              <a:gd name="connsiteX0" fmla="*/ 875645 w 4538753"/>
              <a:gd name="connsiteY0" fmla="*/ 0 h 12192002"/>
              <a:gd name="connsiteX1" fmla="*/ 4538753 w 4538753"/>
              <a:gd name="connsiteY1" fmla="*/ 0 h 12192002"/>
              <a:gd name="connsiteX2" fmla="*/ 4538753 w 4538753"/>
              <a:gd name="connsiteY2" fmla="*/ 12192002 h 12192002"/>
              <a:gd name="connsiteX3" fmla="*/ 875645 w 4538753"/>
              <a:gd name="connsiteY3" fmla="*/ 12192002 h 12192002"/>
              <a:gd name="connsiteX4" fmla="*/ 875645 w 4538753"/>
              <a:gd name="connsiteY4" fmla="*/ 0 h 12192002"/>
              <a:gd name="connsiteX0" fmla="*/ 795848 w 4458956"/>
              <a:gd name="connsiteY0" fmla="*/ 0 h 12192002"/>
              <a:gd name="connsiteX1" fmla="*/ 4458956 w 4458956"/>
              <a:gd name="connsiteY1" fmla="*/ 0 h 12192002"/>
              <a:gd name="connsiteX2" fmla="*/ 4458956 w 4458956"/>
              <a:gd name="connsiteY2" fmla="*/ 12192002 h 12192002"/>
              <a:gd name="connsiteX3" fmla="*/ 795848 w 4458956"/>
              <a:gd name="connsiteY3" fmla="*/ 12192002 h 12192002"/>
              <a:gd name="connsiteX4" fmla="*/ 795848 w 4458956"/>
              <a:gd name="connsiteY4" fmla="*/ 0 h 12192002"/>
              <a:gd name="connsiteX0" fmla="*/ 0 w 3663108"/>
              <a:gd name="connsiteY0" fmla="*/ 0 h 12192002"/>
              <a:gd name="connsiteX1" fmla="*/ 3663108 w 3663108"/>
              <a:gd name="connsiteY1" fmla="*/ 0 h 12192002"/>
              <a:gd name="connsiteX2" fmla="*/ 3663108 w 3663108"/>
              <a:gd name="connsiteY2" fmla="*/ 12192002 h 12192002"/>
              <a:gd name="connsiteX3" fmla="*/ 0 w 3663108"/>
              <a:gd name="connsiteY3" fmla="*/ 12192002 h 12192002"/>
              <a:gd name="connsiteX4" fmla="*/ 0 w 3663108"/>
              <a:gd name="connsiteY4" fmla="*/ 0 h 12192002"/>
              <a:gd name="connsiteX0" fmla="*/ 452061 w 4115169"/>
              <a:gd name="connsiteY0" fmla="*/ 0 h 12192002"/>
              <a:gd name="connsiteX1" fmla="*/ 4115169 w 4115169"/>
              <a:gd name="connsiteY1" fmla="*/ 0 h 12192002"/>
              <a:gd name="connsiteX2" fmla="*/ 4115169 w 4115169"/>
              <a:gd name="connsiteY2" fmla="*/ 12192002 h 12192002"/>
              <a:gd name="connsiteX3" fmla="*/ 452061 w 4115169"/>
              <a:gd name="connsiteY3" fmla="*/ 12192002 h 12192002"/>
              <a:gd name="connsiteX4" fmla="*/ 452061 w 4115169"/>
              <a:gd name="connsiteY4" fmla="*/ 0 h 12192002"/>
              <a:gd name="connsiteX0" fmla="*/ 446873 w 4109981"/>
              <a:gd name="connsiteY0" fmla="*/ 0 h 12192002"/>
              <a:gd name="connsiteX1" fmla="*/ 4109981 w 4109981"/>
              <a:gd name="connsiteY1" fmla="*/ 0 h 12192002"/>
              <a:gd name="connsiteX2" fmla="*/ 4109981 w 4109981"/>
              <a:gd name="connsiteY2" fmla="*/ 12192002 h 12192002"/>
              <a:gd name="connsiteX3" fmla="*/ 446873 w 4109981"/>
              <a:gd name="connsiteY3" fmla="*/ 12192002 h 12192002"/>
              <a:gd name="connsiteX4" fmla="*/ 446873 w 4109981"/>
              <a:gd name="connsiteY4" fmla="*/ 0 h 12192002"/>
              <a:gd name="connsiteX0" fmla="*/ 440537 w 4103645"/>
              <a:gd name="connsiteY0" fmla="*/ 0 h 12192002"/>
              <a:gd name="connsiteX1" fmla="*/ 4103645 w 4103645"/>
              <a:gd name="connsiteY1" fmla="*/ 0 h 12192002"/>
              <a:gd name="connsiteX2" fmla="*/ 4103645 w 4103645"/>
              <a:gd name="connsiteY2" fmla="*/ 12192002 h 12192002"/>
              <a:gd name="connsiteX3" fmla="*/ 440537 w 4103645"/>
              <a:gd name="connsiteY3" fmla="*/ 12192002 h 12192002"/>
              <a:gd name="connsiteX4" fmla="*/ 440537 w 4103645"/>
              <a:gd name="connsiteY4" fmla="*/ 0 h 12192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3645" h="12192002">
                <a:moveTo>
                  <a:pt x="440537" y="0"/>
                </a:moveTo>
                <a:lnTo>
                  <a:pt x="4103645" y="0"/>
                </a:lnTo>
                <a:lnTo>
                  <a:pt x="4103645" y="12192002"/>
                </a:lnTo>
                <a:lnTo>
                  <a:pt x="440537" y="12192002"/>
                </a:lnTo>
                <a:cubicBezTo>
                  <a:pt x="1354937" y="8165709"/>
                  <a:pt x="-907496" y="5836240"/>
                  <a:pt x="44053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>
              <a:latin typeface="Aptos" panose="020B0004020202020204" pitchFamily="34" charset="0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05D9DC77-1483-892E-573C-67171FB4A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612" y="1692382"/>
            <a:ext cx="7673288" cy="882406"/>
          </a:xfrm>
          <a:prstGeom prst="rect">
            <a:avLst/>
          </a:prstGeom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</a:t>
            </a:r>
            <a:endParaRPr lang="en-CA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E75A8B5-634A-3308-534E-773EFE04EC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7531" y="3910363"/>
            <a:ext cx="3692494" cy="576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7490842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e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56">
            <a:extLst>
              <a:ext uri="{FF2B5EF4-FFF2-40B4-BE49-F238E27FC236}">
                <a16:creationId xmlns:a16="http://schemas.microsoft.com/office/drawing/2014/main" id="{082E1F6F-C987-133E-24CC-AA60183B20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278" r="7278"/>
          <a:stretch/>
        </p:blipFill>
        <p:spPr>
          <a:xfrm>
            <a:off x="5376579" y="65987"/>
            <a:ext cx="6746292" cy="6387937"/>
          </a:xfrm>
          <a:custGeom>
            <a:avLst/>
            <a:gdLst>
              <a:gd name="connsiteX0" fmla="*/ 0 w 6746292"/>
              <a:gd name="connsiteY0" fmla="*/ 0 h 6387937"/>
              <a:gd name="connsiteX1" fmla="*/ 5684963 w 6746292"/>
              <a:gd name="connsiteY1" fmla="*/ 0 h 6387937"/>
              <a:gd name="connsiteX2" fmla="*/ 5684963 w 6746292"/>
              <a:gd name="connsiteY2" fmla="*/ 1079326 h 6387937"/>
              <a:gd name="connsiteX3" fmla="*/ 6746292 w 6746292"/>
              <a:gd name="connsiteY3" fmla="*/ 1079326 h 6387937"/>
              <a:gd name="connsiteX4" fmla="*/ 6746292 w 6746292"/>
              <a:gd name="connsiteY4" fmla="*/ 6387937 h 6387937"/>
              <a:gd name="connsiteX5" fmla="*/ 0 w 6746292"/>
              <a:gd name="connsiteY5" fmla="*/ 6387937 h 638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46292" h="6387937">
                <a:moveTo>
                  <a:pt x="0" y="0"/>
                </a:moveTo>
                <a:lnTo>
                  <a:pt x="5684963" y="0"/>
                </a:lnTo>
                <a:lnTo>
                  <a:pt x="5684963" y="1079326"/>
                </a:lnTo>
                <a:lnTo>
                  <a:pt x="6746292" y="1079326"/>
                </a:lnTo>
                <a:lnTo>
                  <a:pt x="6746292" y="6387937"/>
                </a:lnTo>
                <a:lnTo>
                  <a:pt x="0" y="6387937"/>
                </a:lnTo>
                <a:close/>
              </a:path>
            </a:pathLst>
          </a:cu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EEA1F064-E6C6-02BF-518D-92B7F053F7C0}"/>
              </a:ext>
            </a:extLst>
          </p:cNvPr>
          <p:cNvSpPr>
            <a:spLocks/>
          </p:cNvSpPr>
          <p:nvPr userDrawn="1"/>
        </p:nvSpPr>
        <p:spPr>
          <a:xfrm rot="16200000">
            <a:off x="626205" y="288290"/>
            <a:ext cx="1724660" cy="1148080"/>
          </a:xfrm>
          <a:custGeom>
            <a:avLst/>
            <a:gdLst>
              <a:gd name="connsiteX0" fmla="*/ 1724660 w 1724660"/>
              <a:gd name="connsiteY0" fmla="*/ 0 h 1148080"/>
              <a:gd name="connsiteX1" fmla="*/ 1724660 w 1724660"/>
              <a:gd name="connsiteY1" fmla="*/ 1148080 h 1148080"/>
              <a:gd name="connsiteX2" fmla="*/ 0 w 1724660"/>
              <a:gd name="connsiteY2" fmla="*/ 1148080 h 1148080"/>
              <a:gd name="connsiteX3" fmla="*/ 574040 w 1724660"/>
              <a:gd name="connsiteY3" fmla="*/ 574040 h 1148080"/>
              <a:gd name="connsiteX4" fmla="*/ 0 w 1724660"/>
              <a:gd name="connsiteY4" fmla="*/ 0 h 114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24660" h="1148080">
                <a:moveTo>
                  <a:pt x="1724660" y="0"/>
                </a:moveTo>
                <a:lnTo>
                  <a:pt x="1724660" y="1148080"/>
                </a:lnTo>
                <a:lnTo>
                  <a:pt x="0" y="1148080"/>
                </a:lnTo>
                <a:lnTo>
                  <a:pt x="574040" y="574040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1DBA6A0-88E3-121B-14E1-C39B892F7E91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rgbClr val="175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E1BCF5B0-E8A7-5E63-8092-63AC183E50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111" r="12766"/>
          <a:stretch/>
        </p:blipFill>
        <p:spPr>
          <a:xfrm>
            <a:off x="6287679" y="65987"/>
            <a:ext cx="5571241" cy="5735117"/>
          </a:xfrm>
          <a:custGeom>
            <a:avLst/>
            <a:gdLst>
              <a:gd name="connsiteX0" fmla="*/ 0 w 5665510"/>
              <a:gd name="connsiteY0" fmla="*/ 0 h 5568345"/>
              <a:gd name="connsiteX1" fmla="*/ 4756075 w 5665510"/>
              <a:gd name="connsiteY1" fmla="*/ 0 h 5568345"/>
              <a:gd name="connsiteX2" fmla="*/ 4756075 w 5665510"/>
              <a:gd name="connsiteY2" fmla="*/ 1079326 h 5568345"/>
              <a:gd name="connsiteX3" fmla="*/ 5665510 w 5665510"/>
              <a:gd name="connsiteY3" fmla="*/ 1079326 h 5568345"/>
              <a:gd name="connsiteX4" fmla="*/ 5665510 w 5665510"/>
              <a:gd name="connsiteY4" fmla="*/ 5568345 h 5568345"/>
              <a:gd name="connsiteX5" fmla="*/ 0 w 5665510"/>
              <a:gd name="connsiteY5" fmla="*/ 5568345 h 5568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65510" h="5568345">
                <a:moveTo>
                  <a:pt x="0" y="0"/>
                </a:moveTo>
                <a:lnTo>
                  <a:pt x="4756075" y="0"/>
                </a:lnTo>
                <a:lnTo>
                  <a:pt x="4756075" y="1079326"/>
                </a:lnTo>
                <a:lnTo>
                  <a:pt x="5665510" y="1079326"/>
                </a:lnTo>
                <a:lnTo>
                  <a:pt x="5665510" y="5568345"/>
                </a:lnTo>
                <a:lnTo>
                  <a:pt x="0" y="5568345"/>
                </a:lnTo>
                <a:close/>
              </a:path>
            </a:pathLst>
          </a:cu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4D40C4EF-F4F5-B515-5F9E-69F252914F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9008" r="10542"/>
          <a:stretch/>
        </p:blipFill>
        <p:spPr>
          <a:xfrm>
            <a:off x="7224630" y="52809"/>
            <a:ext cx="5171617" cy="5260157"/>
          </a:xfrm>
          <a:custGeom>
            <a:avLst/>
            <a:gdLst>
              <a:gd name="connsiteX0" fmla="*/ 0 w 5171617"/>
              <a:gd name="connsiteY0" fmla="*/ 0 h 5260157"/>
              <a:gd name="connsiteX1" fmla="*/ 1262067 w 5171617"/>
              <a:gd name="connsiteY1" fmla="*/ 0 h 5260157"/>
              <a:gd name="connsiteX2" fmla="*/ 1262067 w 5171617"/>
              <a:gd name="connsiteY2" fmla="*/ 133737 h 5260157"/>
              <a:gd name="connsiteX3" fmla="*/ 1500212 w 5171617"/>
              <a:gd name="connsiteY3" fmla="*/ 133737 h 5260157"/>
              <a:gd name="connsiteX4" fmla="*/ 1500212 w 5171617"/>
              <a:gd name="connsiteY4" fmla="*/ 99443 h 5260157"/>
              <a:gd name="connsiteX5" fmla="*/ 1543832 w 5171617"/>
              <a:gd name="connsiteY5" fmla="*/ 99443 h 5260157"/>
              <a:gd name="connsiteX6" fmla="*/ 1543832 w 5171617"/>
              <a:gd name="connsiteY6" fmla="*/ 0 h 5260157"/>
              <a:gd name="connsiteX7" fmla="*/ 3766310 w 5171617"/>
              <a:gd name="connsiteY7" fmla="*/ 0 h 5260157"/>
              <a:gd name="connsiteX8" fmla="*/ 3766310 w 5171617"/>
              <a:gd name="connsiteY8" fmla="*/ 1110461 h 5260157"/>
              <a:gd name="connsiteX9" fmla="*/ 5171617 w 5171617"/>
              <a:gd name="connsiteY9" fmla="*/ 1110461 h 5260157"/>
              <a:gd name="connsiteX10" fmla="*/ 5171617 w 5171617"/>
              <a:gd name="connsiteY10" fmla="*/ 3255999 h 5260157"/>
              <a:gd name="connsiteX11" fmla="*/ 4549448 w 5171617"/>
              <a:gd name="connsiteY11" fmla="*/ 3255999 h 5260157"/>
              <a:gd name="connsiteX12" fmla="*/ 4549448 w 5171617"/>
              <a:gd name="connsiteY12" fmla="*/ 4867983 h 5260157"/>
              <a:gd name="connsiteX13" fmla="*/ 5171617 w 5171617"/>
              <a:gd name="connsiteY13" fmla="*/ 4867983 h 5260157"/>
              <a:gd name="connsiteX14" fmla="*/ 5171617 w 5171617"/>
              <a:gd name="connsiteY14" fmla="*/ 5260157 h 5260157"/>
              <a:gd name="connsiteX15" fmla="*/ 0 w 5171617"/>
              <a:gd name="connsiteY15" fmla="*/ 5260157 h 5260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171617" h="5260157">
                <a:moveTo>
                  <a:pt x="0" y="0"/>
                </a:moveTo>
                <a:lnTo>
                  <a:pt x="1262067" y="0"/>
                </a:lnTo>
                <a:lnTo>
                  <a:pt x="1262067" y="133737"/>
                </a:lnTo>
                <a:lnTo>
                  <a:pt x="1500212" y="133737"/>
                </a:lnTo>
                <a:lnTo>
                  <a:pt x="1500212" y="99443"/>
                </a:lnTo>
                <a:lnTo>
                  <a:pt x="1543832" y="99443"/>
                </a:lnTo>
                <a:lnTo>
                  <a:pt x="1543832" y="0"/>
                </a:lnTo>
                <a:lnTo>
                  <a:pt x="3766310" y="0"/>
                </a:lnTo>
                <a:lnTo>
                  <a:pt x="3766310" y="1110461"/>
                </a:lnTo>
                <a:lnTo>
                  <a:pt x="5171617" y="1110461"/>
                </a:lnTo>
                <a:lnTo>
                  <a:pt x="5171617" y="3255999"/>
                </a:lnTo>
                <a:lnTo>
                  <a:pt x="4549448" y="3255999"/>
                </a:lnTo>
                <a:lnTo>
                  <a:pt x="4549448" y="4867983"/>
                </a:lnTo>
                <a:lnTo>
                  <a:pt x="5171617" y="4867983"/>
                </a:lnTo>
                <a:lnTo>
                  <a:pt x="5171617" y="5260157"/>
                </a:lnTo>
                <a:lnTo>
                  <a:pt x="0" y="5260157"/>
                </a:lnTo>
                <a:close/>
              </a:path>
            </a:pathLst>
          </a:custGeom>
        </p:spPr>
      </p:pic>
      <p:sp>
        <p:nvSpPr>
          <p:cNvPr id="58" name="Rectangle 21">
            <a:extLst>
              <a:ext uri="{FF2B5EF4-FFF2-40B4-BE49-F238E27FC236}">
                <a16:creationId xmlns:a16="http://schemas.microsoft.com/office/drawing/2014/main" id="{EB71A604-53DC-936C-AD4C-47E351B16DBC}"/>
              </a:ext>
            </a:extLst>
          </p:cNvPr>
          <p:cNvSpPr/>
          <p:nvPr userDrawn="1"/>
        </p:nvSpPr>
        <p:spPr>
          <a:xfrm flipH="1">
            <a:off x="0" y="4247692"/>
            <a:ext cx="12192000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57150"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79" name="Title 78">
            <a:extLst>
              <a:ext uri="{FF2B5EF4-FFF2-40B4-BE49-F238E27FC236}">
                <a16:creationId xmlns:a16="http://schemas.microsoft.com/office/drawing/2014/main" id="{69E6A6FA-D9AE-436A-AF0A-FF5A25C08A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485" y="5166580"/>
            <a:ext cx="4476847" cy="93961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Annex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6467686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setting" title="Sky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"/>
          <a:stretch/>
        </p:blipFill>
        <p:spPr>
          <a:xfrm>
            <a:off x="0" y="0"/>
            <a:ext cx="12188857" cy="6664961"/>
          </a:xfrm>
          <a:prstGeom prst="rect">
            <a:avLst/>
          </a:pr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EEA1F064-E6C6-02BF-518D-92B7F053F7C0}"/>
              </a:ext>
            </a:extLst>
          </p:cNvPr>
          <p:cNvSpPr>
            <a:spLocks/>
          </p:cNvSpPr>
          <p:nvPr userDrawn="1"/>
        </p:nvSpPr>
        <p:spPr>
          <a:xfrm rot="16200000">
            <a:off x="626205" y="288290"/>
            <a:ext cx="1724660" cy="1148080"/>
          </a:xfrm>
          <a:custGeom>
            <a:avLst/>
            <a:gdLst>
              <a:gd name="connsiteX0" fmla="*/ 1724660 w 1724660"/>
              <a:gd name="connsiteY0" fmla="*/ 0 h 1148080"/>
              <a:gd name="connsiteX1" fmla="*/ 1724660 w 1724660"/>
              <a:gd name="connsiteY1" fmla="*/ 1148080 h 1148080"/>
              <a:gd name="connsiteX2" fmla="*/ 0 w 1724660"/>
              <a:gd name="connsiteY2" fmla="*/ 1148080 h 1148080"/>
              <a:gd name="connsiteX3" fmla="*/ 574040 w 1724660"/>
              <a:gd name="connsiteY3" fmla="*/ 574040 h 1148080"/>
              <a:gd name="connsiteX4" fmla="*/ 0 w 1724660"/>
              <a:gd name="connsiteY4" fmla="*/ 0 h 114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24660" h="1148080">
                <a:moveTo>
                  <a:pt x="1724660" y="0"/>
                </a:moveTo>
                <a:lnTo>
                  <a:pt x="1724660" y="1148080"/>
                </a:lnTo>
                <a:lnTo>
                  <a:pt x="0" y="1148080"/>
                </a:lnTo>
                <a:lnTo>
                  <a:pt x="574040" y="574040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1DBA6A0-88E3-121B-14E1-C39B892F7E91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rgbClr val="175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26" name="Title 78">
            <a:extLst>
              <a:ext uri="{FF2B5EF4-FFF2-40B4-BE49-F238E27FC236}">
                <a16:creationId xmlns:a16="http://schemas.microsoft.com/office/drawing/2014/main" id="{FF3FF283-9ABE-56B9-D593-83B29DA109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6637" y="5157968"/>
            <a:ext cx="4476847" cy="93961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Annex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3488885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e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setting" title="Sky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"/>
          <a:stretch/>
        </p:blipFill>
        <p:spPr>
          <a:xfrm>
            <a:off x="0" y="0"/>
            <a:ext cx="12188857" cy="6664961"/>
          </a:xfrm>
          <a:prstGeom prst="rect">
            <a:avLst/>
          </a:pr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EEA1F064-E6C6-02BF-518D-92B7F053F7C0}"/>
              </a:ext>
            </a:extLst>
          </p:cNvPr>
          <p:cNvSpPr>
            <a:spLocks/>
          </p:cNvSpPr>
          <p:nvPr userDrawn="1"/>
        </p:nvSpPr>
        <p:spPr>
          <a:xfrm rot="16200000">
            <a:off x="626205" y="288290"/>
            <a:ext cx="1724660" cy="1148080"/>
          </a:xfrm>
          <a:custGeom>
            <a:avLst/>
            <a:gdLst>
              <a:gd name="connsiteX0" fmla="*/ 1724660 w 1724660"/>
              <a:gd name="connsiteY0" fmla="*/ 0 h 1148080"/>
              <a:gd name="connsiteX1" fmla="*/ 1724660 w 1724660"/>
              <a:gd name="connsiteY1" fmla="*/ 1148080 h 1148080"/>
              <a:gd name="connsiteX2" fmla="*/ 0 w 1724660"/>
              <a:gd name="connsiteY2" fmla="*/ 1148080 h 1148080"/>
              <a:gd name="connsiteX3" fmla="*/ 574040 w 1724660"/>
              <a:gd name="connsiteY3" fmla="*/ 574040 h 1148080"/>
              <a:gd name="connsiteX4" fmla="*/ 0 w 1724660"/>
              <a:gd name="connsiteY4" fmla="*/ 0 h 114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24660" h="1148080">
                <a:moveTo>
                  <a:pt x="1724660" y="0"/>
                </a:moveTo>
                <a:lnTo>
                  <a:pt x="1724660" y="1148080"/>
                </a:lnTo>
                <a:lnTo>
                  <a:pt x="0" y="1148080"/>
                </a:lnTo>
                <a:lnTo>
                  <a:pt x="574040" y="574040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1DBA6A0-88E3-121B-14E1-C39B892F7E91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rgbClr val="175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D00A84ED-F5B0-2642-9CFF-CDD4C149C36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9" name="Title 78">
            <a:extLst>
              <a:ext uri="{FF2B5EF4-FFF2-40B4-BE49-F238E27FC236}">
                <a16:creationId xmlns:a16="http://schemas.microsoft.com/office/drawing/2014/main" id="{21E6B7F5-F06C-AEBE-FFB7-9BE1595220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4434" y="2959190"/>
            <a:ext cx="4476847" cy="939617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Annex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7122897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C9E8B204-4560-4601-AED0-F679268E30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51941" y="398105"/>
            <a:ext cx="3169539" cy="19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" descr="Government of Canada Logo and symbol, meaning, history, PNG">
            <a:extLst>
              <a:ext uri="{FF2B5EF4-FFF2-40B4-BE49-F238E27FC236}">
                <a16:creationId xmlns:a16="http://schemas.microsoft.com/office/drawing/2014/main" id="{8568E5B9-28E7-4351-920F-4FD9BC7B3E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0845155" y="218289"/>
            <a:ext cx="792110" cy="53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E97CE8A-2868-4740-ACA3-ED5570B2E44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914900" y="2246521"/>
            <a:ext cx="2365453" cy="2359356"/>
          </a:xfrm>
          <a:prstGeom prst="rect">
            <a:avLst/>
          </a:prstGeom>
        </p:spPr>
      </p:pic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BC3D5E1B-CAFA-318C-5CDF-C13D66C66BF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2745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464573"/>
            <a:ext cx="849680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209399"/>
            <a:ext cx="849680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411245"/>
            <a:ext cx="8496809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5" name="Picture 9">
            <a:extLst>
              <a:ext uri="{FF2B5EF4-FFF2-40B4-BE49-F238E27FC236}">
                <a16:creationId xmlns:a16="http://schemas.microsoft.com/office/drawing/2014/main" id="{5D97C524-2B47-47D0-B7CE-B0920B78EFB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551941" y="398105"/>
            <a:ext cx="3169539" cy="19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1" descr="Government of Canada Logo and symbol, meaning, history, PNG">
            <a:extLst>
              <a:ext uri="{FF2B5EF4-FFF2-40B4-BE49-F238E27FC236}">
                <a16:creationId xmlns:a16="http://schemas.microsoft.com/office/drawing/2014/main" id="{7E132EA8-0EE6-4E78-9DF5-8CB9D0625EE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0845155" y="218289"/>
            <a:ext cx="792110" cy="53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B0CCFFD-47A2-4EC7-AE02-8F838C2E0798}"/>
              </a:ext>
            </a:extLst>
          </p:cNvPr>
          <p:cNvSpPr/>
          <p:nvPr userDrawn="1"/>
        </p:nvSpPr>
        <p:spPr>
          <a:xfrm>
            <a:off x="0" y="6449557"/>
            <a:ext cx="12192000" cy="40844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62586C-D31F-4DA6-91C2-1E725E0D76B4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905383" y="1256943"/>
            <a:ext cx="1731414" cy="173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1034727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36457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– TMB, Title and Content Title Slide – TMB, Title and 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3" y="0"/>
            <a:ext cx="12210313" cy="6873254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F59A4433-4947-6849-8FD5-7584C55B8E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49016" y="5439928"/>
            <a:ext cx="9439304" cy="741680"/>
          </a:xfrm>
        </p:spPr>
        <p:txBody>
          <a:bodyPr anchor="t">
            <a:normAutofit/>
          </a:bodyPr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350" b="0" i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A1BDBC9-D9D8-1043-BF6E-63CF4A28E188}"/>
              </a:ext>
            </a:extLst>
          </p:cNvPr>
          <p:cNvSpPr/>
          <p:nvPr userDrawn="1"/>
        </p:nvSpPr>
        <p:spPr>
          <a:xfrm>
            <a:off x="0" y="6664960"/>
            <a:ext cx="12192000" cy="193040"/>
          </a:xfrm>
          <a:prstGeom prst="rect">
            <a:avLst/>
          </a:prstGeom>
          <a:solidFill>
            <a:srgbClr val="97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6FEA755-4627-2047-A375-39FB78EBE2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29693" y="4192533"/>
            <a:ext cx="6228413" cy="1240442"/>
          </a:xfrm>
        </p:spPr>
        <p:txBody>
          <a:bodyPr anchor="b">
            <a:normAutofit/>
          </a:bodyPr>
          <a:lstStyle>
            <a:lvl1pPr algn="l">
              <a:defRPr sz="4000" b="1" i="0" baseline="0">
                <a:solidFill>
                  <a:schemeClr val="tx1"/>
                </a:solidFill>
                <a:latin typeface="Segoe UI Semibold" panose="020B0702040204020203" pitchFamily="34" charset="0"/>
                <a:ea typeface="Segoe UI Historic" panose="020B05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PAGE TITLE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04512A79-E892-D14E-8B47-9E7C10B895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44933" y="37987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1319349" y="620486"/>
            <a:ext cx="2815045" cy="5682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4318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6E6F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D1E8CEA-59CA-420E-955C-4C9FBA24773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cxnSp>
        <p:nvCxnSpPr>
          <p:cNvPr id="12" name="TopLine">
            <a:extLst>
              <a:ext uri="{FF2B5EF4-FFF2-40B4-BE49-F238E27FC236}">
                <a16:creationId xmlns:a16="http://schemas.microsoft.com/office/drawing/2014/main" id="{635549FC-38C3-4CC5-B96D-AA6DDD6A45A9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331238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6E6F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064DA18-FA54-43C0-B981-F306F40179F4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3465574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cxnSp>
        <p:nvCxnSpPr>
          <p:cNvPr id="12" name="TopLine">
            <a:extLst>
              <a:ext uri="{FF2B5EF4-FFF2-40B4-BE49-F238E27FC236}">
                <a16:creationId xmlns:a16="http://schemas.microsoft.com/office/drawing/2014/main" id="{11C8D080-FA63-4642-99E7-83D19FE61D09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331238"/>
            <a:ext cx="346557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6E6F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64572"/>
            <a:ext cx="5065776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1035238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2" name="TopLine">
            <a:extLst>
              <a:ext uri="{FF2B5EF4-FFF2-40B4-BE49-F238E27FC236}">
                <a16:creationId xmlns:a16="http://schemas.microsoft.com/office/drawing/2014/main" id="{5BDFCD25-4F9C-49AC-94B2-2A09967303AD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331238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64572"/>
            <a:ext cx="69677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6E6F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1035238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2" name="TopLine">
            <a:extLst>
              <a:ext uri="{FF2B5EF4-FFF2-40B4-BE49-F238E27FC236}">
                <a16:creationId xmlns:a16="http://schemas.microsoft.com/office/drawing/2014/main" id="{1E7AC4F5-2DE5-418F-B19F-90E92252D579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331238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6E6F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364572"/>
            <a:ext cx="7918704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1035238"/>
            <a:ext cx="7918704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16FDC22B-DD79-4621-B28E-707817CF4EC5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331238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56932"/>
            <a:ext cx="11082528" cy="384721"/>
          </a:xfrm>
        </p:spPr>
        <p:txBody>
          <a:bodyPr vert="horz" anchor="ctr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ticker" hidden="1">
            <a:extLst>
              <a:ext uri="{FF2B5EF4-FFF2-40B4-BE49-F238E27FC236}">
                <a16:creationId xmlns:a16="http://schemas.microsoft.com/office/drawing/2014/main" id="{2B5F1846-DB86-4338-8AFA-F2C1B534B900}"/>
              </a:ext>
            </a:extLst>
          </p:cNvPr>
          <p:cNvSpPr txBox="1"/>
          <p:nvPr userDrawn="1"/>
        </p:nvSpPr>
        <p:spPr>
          <a:xfrm>
            <a:off x="558489" y="140180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2521EA0-89AA-4FDB-BBF2-CEA3F68B9423}"/>
              </a:ext>
            </a:extLst>
          </p:cNvPr>
          <p:cNvSpPr/>
          <p:nvPr userDrawn="1"/>
        </p:nvSpPr>
        <p:spPr>
          <a:xfrm>
            <a:off x="11941982" y="-1"/>
            <a:ext cx="250018" cy="685800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cxnSp>
        <p:nvCxnSpPr>
          <p:cNvPr id="22" name="TopLine">
            <a:extLst>
              <a:ext uri="{FF2B5EF4-FFF2-40B4-BE49-F238E27FC236}">
                <a16:creationId xmlns:a16="http://schemas.microsoft.com/office/drawing/2014/main" id="{7138275D-D15F-4B96-9BD3-DB308499700E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1331238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tags" Target="../tags/tag2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3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44.xml"/><Relationship Id="rId40" Type="http://schemas.openxmlformats.org/officeDocument/2006/relationships/slideLayout" Target="../slideLayouts/slideLayout47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slideLayout" Target="../slideLayouts/slideLayout4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9.xml"/><Relationship Id="rId18" Type="http://schemas.openxmlformats.org/officeDocument/2006/relationships/tags" Target="../tags/tag103.xml"/><Relationship Id="rId26" Type="http://schemas.openxmlformats.org/officeDocument/2006/relationships/tags" Target="../tags/tag111.xml"/><Relationship Id="rId39" Type="http://schemas.openxmlformats.org/officeDocument/2006/relationships/oleObject" Target="../embeddings/oleObject17.bin"/><Relationship Id="rId21" Type="http://schemas.openxmlformats.org/officeDocument/2006/relationships/tags" Target="../tags/tag106.xml"/><Relationship Id="rId34" Type="http://schemas.openxmlformats.org/officeDocument/2006/relationships/tags" Target="../tags/tag11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theme" Target="../theme/theme4.xml"/><Relationship Id="rId25" Type="http://schemas.openxmlformats.org/officeDocument/2006/relationships/tags" Target="../tags/tag110.xml"/><Relationship Id="rId33" Type="http://schemas.openxmlformats.org/officeDocument/2006/relationships/tags" Target="../tags/tag118.xml"/><Relationship Id="rId38" Type="http://schemas.openxmlformats.org/officeDocument/2006/relationships/tags" Target="../tags/tag123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tags" Target="../tags/tag105.xml"/><Relationship Id="rId29" Type="http://schemas.openxmlformats.org/officeDocument/2006/relationships/tags" Target="../tags/tag114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tags" Target="../tags/tag109.xml"/><Relationship Id="rId32" Type="http://schemas.openxmlformats.org/officeDocument/2006/relationships/tags" Target="../tags/tag117.xml"/><Relationship Id="rId37" Type="http://schemas.openxmlformats.org/officeDocument/2006/relationships/tags" Target="../tags/tag122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tags" Target="../tags/tag108.xml"/><Relationship Id="rId28" Type="http://schemas.openxmlformats.org/officeDocument/2006/relationships/tags" Target="../tags/tag113.xml"/><Relationship Id="rId36" Type="http://schemas.openxmlformats.org/officeDocument/2006/relationships/tags" Target="../tags/tag121.xml"/><Relationship Id="rId10" Type="http://schemas.openxmlformats.org/officeDocument/2006/relationships/slideLayout" Target="../slideLayouts/slideLayout96.xml"/><Relationship Id="rId19" Type="http://schemas.openxmlformats.org/officeDocument/2006/relationships/tags" Target="../tags/tag104.xml"/><Relationship Id="rId31" Type="http://schemas.openxmlformats.org/officeDocument/2006/relationships/tags" Target="../tags/tag11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tags" Target="../tags/tag107.xml"/><Relationship Id="rId27" Type="http://schemas.openxmlformats.org/officeDocument/2006/relationships/tags" Target="../tags/tag112.xml"/><Relationship Id="rId30" Type="http://schemas.openxmlformats.org/officeDocument/2006/relationships/tags" Target="../tags/tag115.xml"/><Relationship Id="rId35" Type="http://schemas.openxmlformats.org/officeDocument/2006/relationships/tags" Target="../tags/tag120.xml"/><Relationship Id="rId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3" imgH="416" progId="TCLayout.ActiveDocument.1">
                  <p:embed/>
                </p:oleObj>
              </mc:Choice>
              <mc:Fallback>
                <p:oleObj name="think-cell Slide" r:id="rId3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70" name="Grid" hidden="1">
            <a:extLst>
              <a:ext uri="{FF2B5EF4-FFF2-40B4-BE49-F238E27FC236}">
                <a16:creationId xmlns:a16="http://schemas.microsoft.com/office/drawing/2014/main" id="{3BBFEB30-B5C9-4D5C-9A82-066C6BF363E3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50B3518-D8B6-4062-A4CE-0C1A1A286FE1}"/>
                </a:ext>
              </a:extLst>
            </p:cNvPr>
            <p:cNvSpPr/>
            <p:nvPr userDrawn="1"/>
          </p:nvSpPr>
          <p:spPr bwMode="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C45F528-EF91-4619-AF16-5D11F63D2FFC}"/>
                </a:ext>
              </a:extLst>
            </p:cNvPr>
            <p:cNvSpPr/>
            <p:nvPr/>
          </p:nvSpPr>
          <p:spPr bwMode="gray">
            <a:xfrm>
              <a:off x="1524" y="0"/>
              <a:ext cx="12188952" cy="6858000"/>
            </a:xfrm>
            <a:custGeom>
              <a:avLst/>
              <a:gdLst>
                <a:gd name="connsiteX0" fmla="*/ 553212 w 12188952"/>
                <a:gd name="connsiteY0" fmla="*/ 1405610 h 6858000"/>
                <a:gd name="connsiteX1" fmla="*/ 553212 w 12188952"/>
                <a:gd name="connsiteY1" fmla="*/ 1709928 h 6858000"/>
                <a:gd name="connsiteX2" fmla="*/ 551868 w 12188952"/>
                <a:gd name="connsiteY2" fmla="*/ 1709928 h 6858000"/>
                <a:gd name="connsiteX3" fmla="*/ 551868 w 12188952"/>
                <a:gd name="connsiteY3" fmla="*/ 6217920 h 6858000"/>
                <a:gd name="connsiteX4" fmla="*/ 553212 w 12188952"/>
                <a:gd name="connsiteY4" fmla="*/ 6217920 h 6858000"/>
                <a:gd name="connsiteX5" fmla="*/ 11635740 w 12188952"/>
                <a:gd name="connsiteY5" fmla="*/ 6217920 h 6858000"/>
                <a:gd name="connsiteX6" fmla="*/ 11636196 w 12188952"/>
                <a:gd name="connsiteY6" fmla="*/ 6217920 h 6858000"/>
                <a:gd name="connsiteX7" fmla="*/ 11636196 w 12188952"/>
                <a:gd name="connsiteY7" fmla="*/ 1709928 h 6858000"/>
                <a:gd name="connsiteX8" fmla="*/ 11635740 w 12188952"/>
                <a:gd name="connsiteY8" fmla="*/ 1709928 h 6858000"/>
                <a:gd name="connsiteX9" fmla="*/ 11635740 w 12188952"/>
                <a:gd name="connsiteY9" fmla="*/ 1405610 h 6858000"/>
                <a:gd name="connsiteX10" fmla="*/ 0 w 12188952"/>
                <a:gd name="connsiteY10" fmla="*/ 0 h 6858000"/>
                <a:gd name="connsiteX11" fmla="*/ 12188952 w 12188952"/>
                <a:gd name="connsiteY11" fmla="*/ 0 h 6858000"/>
                <a:gd name="connsiteX12" fmla="*/ 12188952 w 12188952"/>
                <a:gd name="connsiteY12" fmla="*/ 6858000 h 6858000"/>
                <a:gd name="connsiteX13" fmla="*/ 0 w 12188952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88952" h="6858000">
                  <a:moveTo>
                    <a:pt x="553212" y="1405610"/>
                  </a:moveTo>
                  <a:lnTo>
                    <a:pt x="553212" y="1709928"/>
                  </a:lnTo>
                  <a:lnTo>
                    <a:pt x="551868" y="1709928"/>
                  </a:lnTo>
                  <a:lnTo>
                    <a:pt x="551868" y="6217920"/>
                  </a:lnTo>
                  <a:lnTo>
                    <a:pt x="553212" y="6217920"/>
                  </a:lnTo>
                  <a:lnTo>
                    <a:pt x="11635740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lnTo>
                    <a:pt x="11635740" y="1709928"/>
                  </a:lnTo>
                  <a:lnTo>
                    <a:pt x="11635740" y="1405610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77ABF7BA-0428-4141-8351-03A2727DECBD}"/>
                </a:ext>
              </a:extLst>
            </p:cNvPr>
            <p:cNvCxnSpPr/>
            <p:nvPr/>
          </p:nvCxnSpPr>
          <p:spPr bwMode="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94EB93D9-2FE5-4212-8DB4-7A0327E33766}"/>
                </a:ext>
              </a:extLst>
            </p:cNvPr>
            <p:cNvCxnSpPr/>
            <p:nvPr/>
          </p:nvCxnSpPr>
          <p:spPr bwMode="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C2F34081-E688-4287-A553-264328F1E1E1}"/>
                </a:ext>
              </a:extLst>
            </p:cNvPr>
            <p:cNvCxnSpPr/>
            <p:nvPr/>
          </p:nvCxnSpPr>
          <p:spPr bwMode="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6868CDEE-044B-4D04-A5D3-6A526BE51179}"/>
                </a:ext>
              </a:extLst>
            </p:cNvPr>
            <p:cNvCxnSpPr/>
            <p:nvPr/>
          </p:nvCxnSpPr>
          <p:spPr bwMode="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0100C653-5CFA-4B3C-BD97-47499B419B53}"/>
                </a:ext>
              </a:extLst>
            </p:cNvPr>
            <p:cNvCxnSpPr/>
            <p:nvPr/>
          </p:nvCxnSpPr>
          <p:spPr bwMode="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F21F5AB2-1154-4ACD-832F-CB2539EE783F}"/>
                </a:ext>
              </a:extLst>
            </p:cNvPr>
            <p:cNvCxnSpPr/>
            <p:nvPr/>
          </p:nvCxnSpPr>
          <p:spPr bwMode="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466910D2-AFA9-4FD1-8D04-D99BB3645452}"/>
                </a:ext>
              </a:extLst>
            </p:cNvPr>
            <p:cNvCxnSpPr/>
            <p:nvPr/>
          </p:nvCxnSpPr>
          <p:spPr bwMode="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1769A11B-0399-4716-A212-6F179313A427}"/>
                </a:ext>
              </a:extLst>
            </p:cNvPr>
            <p:cNvCxnSpPr/>
            <p:nvPr/>
          </p:nvCxnSpPr>
          <p:spPr bwMode="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2CB3272D-021B-49B8-92A5-D1DEB3202AE0}"/>
                </a:ext>
              </a:extLst>
            </p:cNvPr>
            <p:cNvCxnSpPr/>
            <p:nvPr/>
          </p:nvCxnSpPr>
          <p:spPr bwMode="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61701AE9-04C5-4AD4-8DEE-873680FD231F}"/>
                </a:ext>
              </a:extLst>
            </p:cNvPr>
            <p:cNvCxnSpPr/>
            <p:nvPr/>
          </p:nvCxnSpPr>
          <p:spPr bwMode="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4050D91B-89C3-45DE-BE0C-1430E2BE6F4B}"/>
                </a:ext>
              </a:extLst>
            </p:cNvPr>
            <p:cNvCxnSpPr/>
            <p:nvPr/>
          </p:nvCxnSpPr>
          <p:spPr bwMode="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68E5EF5D-0D94-4FCE-8BE2-F0790F7B1879}"/>
                </a:ext>
              </a:extLst>
            </p:cNvPr>
            <p:cNvCxnSpPr/>
            <p:nvPr/>
          </p:nvCxnSpPr>
          <p:spPr bwMode="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205F8351-710E-49E9-A523-EA0755B417C5}"/>
                </a:ext>
              </a:extLst>
            </p:cNvPr>
            <p:cNvSpPr/>
            <p:nvPr/>
          </p:nvSpPr>
          <p:spPr bwMode="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7C1C31B-A122-4A09-9500-27B0684B272F}"/>
                </a:ext>
              </a:extLst>
            </p:cNvPr>
            <p:cNvSpPr/>
            <p:nvPr/>
          </p:nvSpPr>
          <p:spPr bwMode="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7DF86859-7D4B-4DA1-91AA-0992644F5903}"/>
                </a:ext>
              </a:extLst>
            </p:cNvPr>
            <p:cNvSpPr/>
            <p:nvPr/>
          </p:nvSpPr>
          <p:spPr bwMode="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3DC3E9CA-569C-4414-A75A-C805A4A40B64}"/>
                </a:ext>
              </a:extLst>
            </p:cNvPr>
            <p:cNvSpPr/>
            <p:nvPr/>
          </p:nvSpPr>
          <p:spPr bwMode="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B532C466-D8D3-43AC-995C-2B54885AC096}"/>
                </a:ext>
              </a:extLst>
            </p:cNvPr>
            <p:cNvSpPr/>
            <p:nvPr/>
          </p:nvSpPr>
          <p:spPr bwMode="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0920AE1-B909-471F-9E77-7C3A31509F84}"/>
                </a:ext>
              </a:extLst>
            </p:cNvPr>
            <p:cNvSpPr/>
            <p:nvPr/>
          </p:nvSpPr>
          <p:spPr bwMode="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A1E8190-F3C6-4BF7-97E3-90F3FC84746E}"/>
                </a:ext>
              </a:extLst>
            </p:cNvPr>
            <p:cNvSpPr/>
            <p:nvPr/>
          </p:nvSpPr>
          <p:spPr bwMode="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3B1FC28-C9D6-4928-BCCE-9873C7DEEFDE}"/>
                </a:ext>
              </a:extLst>
            </p:cNvPr>
            <p:cNvSpPr/>
            <p:nvPr/>
          </p:nvSpPr>
          <p:spPr bwMode="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3C9C1F2-E745-44A5-AEA3-9DE0D69F2B15}"/>
                </a:ext>
              </a:extLst>
            </p:cNvPr>
            <p:cNvSpPr/>
            <p:nvPr/>
          </p:nvSpPr>
          <p:spPr bwMode="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3F7DB9B8-09EF-46A7-9839-EE0FA8E11651}"/>
                </a:ext>
              </a:extLst>
            </p:cNvPr>
            <p:cNvSpPr/>
            <p:nvPr/>
          </p:nvSpPr>
          <p:spPr bwMode="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59DC929-939A-40DF-96D2-82427AD8E191}"/>
                </a:ext>
              </a:extLst>
            </p:cNvPr>
            <p:cNvSpPr/>
            <p:nvPr/>
          </p:nvSpPr>
          <p:spPr bwMode="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71E475EA-3BCA-4BD2-9129-0A15F92784B0}"/>
                </a:ext>
              </a:extLst>
            </p:cNvPr>
            <p:cNvSpPr/>
            <p:nvPr/>
          </p:nvSpPr>
          <p:spPr bwMode="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B58358D8-4286-4ED9-A0FF-82879D8C9183}"/>
                </a:ext>
              </a:extLst>
            </p:cNvPr>
            <p:cNvSpPr/>
            <p:nvPr/>
          </p:nvSpPr>
          <p:spPr bwMode="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07E8672D-5A21-4EE8-8FA5-FBB35E3AF6F8}"/>
                </a:ext>
              </a:extLst>
            </p:cNvPr>
            <p:cNvSpPr/>
            <p:nvPr/>
          </p:nvSpPr>
          <p:spPr bwMode="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FA059A59-9BBE-4F86-862A-48E139D1EE64}"/>
                </a:ext>
              </a:extLst>
            </p:cNvPr>
            <p:cNvSpPr/>
            <p:nvPr userDrawn="1"/>
          </p:nvSpPr>
          <p:spPr bwMode="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5CF5402-4FC2-4420-ABC5-BBFA3EA9D203}"/>
                </a:ext>
              </a:extLst>
            </p:cNvPr>
            <p:cNvSpPr/>
            <p:nvPr userDrawn="1"/>
          </p:nvSpPr>
          <p:spPr bwMode="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0BB1258-8102-4E47-BE2F-816FBB6BA408}"/>
                </a:ext>
              </a:extLst>
            </p:cNvPr>
            <p:cNvSpPr/>
            <p:nvPr userDrawn="1"/>
          </p:nvSpPr>
          <p:spPr bwMode="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B270BD53-6742-47F1-853C-FA770237F3FD}"/>
                </a:ext>
              </a:extLst>
            </p:cNvPr>
            <p:cNvSpPr/>
            <p:nvPr userDrawn="1"/>
          </p:nvSpPr>
          <p:spPr bwMode="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395B319-4702-4CD9-838C-C0612B6879BC}"/>
                </a:ext>
              </a:extLst>
            </p:cNvPr>
            <p:cNvSpPr/>
            <p:nvPr userDrawn="1"/>
          </p:nvSpPr>
          <p:spPr bwMode="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AE5E70F1-247D-4F01-A473-C5A9226BCADC}"/>
                </a:ext>
              </a:extLst>
            </p:cNvPr>
            <p:cNvSpPr/>
            <p:nvPr userDrawn="1"/>
          </p:nvSpPr>
          <p:spPr bwMode="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732858E4-B133-4A91-9BCA-BF80F093194A}"/>
                </a:ext>
              </a:extLst>
            </p:cNvPr>
            <p:cNvSpPr/>
            <p:nvPr userDrawn="1"/>
          </p:nvSpPr>
          <p:spPr bwMode="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27DED92-EF7A-4687-A1A4-BDAA2F1EAF12}"/>
                </a:ext>
              </a:extLst>
            </p:cNvPr>
            <p:cNvSpPr/>
            <p:nvPr userDrawn="1"/>
          </p:nvSpPr>
          <p:spPr bwMode="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53D72483-35F2-49AC-989D-0E1BC8456803}"/>
                </a:ext>
              </a:extLst>
            </p:cNvPr>
            <p:cNvSpPr/>
            <p:nvPr userDrawn="1"/>
          </p:nvSpPr>
          <p:spPr bwMode="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2DD2F54E-53A3-49F6-905E-B0F8E1348C8E}"/>
                </a:ext>
              </a:extLst>
            </p:cNvPr>
            <p:cNvSpPr/>
            <p:nvPr userDrawn="1"/>
          </p:nvSpPr>
          <p:spPr bwMode="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557A01EE-7FB2-4BA0-B35A-2F95546E4624}"/>
                </a:ext>
              </a:extLst>
            </p:cNvPr>
            <p:cNvCxnSpPr/>
            <p:nvPr userDrawn="1"/>
          </p:nvCxnSpPr>
          <p:spPr bwMode="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7FC1C45B-2B29-4A42-8D4B-721F68CA1348}"/>
                </a:ext>
              </a:extLst>
            </p:cNvPr>
            <p:cNvCxnSpPr/>
            <p:nvPr userDrawn="1"/>
          </p:nvCxnSpPr>
          <p:spPr bwMode="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B1A27E92-9270-4990-A7E0-13762B5DCF31}"/>
                </a:ext>
              </a:extLst>
            </p:cNvPr>
            <p:cNvCxnSpPr/>
            <p:nvPr userDrawn="1"/>
          </p:nvCxnSpPr>
          <p:spPr bwMode="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9F46154D-791B-4F7D-8E1C-E15CD03A29AA}"/>
                </a:ext>
              </a:extLst>
            </p:cNvPr>
            <p:cNvCxnSpPr/>
            <p:nvPr userDrawn="1"/>
          </p:nvCxnSpPr>
          <p:spPr bwMode="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9B4B757-25C9-484E-A4FE-A49FBA3319A4}"/>
                </a:ext>
              </a:extLst>
            </p:cNvPr>
            <p:cNvCxnSpPr/>
            <p:nvPr userDrawn="1"/>
          </p:nvCxnSpPr>
          <p:spPr bwMode="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75535B4E-91AD-45A5-B3C9-3699892DFD15}"/>
                </a:ext>
              </a:extLst>
            </p:cNvPr>
            <p:cNvCxnSpPr/>
            <p:nvPr userDrawn="1"/>
          </p:nvCxnSpPr>
          <p:spPr bwMode="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BB8DA04A-5D80-45BB-8266-4A4ECB242742}"/>
                </a:ext>
              </a:extLst>
            </p:cNvPr>
            <p:cNvCxnSpPr/>
            <p:nvPr userDrawn="1"/>
          </p:nvCxnSpPr>
          <p:spPr bwMode="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E5E52966-F7BC-421A-9050-FFBE6C9FDFFC}"/>
                </a:ext>
              </a:extLst>
            </p:cNvPr>
            <p:cNvCxnSpPr/>
            <p:nvPr userDrawn="1"/>
          </p:nvCxnSpPr>
          <p:spPr bwMode="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7183FD6-ADDC-4DBA-AD69-7D5A08920C83}"/>
                </a:ext>
              </a:extLst>
            </p:cNvPr>
            <p:cNvCxnSpPr/>
            <p:nvPr userDrawn="1"/>
          </p:nvCxnSpPr>
          <p:spPr bwMode="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B1C3B52-250A-482D-AE65-9AAC3A76868D}"/>
                </a:ext>
              </a:extLst>
            </p:cNvPr>
            <p:cNvCxnSpPr/>
            <p:nvPr userDrawn="1"/>
          </p:nvCxnSpPr>
          <p:spPr bwMode="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AB6E369-DE4F-4AA3-9B2B-FD9286DC14EB}"/>
                </a:ext>
              </a:extLst>
            </p:cNvPr>
            <p:cNvCxnSpPr/>
            <p:nvPr userDrawn="1"/>
          </p:nvCxnSpPr>
          <p:spPr bwMode="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02D96B38-98DE-4984-BD84-08887A144206}"/>
                </a:ext>
              </a:extLst>
            </p:cNvPr>
            <p:cNvCxnSpPr/>
            <p:nvPr userDrawn="1"/>
          </p:nvCxnSpPr>
          <p:spPr bwMode="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2A47B8B7-112A-4075-B20A-90A845CE256B}"/>
                </a:ext>
              </a:extLst>
            </p:cNvPr>
            <p:cNvCxnSpPr/>
            <p:nvPr userDrawn="1"/>
          </p:nvCxnSpPr>
          <p:spPr bwMode="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0FEBE3CB-E087-4212-96D5-920E5C903EF2}"/>
                </a:ext>
              </a:extLst>
            </p:cNvPr>
            <p:cNvCxnSpPr/>
            <p:nvPr userDrawn="1"/>
          </p:nvCxnSpPr>
          <p:spPr bwMode="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3686B76C-7301-4C4A-B5BE-0AFF241FAEB0}"/>
                </a:ext>
              </a:extLst>
            </p:cNvPr>
            <p:cNvCxnSpPr/>
            <p:nvPr userDrawn="1"/>
          </p:nvCxnSpPr>
          <p:spPr bwMode="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2B029B6E-808D-40CF-A2D1-AADA131A0D00}"/>
                </a:ext>
              </a:extLst>
            </p:cNvPr>
            <p:cNvCxnSpPr/>
            <p:nvPr userDrawn="1"/>
          </p:nvCxnSpPr>
          <p:spPr bwMode="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8705E053-FBF3-4534-A74B-EC16CC92EE77}"/>
                </a:ext>
              </a:extLst>
            </p:cNvPr>
            <p:cNvCxnSpPr/>
            <p:nvPr userDrawn="1"/>
          </p:nvCxnSpPr>
          <p:spPr bwMode="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BE0E44BE-C4B0-46A9-A59B-A43157B927C1}"/>
                </a:ext>
              </a:extLst>
            </p:cNvPr>
            <p:cNvCxnSpPr/>
            <p:nvPr userDrawn="1"/>
          </p:nvCxnSpPr>
          <p:spPr bwMode="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9B09A95B-D404-461F-A093-7C895E3A741F}"/>
                </a:ext>
              </a:extLst>
            </p:cNvPr>
            <p:cNvCxnSpPr/>
            <p:nvPr userDrawn="1"/>
          </p:nvCxnSpPr>
          <p:spPr bwMode="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A79A7095-2656-44EB-B0A3-4271C7264720}"/>
                </a:ext>
              </a:extLst>
            </p:cNvPr>
            <p:cNvCxnSpPr/>
            <p:nvPr userDrawn="1"/>
          </p:nvCxnSpPr>
          <p:spPr bwMode="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BA4BC595-5B69-4C71-A5EC-2940C48186D2}"/>
                </a:ext>
              </a:extLst>
            </p:cNvPr>
            <p:cNvCxnSpPr/>
            <p:nvPr userDrawn="1"/>
          </p:nvCxnSpPr>
          <p:spPr bwMode="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97474A32-631C-4FA8-B250-D9C17610DA92}"/>
                </a:ext>
              </a:extLst>
            </p:cNvPr>
            <p:cNvCxnSpPr/>
            <p:nvPr userDrawn="1"/>
          </p:nvCxnSpPr>
          <p:spPr bwMode="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4FA397D1-2FFD-4719-93E4-17828F08EC1D}"/>
                </a:ext>
              </a:extLst>
            </p:cNvPr>
            <p:cNvCxnSpPr/>
            <p:nvPr userDrawn="1"/>
          </p:nvCxnSpPr>
          <p:spPr bwMode="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12CDBCAF-60C0-40A4-97EA-7B190F17D13D}"/>
                </a:ext>
              </a:extLst>
            </p:cNvPr>
            <p:cNvCxnSpPr/>
            <p:nvPr userDrawn="1"/>
          </p:nvCxnSpPr>
          <p:spPr bwMode="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88614279-F6F1-4779-A908-BEF080C471AB}"/>
                </a:ext>
              </a:extLst>
            </p:cNvPr>
            <p:cNvCxnSpPr/>
            <p:nvPr userDrawn="1"/>
          </p:nvCxnSpPr>
          <p:spPr bwMode="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D77A8DFC-FE4B-4B06-8AEF-607F9AEE764E}"/>
                </a:ext>
              </a:extLst>
            </p:cNvPr>
            <p:cNvCxnSpPr/>
            <p:nvPr userDrawn="1"/>
          </p:nvCxnSpPr>
          <p:spPr bwMode="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942E819A-5DA8-4032-B3EB-D10DC14D6C84}"/>
                </a:ext>
              </a:extLst>
            </p:cNvPr>
            <p:cNvCxnSpPr/>
            <p:nvPr userDrawn="1"/>
          </p:nvCxnSpPr>
          <p:spPr bwMode="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1912236D-CA1F-4315-989A-12010EB46505}"/>
                </a:ext>
              </a:extLst>
            </p:cNvPr>
            <p:cNvCxnSpPr/>
            <p:nvPr userDrawn="1"/>
          </p:nvCxnSpPr>
          <p:spPr bwMode="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44ED2ACF-C68A-42CC-A632-CD03AB2544F3}"/>
                </a:ext>
              </a:extLst>
            </p:cNvPr>
            <p:cNvCxnSpPr/>
            <p:nvPr userDrawn="1"/>
          </p:nvCxnSpPr>
          <p:spPr bwMode="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4A8F039F-D473-4D39-8AC6-81810B219B3E}"/>
                </a:ext>
              </a:extLst>
            </p:cNvPr>
            <p:cNvCxnSpPr/>
            <p:nvPr userDrawn="1"/>
          </p:nvCxnSpPr>
          <p:spPr bwMode="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BA241E12-AAE1-45D8-9D67-A8007269A3E0}"/>
                </a:ext>
              </a:extLst>
            </p:cNvPr>
            <p:cNvCxnSpPr/>
            <p:nvPr userDrawn="1"/>
          </p:nvCxnSpPr>
          <p:spPr bwMode="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B3D829D9-0D54-4FB5-9FD5-512316CE5897}"/>
                </a:ext>
              </a:extLst>
            </p:cNvPr>
            <p:cNvCxnSpPr/>
            <p:nvPr userDrawn="1"/>
          </p:nvCxnSpPr>
          <p:spPr bwMode="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6DCAEE40-53ED-4281-A3F1-ACB0AA93B7BD}"/>
                </a:ext>
              </a:extLst>
            </p:cNvPr>
            <p:cNvCxnSpPr/>
            <p:nvPr userDrawn="1"/>
          </p:nvCxnSpPr>
          <p:spPr bwMode="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716D3477-104A-45EC-ABA6-46CC43BAB1CA}"/>
                </a:ext>
              </a:extLst>
            </p:cNvPr>
            <p:cNvCxnSpPr/>
            <p:nvPr userDrawn="1"/>
          </p:nvCxnSpPr>
          <p:spPr bwMode="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25EC7B04-40CF-4499-BF37-9874AB2E42BC}"/>
                </a:ext>
              </a:extLst>
            </p:cNvPr>
            <p:cNvCxnSpPr/>
            <p:nvPr userDrawn="1"/>
          </p:nvCxnSpPr>
          <p:spPr bwMode="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A1B7D422-DF11-439B-AA7B-5AE071A4C7DC}"/>
                </a:ext>
              </a:extLst>
            </p:cNvPr>
            <p:cNvCxnSpPr/>
            <p:nvPr userDrawn="1"/>
          </p:nvCxnSpPr>
          <p:spPr bwMode="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21103B97-22A5-4A41-A8B4-4FBC1AB3251F}"/>
                </a:ext>
              </a:extLst>
            </p:cNvPr>
            <p:cNvCxnSpPr/>
            <p:nvPr userDrawn="1"/>
          </p:nvCxnSpPr>
          <p:spPr bwMode="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706654E2-EE76-422E-8306-19CDD004E451}"/>
                </a:ext>
              </a:extLst>
            </p:cNvPr>
            <p:cNvCxnSpPr/>
            <p:nvPr userDrawn="1"/>
          </p:nvCxnSpPr>
          <p:spPr bwMode="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1A46DB1-E3F1-48B8-8CD6-686C08337E3D}"/>
                </a:ext>
              </a:extLst>
            </p:cNvPr>
            <p:cNvCxnSpPr/>
            <p:nvPr userDrawn="1"/>
          </p:nvCxnSpPr>
          <p:spPr bwMode="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C7EB58E3-EE98-4C63-A5FA-31A1F31261BD}"/>
                </a:ext>
              </a:extLst>
            </p:cNvPr>
            <p:cNvCxnSpPr/>
            <p:nvPr userDrawn="1"/>
          </p:nvCxnSpPr>
          <p:spPr bwMode="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DF83986-66A6-442D-9688-89B353D5848C}"/>
                </a:ext>
              </a:extLst>
            </p:cNvPr>
            <p:cNvCxnSpPr/>
            <p:nvPr userDrawn="1"/>
          </p:nvCxnSpPr>
          <p:spPr bwMode="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AC32EE19-D046-4DA8-83C8-C7090C2032B7}"/>
                </a:ext>
              </a:extLst>
            </p:cNvPr>
            <p:cNvCxnSpPr/>
            <p:nvPr userDrawn="1"/>
          </p:nvCxnSpPr>
          <p:spPr bwMode="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AE9073FA-D009-4B43-AE1C-76B2371EDB72}"/>
                </a:ext>
              </a:extLst>
            </p:cNvPr>
            <p:cNvCxnSpPr/>
            <p:nvPr userDrawn="1"/>
          </p:nvCxnSpPr>
          <p:spPr bwMode="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A37EEEBC-9035-46B4-859D-8637EB5F71E7}"/>
                </a:ext>
              </a:extLst>
            </p:cNvPr>
            <p:cNvCxnSpPr/>
            <p:nvPr userDrawn="1"/>
          </p:nvCxnSpPr>
          <p:spPr bwMode="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1" name="main body box">
              <a:extLst>
                <a:ext uri="{FF2B5EF4-FFF2-40B4-BE49-F238E27FC236}">
                  <a16:creationId xmlns:a16="http://schemas.microsoft.com/office/drawing/2014/main" id="{5A4E68D2-98C2-4107-A058-DD36C69DD1BD}"/>
                </a:ext>
              </a:extLst>
            </p:cNvPr>
            <p:cNvSpPr/>
            <p:nvPr userDrawn="1"/>
          </p:nvSpPr>
          <p:spPr bwMode="gray">
            <a:xfrm>
              <a:off x="554736" y="1709926"/>
              <a:ext cx="11082528" cy="4507993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CD320E2E-9A90-4FBD-95ED-547D38976E3C}"/>
                </a:ext>
              </a:extLst>
            </p:cNvPr>
            <p:cNvCxnSpPr/>
            <p:nvPr userDrawn="1"/>
          </p:nvCxnSpPr>
          <p:spPr bwMode="gray">
            <a:xfrm>
              <a:off x="554736" y="2166747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70454B89-8DFA-4EF3-83A9-38CF648F4CD1}"/>
                </a:ext>
              </a:extLst>
            </p:cNvPr>
            <p:cNvCxnSpPr/>
            <p:nvPr userDrawn="1"/>
          </p:nvCxnSpPr>
          <p:spPr bwMode="gray">
            <a:xfrm>
              <a:off x="554736" y="1709928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36457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987738" y="2170800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sz="14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81835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5" name="Sticker" hidden="1">
            <a:extLst>
              <a:ext uri="{FF2B5EF4-FFF2-40B4-BE49-F238E27FC236}">
                <a16:creationId xmlns:a16="http://schemas.microsoft.com/office/drawing/2014/main" id="{97ED2832-F2D3-4BBC-B741-D13502E9DAA9}"/>
              </a:ext>
            </a:extLst>
          </p:cNvPr>
          <p:cNvSpPr txBox="1"/>
          <p:nvPr userDrawn="1"/>
        </p:nvSpPr>
        <p:spPr>
          <a:xfrm>
            <a:off x="558489" y="1479079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grpSp>
        <p:nvGrpSpPr>
          <p:cNvPr id="135" name="LegendLines" hidden="1">
            <a:extLst>
              <a:ext uri="{FF2B5EF4-FFF2-40B4-BE49-F238E27FC236}">
                <a16:creationId xmlns:a16="http://schemas.microsoft.com/office/drawing/2014/main" id="{98AC91E0-AEE2-434E-BD95-E0B4FA2AF05F}"/>
              </a:ext>
            </a:extLst>
          </p:cNvPr>
          <p:cNvGrpSpPr/>
          <p:nvPr userDrawn="1"/>
        </p:nvGrpSpPr>
        <p:grpSpPr>
          <a:xfrm>
            <a:off x="10317304" y="3355023"/>
            <a:ext cx="1319960" cy="958286"/>
            <a:chOff x="10162879" y="3243772"/>
            <a:chExt cx="1319960" cy="958286"/>
          </a:xfrm>
        </p:grpSpPr>
        <p:sp>
          <p:nvSpPr>
            <p:cNvPr id="136" name="Legend1" hidden="1">
              <a:extLst>
                <a:ext uri="{FF2B5EF4-FFF2-40B4-BE49-F238E27FC236}">
                  <a16:creationId xmlns:a16="http://schemas.microsoft.com/office/drawing/2014/main" id="{DF525C0D-AC90-48EB-8D38-0AFD31738A77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37" name="Legend2" hidden="1">
              <a:extLst>
                <a:ext uri="{FF2B5EF4-FFF2-40B4-BE49-F238E27FC236}">
                  <a16:creationId xmlns:a16="http://schemas.microsoft.com/office/drawing/2014/main" id="{D2B8DB53-BCF6-4CB3-8CE2-E70A7793B03A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38" name="Legend3" hidden="1">
              <a:extLst>
                <a:ext uri="{FF2B5EF4-FFF2-40B4-BE49-F238E27FC236}">
                  <a16:creationId xmlns:a16="http://schemas.microsoft.com/office/drawing/2014/main" id="{116B7AE7-ED1F-4DDB-8691-8D408261EEBD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39" name="LineLegend3" hidden="1">
              <a:extLst>
                <a:ext uri="{FF2B5EF4-FFF2-40B4-BE49-F238E27FC236}">
                  <a16:creationId xmlns:a16="http://schemas.microsoft.com/office/drawing/2014/main" id="{85313666-4711-4666-8959-DBFE9F71B15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40" name="LineLegend2" hidden="1">
              <a:extLst>
                <a:ext uri="{FF2B5EF4-FFF2-40B4-BE49-F238E27FC236}">
                  <a16:creationId xmlns:a16="http://schemas.microsoft.com/office/drawing/2014/main" id="{3FDC69D7-0034-4AB6-B985-B8574DF0C10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41" name="LineLegend1" hidden="1">
              <a:extLst>
                <a:ext uri="{FF2B5EF4-FFF2-40B4-BE49-F238E27FC236}">
                  <a16:creationId xmlns:a16="http://schemas.microsoft.com/office/drawing/2014/main" id="{B08CE535-5632-4DEC-B597-6B55450F402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42" name="LegendMoons" hidden="1">
            <a:extLst>
              <a:ext uri="{FF2B5EF4-FFF2-40B4-BE49-F238E27FC236}">
                <a16:creationId xmlns:a16="http://schemas.microsoft.com/office/drawing/2014/main" id="{95EB5A22-0C18-4E8C-8103-1AC3FA6CF57C}"/>
              </a:ext>
            </a:extLst>
          </p:cNvPr>
          <p:cNvGrpSpPr/>
          <p:nvPr userDrawn="1"/>
        </p:nvGrpSpPr>
        <p:grpSpPr>
          <a:xfrm>
            <a:off x="10688315" y="1415983"/>
            <a:ext cx="948949" cy="1731859"/>
            <a:chOff x="7723680" y="1702457"/>
            <a:chExt cx="948949" cy="1731859"/>
          </a:xfrm>
        </p:grpSpPr>
        <p:sp>
          <p:nvSpPr>
            <p:cNvPr id="143" name="Legend1" hidden="1">
              <a:extLst>
                <a:ext uri="{FF2B5EF4-FFF2-40B4-BE49-F238E27FC236}">
                  <a16:creationId xmlns:a16="http://schemas.microsoft.com/office/drawing/2014/main" id="{314DBCA3-C569-410E-8BF7-AFA0468D25D1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4" name="Legend2" hidden="1">
              <a:extLst>
                <a:ext uri="{FF2B5EF4-FFF2-40B4-BE49-F238E27FC236}">
                  <a16:creationId xmlns:a16="http://schemas.microsoft.com/office/drawing/2014/main" id="{0B306C5E-3EA4-4656-BCC9-4B336E51FD25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5" name="Legend3" hidden="1">
              <a:extLst>
                <a:ext uri="{FF2B5EF4-FFF2-40B4-BE49-F238E27FC236}">
                  <a16:creationId xmlns:a16="http://schemas.microsoft.com/office/drawing/2014/main" id="{FDA3EF6D-270F-4901-833D-27FBEBE481C1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6" name="Legend4" hidden="1">
              <a:extLst>
                <a:ext uri="{FF2B5EF4-FFF2-40B4-BE49-F238E27FC236}">
                  <a16:creationId xmlns:a16="http://schemas.microsoft.com/office/drawing/2014/main" id="{279A59A0-0120-43B5-95FE-30E7BB16F518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7" name="Legend5" hidden="1">
              <a:extLst>
                <a:ext uri="{FF2B5EF4-FFF2-40B4-BE49-F238E27FC236}">
                  <a16:creationId xmlns:a16="http://schemas.microsoft.com/office/drawing/2014/main" id="{E720CD96-3AB9-4FE6-AAA6-9809D3A05F6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74" name="MoonLegend1" hidden="1">
              <a:extLst>
                <a:ext uri="{FF2B5EF4-FFF2-40B4-BE49-F238E27FC236}">
                  <a16:creationId xmlns:a16="http://schemas.microsoft.com/office/drawing/2014/main" id="{69C93E81-8763-4C0F-81EE-03355FAC1791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88" name="Oval 287" hidden="1">
                <a:extLst>
                  <a:ext uri="{FF2B5EF4-FFF2-40B4-BE49-F238E27FC236}">
                    <a16:creationId xmlns:a16="http://schemas.microsoft.com/office/drawing/2014/main" id="{F499B0EC-EEED-4B04-8444-3CA9F6CEC548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9" name="Arc 288" hidden="1">
                <a:extLst>
                  <a:ext uri="{FF2B5EF4-FFF2-40B4-BE49-F238E27FC236}">
                    <a16:creationId xmlns:a16="http://schemas.microsoft.com/office/drawing/2014/main" id="{11876964-A7E9-4703-B090-36AD8C48D02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76" name="MoonLegend2" hidden="1">
              <a:extLst>
                <a:ext uri="{FF2B5EF4-FFF2-40B4-BE49-F238E27FC236}">
                  <a16:creationId xmlns:a16="http://schemas.microsoft.com/office/drawing/2014/main" id="{CEF585E2-64E0-410D-96F1-ADADC580084B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86" name="Oval 285" hidden="1">
                <a:extLst>
                  <a:ext uri="{FF2B5EF4-FFF2-40B4-BE49-F238E27FC236}">
                    <a16:creationId xmlns:a16="http://schemas.microsoft.com/office/drawing/2014/main" id="{96A84C36-2638-40EC-8339-96503C0A1DA4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7" name="Arc 286" hidden="1">
                <a:extLst>
                  <a:ext uri="{FF2B5EF4-FFF2-40B4-BE49-F238E27FC236}">
                    <a16:creationId xmlns:a16="http://schemas.microsoft.com/office/drawing/2014/main" id="{EF86ECD1-583A-4016-9D20-A185C88502D8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77" name="MoonLegend3" hidden="1">
              <a:extLst>
                <a:ext uri="{FF2B5EF4-FFF2-40B4-BE49-F238E27FC236}">
                  <a16:creationId xmlns:a16="http://schemas.microsoft.com/office/drawing/2014/main" id="{31D2F578-2B0A-40ED-AA48-159C85AB9207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84" name="Oval 283" hidden="1">
                <a:extLst>
                  <a:ext uri="{FF2B5EF4-FFF2-40B4-BE49-F238E27FC236}">
                    <a16:creationId xmlns:a16="http://schemas.microsoft.com/office/drawing/2014/main" id="{A770E42A-42B6-4D13-B832-C46293017E16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5" name="Arc 284" hidden="1">
                <a:extLst>
                  <a:ext uri="{FF2B5EF4-FFF2-40B4-BE49-F238E27FC236}">
                    <a16:creationId xmlns:a16="http://schemas.microsoft.com/office/drawing/2014/main" id="{AD625FF5-9BD4-40C9-BFC8-56C8AAAA3B05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78" name="MoonLegend4" hidden="1">
              <a:extLst>
                <a:ext uri="{FF2B5EF4-FFF2-40B4-BE49-F238E27FC236}">
                  <a16:creationId xmlns:a16="http://schemas.microsoft.com/office/drawing/2014/main" id="{CA06F6AD-3FFA-42F6-BDF2-CC27376EFA6D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2" name="Oval 281" hidden="1">
                <a:extLst>
                  <a:ext uri="{FF2B5EF4-FFF2-40B4-BE49-F238E27FC236}">
                    <a16:creationId xmlns:a16="http://schemas.microsoft.com/office/drawing/2014/main" id="{164C0F1A-31CB-4ACF-8358-F90A0038E239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3" name="Arc 282" hidden="1">
                <a:extLst>
                  <a:ext uri="{FF2B5EF4-FFF2-40B4-BE49-F238E27FC236}">
                    <a16:creationId xmlns:a16="http://schemas.microsoft.com/office/drawing/2014/main" id="{6A4A2CCE-F80D-4348-BF00-9ADDE47D3169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79" name="MoonLegend5" hidden="1">
              <a:extLst>
                <a:ext uri="{FF2B5EF4-FFF2-40B4-BE49-F238E27FC236}">
                  <a16:creationId xmlns:a16="http://schemas.microsoft.com/office/drawing/2014/main" id="{5BFC4885-EEE0-4C0C-8BD3-30966FBF32D1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80" name="Oval 279" hidden="1">
                <a:extLst>
                  <a:ext uri="{FF2B5EF4-FFF2-40B4-BE49-F238E27FC236}">
                    <a16:creationId xmlns:a16="http://schemas.microsoft.com/office/drawing/2014/main" id="{8A1E803D-1A3C-49D5-9D35-F23AC4890B46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1" name="Arc 280" hidden="1">
                <a:extLst>
                  <a:ext uri="{FF2B5EF4-FFF2-40B4-BE49-F238E27FC236}">
                    <a16:creationId xmlns:a16="http://schemas.microsoft.com/office/drawing/2014/main" id="{5E82E989-F376-401A-B771-B8C6CC0D0C24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90" name="LegendBoxes" hidden="1">
            <a:extLst>
              <a:ext uri="{FF2B5EF4-FFF2-40B4-BE49-F238E27FC236}">
                <a16:creationId xmlns:a16="http://schemas.microsoft.com/office/drawing/2014/main" id="{BA969D22-48D4-4743-BF15-5DFD40EB9642}"/>
              </a:ext>
            </a:extLst>
          </p:cNvPr>
          <p:cNvGrpSpPr/>
          <p:nvPr userDrawn="1"/>
        </p:nvGrpSpPr>
        <p:grpSpPr>
          <a:xfrm>
            <a:off x="10714801" y="4520490"/>
            <a:ext cx="922463" cy="1717282"/>
            <a:chOff x="10652400" y="4322824"/>
            <a:chExt cx="922463" cy="1717282"/>
          </a:xfrm>
        </p:grpSpPr>
        <p:sp>
          <p:nvSpPr>
            <p:cNvPr id="291" name="RectangleLegend1" hidden="1">
              <a:extLst>
                <a:ext uri="{FF2B5EF4-FFF2-40B4-BE49-F238E27FC236}">
                  <a16:creationId xmlns:a16="http://schemas.microsoft.com/office/drawing/2014/main" id="{E91B04E1-C537-42DD-A003-059058466D20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92" name="RectangleLegend2" hidden="1">
              <a:extLst>
                <a:ext uri="{FF2B5EF4-FFF2-40B4-BE49-F238E27FC236}">
                  <a16:creationId xmlns:a16="http://schemas.microsoft.com/office/drawing/2014/main" id="{FCBF5957-AE39-4B13-8ED2-86A40DD857C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93" name="RectangleLegend3" hidden="1">
              <a:extLst>
                <a:ext uri="{FF2B5EF4-FFF2-40B4-BE49-F238E27FC236}">
                  <a16:creationId xmlns:a16="http://schemas.microsoft.com/office/drawing/2014/main" id="{90406A29-B3C3-458F-8687-8C10CA188049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94" name="RectangleLegend4" hidden="1">
              <a:extLst>
                <a:ext uri="{FF2B5EF4-FFF2-40B4-BE49-F238E27FC236}">
                  <a16:creationId xmlns:a16="http://schemas.microsoft.com/office/drawing/2014/main" id="{ADCBEDD5-21EA-4486-A1DB-51DC0BE537E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95" name="RectangleLegend5" hidden="1">
              <a:extLst>
                <a:ext uri="{FF2B5EF4-FFF2-40B4-BE49-F238E27FC236}">
                  <a16:creationId xmlns:a16="http://schemas.microsoft.com/office/drawing/2014/main" id="{4ABFC7C9-2661-4B1C-A553-D13C10FC6D9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96" name="Legend1" hidden="1">
              <a:extLst>
                <a:ext uri="{FF2B5EF4-FFF2-40B4-BE49-F238E27FC236}">
                  <a16:creationId xmlns:a16="http://schemas.microsoft.com/office/drawing/2014/main" id="{DC2A4579-1B46-472A-860D-52F46A4D733A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97" name="Legend2" hidden="1">
              <a:extLst>
                <a:ext uri="{FF2B5EF4-FFF2-40B4-BE49-F238E27FC236}">
                  <a16:creationId xmlns:a16="http://schemas.microsoft.com/office/drawing/2014/main" id="{359AE145-C56E-4043-B580-B9F3BA9B19C0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98" name="Legend3" hidden="1">
              <a:extLst>
                <a:ext uri="{FF2B5EF4-FFF2-40B4-BE49-F238E27FC236}">
                  <a16:creationId xmlns:a16="http://schemas.microsoft.com/office/drawing/2014/main" id="{1C353AD7-6566-48A2-BE6C-B53B2B82D79D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99" name="Legend4" hidden="1">
              <a:extLst>
                <a:ext uri="{FF2B5EF4-FFF2-40B4-BE49-F238E27FC236}">
                  <a16:creationId xmlns:a16="http://schemas.microsoft.com/office/drawing/2014/main" id="{10FAC0DA-0D8E-4302-99F5-CCF8F1EC88E8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300" name="Legend5" hidden="1">
              <a:extLst>
                <a:ext uri="{FF2B5EF4-FFF2-40B4-BE49-F238E27FC236}">
                  <a16:creationId xmlns:a16="http://schemas.microsoft.com/office/drawing/2014/main" id="{80C77B6B-8477-41DC-BD29-FDA6A3CBC645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607EF078-0E89-4D41-A908-2A5E9E784436}"/>
              </a:ext>
            </a:extLst>
          </p:cNvPr>
          <p:cNvSpPr/>
          <p:nvPr userDrawn="1"/>
        </p:nvSpPr>
        <p:spPr>
          <a:xfrm>
            <a:off x="11941982" y="-1"/>
            <a:ext cx="250018" cy="685800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cxnSp>
        <p:nvCxnSpPr>
          <p:cNvPr id="181" name="TopLine">
            <a:extLst>
              <a:ext uri="{FF2B5EF4-FFF2-40B4-BE49-F238E27FC236}">
                <a16:creationId xmlns:a16="http://schemas.microsoft.com/office/drawing/2014/main" id="{B1F8D6AD-AF26-41AF-ACA2-6B569FAEEC32}"/>
              </a:ext>
            </a:extLst>
          </p:cNvPr>
          <p:cNvCxnSpPr>
            <a:cxnSpLocks/>
          </p:cNvCxnSpPr>
          <p:nvPr userDrawn="1">
            <p:custDataLst>
              <p:tags r:id="rId14"/>
            </p:custDataLst>
          </p:nvPr>
        </p:nvCxnSpPr>
        <p:spPr>
          <a:xfrm>
            <a:off x="554736" y="1331238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5" r:id="rId2"/>
    <p:sldLayoutId id="2147484044" r:id="rId3"/>
    <p:sldLayoutId id="2147484047" r:id="rId4"/>
    <p:sldLayoutId id="2147484049" r:id="rId5"/>
    <p:sldLayoutId id="2147484050" r:id="rId6"/>
    <p:sldLayoutId id="2147484053" r:id="rId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6" userDrawn="1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1" userDrawn="1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0E5B613-4758-7748-9EE3-328AA599E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163758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Large 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76967E-E0A4-944E-BB47-7384A9E907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512A79-E892-D14E-8B47-9E7C10B895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50FDCD-6B09-514F-9A12-8585C65AFD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7A7DA2-728E-DB40-B40A-316435293D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C3F618-7EE1-0849-8880-CB07A58421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700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  <p:sldLayoutId id="2147483789" r:id="rId19"/>
    <p:sldLayoutId id="2147483790" r:id="rId20"/>
    <p:sldLayoutId id="2147483791" r:id="rId21"/>
    <p:sldLayoutId id="2147483792" r:id="rId22"/>
    <p:sldLayoutId id="2147483793" r:id="rId23"/>
    <p:sldLayoutId id="2147484132" r:id="rId24"/>
    <p:sldLayoutId id="2147483795" r:id="rId25"/>
    <p:sldLayoutId id="2147483796" r:id="rId26"/>
    <p:sldLayoutId id="2147483797" r:id="rId27"/>
    <p:sldLayoutId id="2147483798" r:id="rId28"/>
    <p:sldLayoutId id="2147483799" r:id="rId29"/>
    <p:sldLayoutId id="2147484133" r:id="rId30"/>
    <p:sldLayoutId id="2147483801" r:id="rId31"/>
    <p:sldLayoutId id="2147483802" r:id="rId32"/>
    <p:sldLayoutId id="2147483803" r:id="rId33"/>
    <p:sldLayoutId id="2147484134" r:id="rId34"/>
    <p:sldLayoutId id="2147483805" r:id="rId35"/>
    <p:sldLayoutId id="2147483806" r:id="rId36"/>
    <p:sldLayoutId id="2147484039" r:id="rId37"/>
    <p:sldLayoutId id="2147484040" r:id="rId38"/>
    <p:sldLayoutId id="2147484043" r:id="rId39"/>
    <p:sldLayoutId id="2147484130" r:id="rId4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500" b="1" i="0" kern="1200">
          <a:solidFill>
            <a:srgbClr val="175676"/>
          </a:solidFill>
          <a:latin typeface="Segoe UI" panose="020B0502040204020203" pitchFamily="34" charset="0"/>
          <a:ea typeface="Segoe UI Historic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egoe UI" panose="020B0502040204020203" pitchFamily="34" charset="0"/>
          <a:ea typeface="Segoe UI Historic" panose="020B0502040204020203" pitchFamily="34" charset="0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egoe UI" panose="020B0502040204020203" pitchFamily="34" charset="0"/>
          <a:ea typeface="Segoe UI Historic" panose="020B0502040204020203" pitchFamily="34" charset="0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Segoe UI Historic" panose="020B0502040204020203" pitchFamily="34" charset="0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" panose="020B0502040204020203" pitchFamily="34" charset="0"/>
          <a:ea typeface="Segoe UI Historic" panose="020B0502040204020203" pitchFamily="34" charset="0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" panose="020B0502040204020203" pitchFamily="34" charset="0"/>
          <a:ea typeface="Segoe UI Historic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6">
            <a:extLst>
              <a:ext uri="{FF2B5EF4-FFF2-40B4-BE49-F238E27FC236}">
                <a16:creationId xmlns:a16="http://schemas.microsoft.com/office/drawing/2014/main" id="{456439B0-4DFC-3C9E-9210-1A9D0687A8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7861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21" r:id="rId2"/>
    <p:sldLayoutId id="2147484122" r:id="rId3"/>
    <p:sldLayoutId id="2147484083" r:id="rId4"/>
    <p:sldLayoutId id="2147484088" r:id="rId5"/>
    <p:sldLayoutId id="2147484084" r:id="rId6"/>
    <p:sldLayoutId id="2147484089" r:id="rId7"/>
    <p:sldLayoutId id="2147484111" r:id="rId8"/>
    <p:sldLayoutId id="2147484112" r:id="rId9"/>
    <p:sldLayoutId id="2147484100" r:id="rId10"/>
    <p:sldLayoutId id="2147484087" r:id="rId11"/>
    <p:sldLayoutId id="2147484113" r:id="rId12"/>
    <p:sldLayoutId id="2147484102" r:id="rId13"/>
    <p:sldLayoutId id="2147484103" r:id="rId14"/>
    <p:sldLayoutId id="2147484090" r:id="rId15"/>
    <p:sldLayoutId id="2147484106" r:id="rId16"/>
    <p:sldLayoutId id="2147484105" r:id="rId17"/>
    <p:sldLayoutId id="2147484107" r:id="rId18"/>
    <p:sldLayoutId id="2147484101" r:id="rId19"/>
    <p:sldLayoutId id="2147484082" r:id="rId20"/>
    <p:sldLayoutId id="2147484124" r:id="rId21"/>
    <p:sldLayoutId id="2147484096" r:id="rId22"/>
    <p:sldLayoutId id="2147484097" r:id="rId23"/>
    <p:sldLayoutId id="2147484094" r:id="rId24"/>
    <p:sldLayoutId id="2147484081" r:id="rId25"/>
    <p:sldLayoutId id="2147484085" r:id="rId26"/>
    <p:sldLayoutId id="2147484125" r:id="rId27"/>
    <p:sldLayoutId id="2147484095" r:id="rId28"/>
    <p:sldLayoutId id="2147484098" r:id="rId29"/>
    <p:sldLayoutId id="2147484093" r:id="rId30"/>
    <p:sldLayoutId id="2147484127" r:id="rId31"/>
    <p:sldLayoutId id="2147484104" r:id="rId32"/>
    <p:sldLayoutId id="2147484126" r:id="rId33"/>
    <p:sldLayoutId id="2147484110" r:id="rId34"/>
    <p:sldLayoutId id="2147484128" r:id="rId35"/>
    <p:sldLayoutId id="2147484120" r:id="rId36"/>
    <p:sldLayoutId id="2147484118" r:id="rId37"/>
    <p:sldLayoutId id="2147484117" r:id="rId38"/>
    <p:sldLayoutId id="2147484114" r:id="rId3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500" b="1" i="0" kern="1200">
          <a:solidFill>
            <a:srgbClr val="175676"/>
          </a:solidFill>
          <a:latin typeface="Segoe UI" panose="020B0502040204020203" pitchFamily="34" charset="0"/>
          <a:ea typeface="Segoe UI Historic" panose="020B0502040204020203" pitchFamily="34" charset="0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egoe UI" panose="020B0502040204020203" pitchFamily="34" charset="0"/>
          <a:ea typeface="Segoe UI Historic" panose="020B0502040204020203" pitchFamily="34" charset="0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egoe UI" panose="020B0502040204020203" pitchFamily="34" charset="0"/>
          <a:ea typeface="Segoe UI Historic" panose="020B0502040204020203" pitchFamily="34" charset="0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Segoe UI Historic" panose="020B0502040204020203" pitchFamily="34" charset="0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" panose="020B0502040204020203" pitchFamily="34" charset="0"/>
          <a:ea typeface="Segoe UI Historic" panose="020B0502040204020203" pitchFamily="34" charset="0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" panose="020B0502040204020203" pitchFamily="34" charset="0"/>
          <a:ea typeface="Segoe UI Historic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70" name="Grid" hidden="1">
            <a:extLst>
              <a:ext uri="{FF2B5EF4-FFF2-40B4-BE49-F238E27FC236}">
                <a16:creationId xmlns:a16="http://schemas.microsoft.com/office/drawing/2014/main" id="{3BBFEB30-B5C9-4D5C-9A82-066C6BF363E3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50B3518-D8B6-4062-A4CE-0C1A1A286FE1}"/>
                </a:ext>
              </a:extLst>
            </p:cNvPr>
            <p:cNvSpPr/>
            <p:nvPr userDrawn="1"/>
          </p:nvSpPr>
          <p:spPr bwMode="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C45F528-EF91-4619-AF16-5D11F63D2FFC}"/>
                </a:ext>
              </a:extLst>
            </p:cNvPr>
            <p:cNvSpPr/>
            <p:nvPr/>
          </p:nvSpPr>
          <p:spPr bwMode="gray">
            <a:xfrm>
              <a:off x="1524" y="0"/>
              <a:ext cx="12188952" cy="6858000"/>
            </a:xfrm>
            <a:custGeom>
              <a:avLst/>
              <a:gdLst>
                <a:gd name="connsiteX0" fmla="*/ 553212 w 12188952"/>
                <a:gd name="connsiteY0" fmla="*/ 1405610 h 6858000"/>
                <a:gd name="connsiteX1" fmla="*/ 553212 w 12188952"/>
                <a:gd name="connsiteY1" fmla="*/ 1709928 h 6858000"/>
                <a:gd name="connsiteX2" fmla="*/ 551868 w 12188952"/>
                <a:gd name="connsiteY2" fmla="*/ 1709928 h 6858000"/>
                <a:gd name="connsiteX3" fmla="*/ 551868 w 12188952"/>
                <a:gd name="connsiteY3" fmla="*/ 6217920 h 6858000"/>
                <a:gd name="connsiteX4" fmla="*/ 553212 w 12188952"/>
                <a:gd name="connsiteY4" fmla="*/ 6217920 h 6858000"/>
                <a:gd name="connsiteX5" fmla="*/ 11635740 w 12188952"/>
                <a:gd name="connsiteY5" fmla="*/ 6217920 h 6858000"/>
                <a:gd name="connsiteX6" fmla="*/ 11636196 w 12188952"/>
                <a:gd name="connsiteY6" fmla="*/ 6217920 h 6858000"/>
                <a:gd name="connsiteX7" fmla="*/ 11636196 w 12188952"/>
                <a:gd name="connsiteY7" fmla="*/ 1709928 h 6858000"/>
                <a:gd name="connsiteX8" fmla="*/ 11635740 w 12188952"/>
                <a:gd name="connsiteY8" fmla="*/ 1709928 h 6858000"/>
                <a:gd name="connsiteX9" fmla="*/ 11635740 w 12188952"/>
                <a:gd name="connsiteY9" fmla="*/ 1405610 h 6858000"/>
                <a:gd name="connsiteX10" fmla="*/ 0 w 12188952"/>
                <a:gd name="connsiteY10" fmla="*/ 0 h 6858000"/>
                <a:gd name="connsiteX11" fmla="*/ 12188952 w 12188952"/>
                <a:gd name="connsiteY11" fmla="*/ 0 h 6858000"/>
                <a:gd name="connsiteX12" fmla="*/ 12188952 w 12188952"/>
                <a:gd name="connsiteY12" fmla="*/ 6858000 h 6858000"/>
                <a:gd name="connsiteX13" fmla="*/ 0 w 12188952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88952" h="6858000">
                  <a:moveTo>
                    <a:pt x="553212" y="1405610"/>
                  </a:moveTo>
                  <a:lnTo>
                    <a:pt x="553212" y="1709928"/>
                  </a:lnTo>
                  <a:lnTo>
                    <a:pt x="551868" y="1709928"/>
                  </a:lnTo>
                  <a:lnTo>
                    <a:pt x="551868" y="6217920"/>
                  </a:lnTo>
                  <a:lnTo>
                    <a:pt x="553212" y="6217920"/>
                  </a:lnTo>
                  <a:lnTo>
                    <a:pt x="11635740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lnTo>
                    <a:pt x="11635740" y="1709928"/>
                  </a:lnTo>
                  <a:lnTo>
                    <a:pt x="11635740" y="1405610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77ABF7BA-0428-4141-8351-03A2727DECBD}"/>
                </a:ext>
              </a:extLst>
            </p:cNvPr>
            <p:cNvCxnSpPr/>
            <p:nvPr/>
          </p:nvCxnSpPr>
          <p:spPr bwMode="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94EB93D9-2FE5-4212-8DB4-7A0327E33766}"/>
                </a:ext>
              </a:extLst>
            </p:cNvPr>
            <p:cNvCxnSpPr/>
            <p:nvPr/>
          </p:nvCxnSpPr>
          <p:spPr bwMode="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C2F34081-E688-4287-A553-264328F1E1E1}"/>
                </a:ext>
              </a:extLst>
            </p:cNvPr>
            <p:cNvCxnSpPr/>
            <p:nvPr/>
          </p:nvCxnSpPr>
          <p:spPr bwMode="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6868CDEE-044B-4D04-A5D3-6A526BE51179}"/>
                </a:ext>
              </a:extLst>
            </p:cNvPr>
            <p:cNvCxnSpPr/>
            <p:nvPr/>
          </p:nvCxnSpPr>
          <p:spPr bwMode="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0100C653-5CFA-4B3C-BD97-47499B419B53}"/>
                </a:ext>
              </a:extLst>
            </p:cNvPr>
            <p:cNvCxnSpPr/>
            <p:nvPr/>
          </p:nvCxnSpPr>
          <p:spPr bwMode="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F21F5AB2-1154-4ACD-832F-CB2539EE783F}"/>
                </a:ext>
              </a:extLst>
            </p:cNvPr>
            <p:cNvCxnSpPr/>
            <p:nvPr/>
          </p:nvCxnSpPr>
          <p:spPr bwMode="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466910D2-AFA9-4FD1-8D04-D99BB3645452}"/>
                </a:ext>
              </a:extLst>
            </p:cNvPr>
            <p:cNvCxnSpPr/>
            <p:nvPr/>
          </p:nvCxnSpPr>
          <p:spPr bwMode="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1769A11B-0399-4716-A212-6F179313A427}"/>
                </a:ext>
              </a:extLst>
            </p:cNvPr>
            <p:cNvCxnSpPr/>
            <p:nvPr/>
          </p:nvCxnSpPr>
          <p:spPr bwMode="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2CB3272D-021B-49B8-92A5-D1DEB3202AE0}"/>
                </a:ext>
              </a:extLst>
            </p:cNvPr>
            <p:cNvCxnSpPr/>
            <p:nvPr/>
          </p:nvCxnSpPr>
          <p:spPr bwMode="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61701AE9-04C5-4AD4-8DEE-873680FD231F}"/>
                </a:ext>
              </a:extLst>
            </p:cNvPr>
            <p:cNvCxnSpPr/>
            <p:nvPr/>
          </p:nvCxnSpPr>
          <p:spPr bwMode="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4050D91B-89C3-45DE-BE0C-1430E2BE6F4B}"/>
                </a:ext>
              </a:extLst>
            </p:cNvPr>
            <p:cNvCxnSpPr/>
            <p:nvPr/>
          </p:nvCxnSpPr>
          <p:spPr bwMode="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68E5EF5D-0D94-4FCE-8BE2-F0790F7B1879}"/>
                </a:ext>
              </a:extLst>
            </p:cNvPr>
            <p:cNvCxnSpPr/>
            <p:nvPr/>
          </p:nvCxnSpPr>
          <p:spPr bwMode="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205F8351-710E-49E9-A523-EA0755B417C5}"/>
                </a:ext>
              </a:extLst>
            </p:cNvPr>
            <p:cNvSpPr/>
            <p:nvPr/>
          </p:nvSpPr>
          <p:spPr bwMode="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7C1C31B-A122-4A09-9500-27B0684B272F}"/>
                </a:ext>
              </a:extLst>
            </p:cNvPr>
            <p:cNvSpPr/>
            <p:nvPr/>
          </p:nvSpPr>
          <p:spPr bwMode="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7DF86859-7D4B-4DA1-91AA-0992644F5903}"/>
                </a:ext>
              </a:extLst>
            </p:cNvPr>
            <p:cNvSpPr/>
            <p:nvPr/>
          </p:nvSpPr>
          <p:spPr bwMode="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3DC3E9CA-569C-4414-A75A-C805A4A40B64}"/>
                </a:ext>
              </a:extLst>
            </p:cNvPr>
            <p:cNvSpPr/>
            <p:nvPr/>
          </p:nvSpPr>
          <p:spPr bwMode="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B532C466-D8D3-43AC-995C-2B54885AC096}"/>
                </a:ext>
              </a:extLst>
            </p:cNvPr>
            <p:cNvSpPr/>
            <p:nvPr/>
          </p:nvSpPr>
          <p:spPr bwMode="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0920AE1-B909-471F-9E77-7C3A31509F84}"/>
                </a:ext>
              </a:extLst>
            </p:cNvPr>
            <p:cNvSpPr/>
            <p:nvPr/>
          </p:nvSpPr>
          <p:spPr bwMode="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A1E8190-F3C6-4BF7-97E3-90F3FC84746E}"/>
                </a:ext>
              </a:extLst>
            </p:cNvPr>
            <p:cNvSpPr/>
            <p:nvPr/>
          </p:nvSpPr>
          <p:spPr bwMode="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3B1FC28-C9D6-4928-BCCE-9873C7DEEFDE}"/>
                </a:ext>
              </a:extLst>
            </p:cNvPr>
            <p:cNvSpPr/>
            <p:nvPr/>
          </p:nvSpPr>
          <p:spPr bwMode="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3C9C1F2-E745-44A5-AEA3-9DE0D69F2B15}"/>
                </a:ext>
              </a:extLst>
            </p:cNvPr>
            <p:cNvSpPr/>
            <p:nvPr/>
          </p:nvSpPr>
          <p:spPr bwMode="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3F7DB9B8-09EF-46A7-9839-EE0FA8E11651}"/>
                </a:ext>
              </a:extLst>
            </p:cNvPr>
            <p:cNvSpPr/>
            <p:nvPr/>
          </p:nvSpPr>
          <p:spPr bwMode="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59DC929-939A-40DF-96D2-82427AD8E191}"/>
                </a:ext>
              </a:extLst>
            </p:cNvPr>
            <p:cNvSpPr/>
            <p:nvPr/>
          </p:nvSpPr>
          <p:spPr bwMode="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71E475EA-3BCA-4BD2-9129-0A15F92784B0}"/>
                </a:ext>
              </a:extLst>
            </p:cNvPr>
            <p:cNvSpPr/>
            <p:nvPr/>
          </p:nvSpPr>
          <p:spPr bwMode="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B58358D8-4286-4ED9-A0FF-82879D8C9183}"/>
                </a:ext>
              </a:extLst>
            </p:cNvPr>
            <p:cNvSpPr/>
            <p:nvPr/>
          </p:nvSpPr>
          <p:spPr bwMode="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07E8672D-5A21-4EE8-8FA5-FBB35E3AF6F8}"/>
                </a:ext>
              </a:extLst>
            </p:cNvPr>
            <p:cNvSpPr/>
            <p:nvPr/>
          </p:nvSpPr>
          <p:spPr bwMode="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FA059A59-9BBE-4F86-862A-48E139D1EE64}"/>
                </a:ext>
              </a:extLst>
            </p:cNvPr>
            <p:cNvSpPr/>
            <p:nvPr userDrawn="1"/>
          </p:nvSpPr>
          <p:spPr bwMode="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5CF5402-4FC2-4420-ABC5-BBFA3EA9D203}"/>
                </a:ext>
              </a:extLst>
            </p:cNvPr>
            <p:cNvSpPr/>
            <p:nvPr userDrawn="1"/>
          </p:nvSpPr>
          <p:spPr bwMode="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0BB1258-8102-4E47-BE2F-816FBB6BA408}"/>
                </a:ext>
              </a:extLst>
            </p:cNvPr>
            <p:cNvSpPr/>
            <p:nvPr userDrawn="1"/>
          </p:nvSpPr>
          <p:spPr bwMode="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B270BD53-6742-47F1-853C-FA770237F3FD}"/>
                </a:ext>
              </a:extLst>
            </p:cNvPr>
            <p:cNvSpPr/>
            <p:nvPr userDrawn="1"/>
          </p:nvSpPr>
          <p:spPr bwMode="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395B319-4702-4CD9-838C-C0612B6879BC}"/>
                </a:ext>
              </a:extLst>
            </p:cNvPr>
            <p:cNvSpPr/>
            <p:nvPr userDrawn="1"/>
          </p:nvSpPr>
          <p:spPr bwMode="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AE5E70F1-247D-4F01-A473-C5A9226BCADC}"/>
                </a:ext>
              </a:extLst>
            </p:cNvPr>
            <p:cNvSpPr/>
            <p:nvPr userDrawn="1"/>
          </p:nvSpPr>
          <p:spPr bwMode="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732858E4-B133-4A91-9BCA-BF80F093194A}"/>
                </a:ext>
              </a:extLst>
            </p:cNvPr>
            <p:cNvSpPr/>
            <p:nvPr userDrawn="1"/>
          </p:nvSpPr>
          <p:spPr bwMode="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27DED92-EF7A-4687-A1A4-BDAA2F1EAF12}"/>
                </a:ext>
              </a:extLst>
            </p:cNvPr>
            <p:cNvSpPr/>
            <p:nvPr userDrawn="1"/>
          </p:nvSpPr>
          <p:spPr bwMode="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53D72483-35F2-49AC-989D-0E1BC8456803}"/>
                </a:ext>
              </a:extLst>
            </p:cNvPr>
            <p:cNvSpPr/>
            <p:nvPr userDrawn="1"/>
          </p:nvSpPr>
          <p:spPr bwMode="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2DD2F54E-53A3-49F6-905E-B0F8E1348C8E}"/>
                </a:ext>
              </a:extLst>
            </p:cNvPr>
            <p:cNvSpPr/>
            <p:nvPr userDrawn="1"/>
          </p:nvSpPr>
          <p:spPr bwMode="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557A01EE-7FB2-4BA0-B35A-2F95546E4624}"/>
                </a:ext>
              </a:extLst>
            </p:cNvPr>
            <p:cNvCxnSpPr/>
            <p:nvPr userDrawn="1"/>
          </p:nvCxnSpPr>
          <p:spPr bwMode="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7FC1C45B-2B29-4A42-8D4B-721F68CA1348}"/>
                </a:ext>
              </a:extLst>
            </p:cNvPr>
            <p:cNvCxnSpPr/>
            <p:nvPr userDrawn="1"/>
          </p:nvCxnSpPr>
          <p:spPr bwMode="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B1A27E92-9270-4990-A7E0-13762B5DCF31}"/>
                </a:ext>
              </a:extLst>
            </p:cNvPr>
            <p:cNvCxnSpPr/>
            <p:nvPr userDrawn="1"/>
          </p:nvCxnSpPr>
          <p:spPr bwMode="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9F46154D-791B-4F7D-8E1C-E15CD03A29AA}"/>
                </a:ext>
              </a:extLst>
            </p:cNvPr>
            <p:cNvCxnSpPr/>
            <p:nvPr userDrawn="1"/>
          </p:nvCxnSpPr>
          <p:spPr bwMode="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9B4B757-25C9-484E-A4FE-A49FBA3319A4}"/>
                </a:ext>
              </a:extLst>
            </p:cNvPr>
            <p:cNvCxnSpPr/>
            <p:nvPr userDrawn="1"/>
          </p:nvCxnSpPr>
          <p:spPr bwMode="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75535B4E-91AD-45A5-B3C9-3699892DFD15}"/>
                </a:ext>
              </a:extLst>
            </p:cNvPr>
            <p:cNvCxnSpPr/>
            <p:nvPr userDrawn="1"/>
          </p:nvCxnSpPr>
          <p:spPr bwMode="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BB8DA04A-5D80-45BB-8266-4A4ECB242742}"/>
                </a:ext>
              </a:extLst>
            </p:cNvPr>
            <p:cNvCxnSpPr/>
            <p:nvPr userDrawn="1"/>
          </p:nvCxnSpPr>
          <p:spPr bwMode="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E5E52966-F7BC-421A-9050-FFBE6C9FDFFC}"/>
                </a:ext>
              </a:extLst>
            </p:cNvPr>
            <p:cNvCxnSpPr/>
            <p:nvPr userDrawn="1"/>
          </p:nvCxnSpPr>
          <p:spPr bwMode="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7183FD6-ADDC-4DBA-AD69-7D5A08920C83}"/>
                </a:ext>
              </a:extLst>
            </p:cNvPr>
            <p:cNvCxnSpPr/>
            <p:nvPr userDrawn="1"/>
          </p:nvCxnSpPr>
          <p:spPr bwMode="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B1C3B52-250A-482D-AE65-9AAC3A76868D}"/>
                </a:ext>
              </a:extLst>
            </p:cNvPr>
            <p:cNvCxnSpPr/>
            <p:nvPr userDrawn="1"/>
          </p:nvCxnSpPr>
          <p:spPr bwMode="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AB6E369-DE4F-4AA3-9B2B-FD9286DC14EB}"/>
                </a:ext>
              </a:extLst>
            </p:cNvPr>
            <p:cNvCxnSpPr/>
            <p:nvPr userDrawn="1"/>
          </p:nvCxnSpPr>
          <p:spPr bwMode="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02D96B38-98DE-4984-BD84-08887A144206}"/>
                </a:ext>
              </a:extLst>
            </p:cNvPr>
            <p:cNvCxnSpPr/>
            <p:nvPr userDrawn="1"/>
          </p:nvCxnSpPr>
          <p:spPr bwMode="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2A47B8B7-112A-4075-B20A-90A845CE256B}"/>
                </a:ext>
              </a:extLst>
            </p:cNvPr>
            <p:cNvCxnSpPr/>
            <p:nvPr userDrawn="1"/>
          </p:nvCxnSpPr>
          <p:spPr bwMode="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0FEBE3CB-E087-4212-96D5-920E5C903EF2}"/>
                </a:ext>
              </a:extLst>
            </p:cNvPr>
            <p:cNvCxnSpPr/>
            <p:nvPr userDrawn="1"/>
          </p:nvCxnSpPr>
          <p:spPr bwMode="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3686B76C-7301-4C4A-B5BE-0AFF241FAEB0}"/>
                </a:ext>
              </a:extLst>
            </p:cNvPr>
            <p:cNvCxnSpPr/>
            <p:nvPr userDrawn="1"/>
          </p:nvCxnSpPr>
          <p:spPr bwMode="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2B029B6E-808D-40CF-A2D1-AADA131A0D00}"/>
                </a:ext>
              </a:extLst>
            </p:cNvPr>
            <p:cNvCxnSpPr/>
            <p:nvPr userDrawn="1"/>
          </p:nvCxnSpPr>
          <p:spPr bwMode="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8705E053-FBF3-4534-A74B-EC16CC92EE77}"/>
                </a:ext>
              </a:extLst>
            </p:cNvPr>
            <p:cNvCxnSpPr/>
            <p:nvPr userDrawn="1"/>
          </p:nvCxnSpPr>
          <p:spPr bwMode="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BE0E44BE-C4B0-46A9-A59B-A43157B927C1}"/>
                </a:ext>
              </a:extLst>
            </p:cNvPr>
            <p:cNvCxnSpPr/>
            <p:nvPr userDrawn="1"/>
          </p:nvCxnSpPr>
          <p:spPr bwMode="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9B09A95B-D404-461F-A093-7C895E3A741F}"/>
                </a:ext>
              </a:extLst>
            </p:cNvPr>
            <p:cNvCxnSpPr/>
            <p:nvPr userDrawn="1"/>
          </p:nvCxnSpPr>
          <p:spPr bwMode="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A79A7095-2656-44EB-B0A3-4271C7264720}"/>
                </a:ext>
              </a:extLst>
            </p:cNvPr>
            <p:cNvCxnSpPr/>
            <p:nvPr userDrawn="1"/>
          </p:nvCxnSpPr>
          <p:spPr bwMode="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BA4BC595-5B69-4C71-A5EC-2940C48186D2}"/>
                </a:ext>
              </a:extLst>
            </p:cNvPr>
            <p:cNvCxnSpPr/>
            <p:nvPr userDrawn="1"/>
          </p:nvCxnSpPr>
          <p:spPr bwMode="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97474A32-631C-4FA8-B250-D9C17610DA92}"/>
                </a:ext>
              </a:extLst>
            </p:cNvPr>
            <p:cNvCxnSpPr/>
            <p:nvPr userDrawn="1"/>
          </p:nvCxnSpPr>
          <p:spPr bwMode="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4FA397D1-2FFD-4719-93E4-17828F08EC1D}"/>
                </a:ext>
              </a:extLst>
            </p:cNvPr>
            <p:cNvCxnSpPr/>
            <p:nvPr userDrawn="1"/>
          </p:nvCxnSpPr>
          <p:spPr bwMode="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12CDBCAF-60C0-40A4-97EA-7B190F17D13D}"/>
                </a:ext>
              </a:extLst>
            </p:cNvPr>
            <p:cNvCxnSpPr/>
            <p:nvPr userDrawn="1"/>
          </p:nvCxnSpPr>
          <p:spPr bwMode="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88614279-F6F1-4779-A908-BEF080C471AB}"/>
                </a:ext>
              </a:extLst>
            </p:cNvPr>
            <p:cNvCxnSpPr/>
            <p:nvPr userDrawn="1"/>
          </p:nvCxnSpPr>
          <p:spPr bwMode="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D77A8DFC-FE4B-4B06-8AEF-607F9AEE764E}"/>
                </a:ext>
              </a:extLst>
            </p:cNvPr>
            <p:cNvCxnSpPr/>
            <p:nvPr userDrawn="1"/>
          </p:nvCxnSpPr>
          <p:spPr bwMode="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942E819A-5DA8-4032-B3EB-D10DC14D6C84}"/>
                </a:ext>
              </a:extLst>
            </p:cNvPr>
            <p:cNvCxnSpPr/>
            <p:nvPr userDrawn="1"/>
          </p:nvCxnSpPr>
          <p:spPr bwMode="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1912236D-CA1F-4315-989A-12010EB46505}"/>
                </a:ext>
              </a:extLst>
            </p:cNvPr>
            <p:cNvCxnSpPr/>
            <p:nvPr userDrawn="1"/>
          </p:nvCxnSpPr>
          <p:spPr bwMode="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44ED2ACF-C68A-42CC-A632-CD03AB2544F3}"/>
                </a:ext>
              </a:extLst>
            </p:cNvPr>
            <p:cNvCxnSpPr/>
            <p:nvPr userDrawn="1"/>
          </p:nvCxnSpPr>
          <p:spPr bwMode="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4A8F039F-D473-4D39-8AC6-81810B219B3E}"/>
                </a:ext>
              </a:extLst>
            </p:cNvPr>
            <p:cNvCxnSpPr/>
            <p:nvPr userDrawn="1"/>
          </p:nvCxnSpPr>
          <p:spPr bwMode="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BA241E12-AAE1-45D8-9D67-A8007269A3E0}"/>
                </a:ext>
              </a:extLst>
            </p:cNvPr>
            <p:cNvCxnSpPr/>
            <p:nvPr userDrawn="1"/>
          </p:nvCxnSpPr>
          <p:spPr bwMode="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B3D829D9-0D54-4FB5-9FD5-512316CE5897}"/>
                </a:ext>
              </a:extLst>
            </p:cNvPr>
            <p:cNvCxnSpPr/>
            <p:nvPr userDrawn="1"/>
          </p:nvCxnSpPr>
          <p:spPr bwMode="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6DCAEE40-53ED-4281-A3F1-ACB0AA93B7BD}"/>
                </a:ext>
              </a:extLst>
            </p:cNvPr>
            <p:cNvCxnSpPr/>
            <p:nvPr userDrawn="1"/>
          </p:nvCxnSpPr>
          <p:spPr bwMode="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716D3477-104A-45EC-ABA6-46CC43BAB1CA}"/>
                </a:ext>
              </a:extLst>
            </p:cNvPr>
            <p:cNvCxnSpPr/>
            <p:nvPr userDrawn="1"/>
          </p:nvCxnSpPr>
          <p:spPr bwMode="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25EC7B04-40CF-4499-BF37-9874AB2E42BC}"/>
                </a:ext>
              </a:extLst>
            </p:cNvPr>
            <p:cNvCxnSpPr/>
            <p:nvPr userDrawn="1"/>
          </p:nvCxnSpPr>
          <p:spPr bwMode="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A1B7D422-DF11-439B-AA7B-5AE071A4C7DC}"/>
                </a:ext>
              </a:extLst>
            </p:cNvPr>
            <p:cNvCxnSpPr/>
            <p:nvPr userDrawn="1"/>
          </p:nvCxnSpPr>
          <p:spPr bwMode="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21103B97-22A5-4A41-A8B4-4FBC1AB3251F}"/>
                </a:ext>
              </a:extLst>
            </p:cNvPr>
            <p:cNvCxnSpPr/>
            <p:nvPr userDrawn="1"/>
          </p:nvCxnSpPr>
          <p:spPr bwMode="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706654E2-EE76-422E-8306-19CDD004E451}"/>
                </a:ext>
              </a:extLst>
            </p:cNvPr>
            <p:cNvCxnSpPr/>
            <p:nvPr userDrawn="1"/>
          </p:nvCxnSpPr>
          <p:spPr bwMode="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1A46DB1-E3F1-48B8-8CD6-686C08337E3D}"/>
                </a:ext>
              </a:extLst>
            </p:cNvPr>
            <p:cNvCxnSpPr/>
            <p:nvPr userDrawn="1"/>
          </p:nvCxnSpPr>
          <p:spPr bwMode="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C7EB58E3-EE98-4C63-A5FA-31A1F31261BD}"/>
                </a:ext>
              </a:extLst>
            </p:cNvPr>
            <p:cNvCxnSpPr/>
            <p:nvPr userDrawn="1"/>
          </p:nvCxnSpPr>
          <p:spPr bwMode="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DF83986-66A6-442D-9688-89B353D5848C}"/>
                </a:ext>
              </a:extLst>
            </p:cNvPr>
            <p:cNvCxnSpPr/>
            <p:nvPr userDrawn="1"/>
          </p:nvCxnSpPr>
          <p:spPr bwMode="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AC32EE19-D046-4DA8-83C8-C7090C2032B7}"/>
                </a:ext>
              </a:extLst>
            </p:cNvPr>
            <p:cNvCxnSpPr/>
            <p:nvPr userDrawn="1"/>
          </p:nvCxnSpPr>
          <p:spPr bwMode="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AE9073FA-D009-4B43-AE1C-76B2371EDB72}"/>
                </a:ext>
              </a:extLst>
            </p:cNvPr>
            <p:cNvCxnSpPr/>
            <p:nvPr userDrawn="1"/>
          </p:nvCxnSpPr>
          <p:spPr bwMode="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A37EEEBC-9035-46B4-859D-8637EB5F71E7}"/>
                </a:ext>
              </a:extLst>
            </p:cNvPr>
            <p:cNvCxnSpPr/>
            <p:nvPr userDrawn="1"/>
          </p:nvCxnSpPr>
          <p:spPr bwMode="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1" name="main body box">
              <a:extLst>
                <a:ext uri="{FF2B5EF4-FFF2-40B4-BE49-F238E27FC236}">
                  <a16:creationId xmlns:a16="http://schemas.microsoft.com/office/drawing/2014/main" id="{5A4E68D2-98C2-4107-A058-DD36C69DD1BD}"/>
                </a:ext>
              </a:extLst>
            </p:cNvPr>
            <p:cNvSpPr/>
            <p:nvPr userDrawn="1"/>
          </p:nvSpPr>
          <p:spPr bwMode="gray">
            <a:xfrm>
              <a:off x="554736" y="1709926"/>
              <a:ext cx="11082528" cy="4507993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CD320E2E-9A90-4FBD-95ED-547D38976E3C}"/>
                </a:ext>
              </a:extLst>
            </p:cNvPr>
            <p:cNvCxnSpPr/>
            <p:nvPr userDrawn="1"/>
          </p:nvCxnSpPr>
          <p:spPr bwMode="gray">
            <a:xfrm>
              <a:off x="554736" y="2166747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70454B89-8DFA-4EF3-83A9-38CF648F4CD1}"/>
                </a:ext>
              </a:extLst>
            </p:cNvPr>
            <p:cNvCxnSpPr/>
            <p:nvPr userDrawn="1"/>
          </p:nvCxnSpPr>
          <p:spPr bwMode="gray">
            <a:xfrm>
              <a:off x="554736" y="1709928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36457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sz="14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81835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5" name="Sticker" hidden="1">
            <a:extLst>
              <a:ext uri="{FF2B5EF4-FFF2-40B4-BE49-F238E27FC236}">
                <a16:creationId xmlns:a16="http://schemas.microsoft.com/office/drawing/2014/main" id="{97ED2832-F2D3-4BBC-B741-D13502E9DAA9}"/>
              </a:ext>
            </a:extLst>
          </p:cNvPr>
          <p:cNvSpPr txBox="1"/>
          <p:nvPr userDrawn="1"/>
        </p:nvSpPr>
        <p:spPr>
          <a:xfrm>
            <a:off x="558489" y="1479079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grpSp>
        <p:nvGrpSpPr>
          <p:cNvPr id="135" name="LegendLines" hidden="1">
            <a:extLst>
              <a:ext uri="{FF2B5EF4-FFF2-40B4-BE49-F238E27FC236}">
                <a16:creationId xmlns:a16="http://schemas.microsoft.com/office/drawing/2014/main" id="{98AC91E0-AEE2-434E-BD95-E0B4FA2AF05F}"/>
              </a:ext>
            </a:extLst>
          </p:cNvPr>
          <p:cNvGrpSpPr/>
          <p:nvPr userDrawn="1"/>
        </p:nvGrpSpPr>
        <p:grpSpPr>
          <a:xfrm>
            <a:off x="10317304" y="3355023"/>
            <a:ext cx="1319960" cy="958286"/>
            <a:chOff x="10162879" y="3243772"/>
            <a:chExt cx="1319960" cy="958286"/>
          </a:xfrm>
        </p:grpSpPr>
        <p:sp>
          <p:nvSpPr>
            <p:cNvPr id="136" name="Legend1" hidden="1">
              <a:extLst>
                <a:ext uri="{FF2B5EF4-FFF2-40B4-BE49-F238E27FC236}">
                  <a16:creationId xmlns:a16="http://schemas.microsoft.com/office/drawing/2014/main" id="{DF525C0D-AC90-48EB-8D38-0AFD31738A77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37" name="Legend2" hidden="1">
              <a:extLst>
                <a:ext uri="{FF2B5EF4-FFF2-40B4-BE49-F238E27FC236}">
                  <a16:creationId xmlns:a16="http://schemas.microsoft.com/office/drawing/2014/main" id="{D2B8DB53-BCF6-4CB3-8CE2-E70A7793B03A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38" name="Legend3" hidden="1">
              <a:extLst>
                <a:ext uri="{FF2B5EF4-FFF2-40B4-BE49-F238E27FC236}">
                  <a16:creationId xmlns:a16="http://schemas.microsoft.com/office/drawing/2014/main" id="{116B7AE7-ED1F-4DDB-8691-8D408261EEBD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39" name="LineLegend3" hidden="1">
              <a:extLst>
                <a:ext uri="{FF2B5EF4-FFF2-40B4-BE49-F238E27FC236}">
                  <a16:creationId xmlns:a16="http://schemas.microsoft.com/office/drawing/2014/main" id="{85313666-4711-4666-8959-DBFE9F71B15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40" name="LineLegend2" hidden="1">
              <a:extLst>
                <a:ext uri="{FF2B5EF4-FFF2-40B4-BE49-F238E27FC236}">
                  <a16:creationId xmlns:a16="http://schemas.microsoft.com/office/drawing/2014/main" id="{3FDC69D7-0034-4AB6-B985-B8574DF0C10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41" name="LineLegend1" hidden="1">
              <a:extLst>
                <a:ext uri="{FF2B5EF4-FFF2-40B4-BE49-F238E27FC236}">
                  <a16:creationId xmlns:a16="http://schemas.microsoft.com/office/drawing/2014/main" id="{B08CE535-5632-4DEC-B597-6B55450F402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42" name="LegendMoons" hidden="1">
            <a:extLst>
              <a:ext uri="{FF2B5EF4-FFF2-40B4-BE49-F238E27FC236}">
                <a16:creationId xmlns:a16="http://schemas.microsoft.com/office/drawing/2014/main" id="{95EB5A22-0C18-4E8C-8103-1AC3FA6CF57C}"/>
              </a:ext>
            </a:extLst>
          </p:cNvPr>
          <p:cNvGrpSpPr/>
          <p:nvPr userDrawn="1"/>
        </p:nvGrpSpPr>
        <p:grpSpPr>
          <a:xfrm>
            <a:off x="10688315" y="1415983"/>
            <a:ext cx="948949" cy="1731859"/>
            <a:chOff x="7723680" y="1702457"/>
            <a:chExt cx="948949" cy="1731859"/>
          </a:xfrm>
        </p:grpSpPr>
        <p:sp>
          <p:nvSpPr>
            <p:cNvPr id="143" name="Legend1" hidden="1">
              <a:extLst>
                <a:ext uri="{FF2B5EF4-FFF2-40B4-BE49-F238E27FC236}">
                  <a16:creationId xmlns:a16="http://schemas.microsoft.com/office/drawing/2014/main" id="{314DBCA3-C569-410E-8BF7-AFA0468D25D1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4" name="Legend2" hidden="1">
              <a:extLst>
                <a:ext uri="{FF2B5EF4-FFF2-40B4-BE49-F238E27FC236}">
                  <a16:creationId xmlns:a16="http://schemas.microsoft.com/office/drawing/2014/main" id="{0B306C5E-3EA4-4656-BCC9-4B336E51FD25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5" name="Legend3" hidden="1">
              <a:extLst>
                <a:ext uri="{FF2B5EF4-FFF2-40B4-BE49-F238E27FC236}">
                  <a16:creationId xmlns:a16="http://schemas.microsoft.com/office/drawing/2014/main" id="{FDA3EF6D-270F-4901-833D-27FBEBE481C1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6" name="Legend4" hidden="1">
              <a:extLst>
                <a:ext uri="{FF2B5EF4-FFF2-40B4-BE49-F238E27FC236}">
                  <a16:creationId xmlns:a16="http://schemas.microsoft.com/office/drawing/2014/main" id="{279A59A0-0120-43B5-95FE-30E7BB16F518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47" name="Legend5" hidden="1">
              <a:extLst>
                <a:ext uri="{FF2B5EF4-FFF2-40B4-BE49-F238E27FC236}">
                  <a16:creationId xmlns:a16="http://schemas.microsoft.com/office/drawing/2014/main" id="{E720CD96-3AB9-4FE6-AAA6-9809D3A05F6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74" name="MoonLegend1" hidden="1">
              <a:extLst>
                <a:ext uri="{FF2B5EF4-FFF2-40B4-BE49-F238E27FC236}">
                  <a16:creationId xmlns:a16="http://schemas.microsoft.com/office/drawing/2014/main" id="{69C93E81-8763-4C0F-81EE-03355FAC179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88" name="Oval 287" hidden="1">
                <a:extLst>
                  <a:ext uri="{FF2B5EF4-FFF2-40B4-BE49-F238E27FC236}">
                    <a16:creationId xmlns:a16="http://schemas.microsoft.com/office/drawing/2014/main" id="{F499B0EC-EEED-4B04-8444-3CA9F6CEC548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9" name="Arc 288" hidden="1">
                <a:extLst>
                  <a:ext uri="{FF2B5EF4-FFF2-40B4-BE49-F238E27FC236}">
                    <a16:creationId xmlns:a16="http://schemas.microsoft.com/office/drawing/2014/main" id="{11876964-A7E9-4703-B090-36AD8C48D022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76" name="MoonLegend2" hidden="1">
              <a:extLst>
                <a:ext uri="{FF2B5EF4-FFF2-40B4-BE49-F238E27FC236}">
                  <a16:creationId xmlns:a16="http://schemas.microsoft.com/office/drawing/2014/main" id="{CEF585E2-64E0-410D-96F1-ADADC580084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86" name="Oval 285" hidden="1">
                <a:extLst>
                  <a:ext uri="{FF2B5EF4-FFF2-40B4-BE49-F238E27FC236}">
                    <a16:creationId xmlns:a16="http://schemas.microsoft.com/office/drawing/2014/main" id="{96A84C36-2638-40EC-8339-96503C0A1DA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7" name="Arc 286" hidden="1">
                <a:extLst>
                  <a:ext uri="{FF2B5EF4-FFF2-40B4-BE49-F238E27FC236}">
                    <a16:creationId xmlns:a16="http://schemas.microsoft.com/office/drawing/2014/main" id="{EF86ECD1-583A-4016-9D20-A185C88502D8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77" name="MoonLegend3" hidden="1">
              <a:extLst>
                <a:ext uri="{FF2B5EF4-FFF2-40B4-BE49-F238E27FC236}">
                  <a16:creationId xmlns:a16="http://schemas.microsoft.com/office/drawing/2014/main" id="{31D2F578-2B0A-40ED-AA48-159C85AB920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84" name="Oval 283" hidden="1">
                <a:extLst>
                  <a:ext uri="{FF2B5EF4-FFF2-40B4-BE49-F238E27FC236}">
                    <a16:creationId xmlns:a16="http://schemas.microsoft.com/office/drawing/2014/main" id="{A770E42A-42B6-4D13-B832-C46293017E1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5" name="Arc 284" hidden="1">
                <a:extLst>
                  <a:ext uri="{FF2B5EF4-FFF2-40B4-BE49-F238E27FC236}">
                    <a16:creationId xmlns:a16="http://schemas.microsoft.com/office/drawing/2014/main" id="{AD625FF5-9BD4-40C9-BFC8-56C8AAAA3B05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78" name="MoonLegend4" hidden="1">
              <a:extLst>
                <a:ext uri="{FF2B5EF4-FFF2-40B4-BE49-F238E27FC236}">
                  <a16:creationId xmlns:a16="http://schemas.microsoft.com/office/drawing/2014/main" id="{CA06F6AD-3FFA-42F6-BDF2-CC27376EFA6D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82" name="Oval 281" hidden="1">
                <a:extLst>
                  <a:ext uri="{FF2B5EF4-FFF2-40B4-BE49-F238E27FC236}">
                    <a16:creationId xmlns:a16="http://schemas.microsoft.com/office/drawing/2014/main" id="{164C0F1A-31CB-4ACF-8358-F90A0038E239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3" name="Arc 282" hidden="1">
                <a:extLst>
                  <a:ext uri="{FF2B5EF4-FFF2-40B4-BE49-F238E27FC236}">
                    <a16:creationId xmlns:a16="http://schemas.microsoft.com/office/drawing/2014/main" id="{6A4A2CCE-F80D-4348-BF00-9ADDE47D316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79" name="MoonLegend5" hidden="1">
              <a:extLst>
                <a:ext uri="{FF2B5EF4-FFF2-40B4-BE49-F238E27FC236}">
                  <a16:creationId xmlns:a16="http://schemas.microsoft.com/office/drawing/2014/main" id="{5BFC4885-EEE0-4C0C-8BD3-30966FBF32D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80" name="Oval 279" hidden="1">
                <a:extLst>
                  <a:ext uri="{FF2B5EF4-FFF2-40B4-BE49-F238E27FC236}">
                    <a16:creationId xmlns:a16="http://schemas.microsoft.com/office/drawing/2014/main" id="{8A1E803D-1A3C-49D5-9D35-F23AC4890B46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1" name="Arc 280" hidden="1">
                <a:extLst>
                  <a:ext uri="{FF2B5EF4-FFF2-40B4-BE49-F238E27FC236}">
                    <a16:creationId xmlns:a16="http://schemas.microsoft.com/office/drawing/2014/main" id="{5E82E989-F376-401A-B771-B8C6CC0D0C2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90" name="LegendBoxes" hidden="1">
            <a:extLst>
              <a:ext uri="{FF2B5EF4-FFF2-40B4-BE49-F238E27FC236}">
                <a16:creationId xmlns:a16="http://schemas.microsoft.com/office/drawing/2014/main" id="{BA969D22-48D4-4743-BF15-5DFD40EB9642}"/>
              </a:ext>
            </a:extLst>
          </p:cNvPr>
          <p:cNvGrpSpPr/>
          <p:nvPr userDrawn="1"/>
        </p:nvGrpSpPr>
        <p:grpSpPr>
          <a:xfrm>
            <a:off x="10714801" y="4520490"/>
            <a:ext cx="922463" cy="1717282"/>
            <a:chOff x="10652400" y="4322824"/>
            <a:chExt cx="922463" cy="1717282"/>
          </a:xfrm>
        </p:grpSpPr>
        <p:sp>
          <p:nvSpPr>
            <p:cNvPr id="291" name="RectangleLegend1" hidden="1">
              <a:extLst>
                <a:ext uri="{FF2B5EF4-FFF2-40B4-BE49-F238E27FC236}">
                  <a16:creationId xmlns:a16="http://schemas.microsoft.com/office/drawing/2014/main" id="{E91B04E1-C537-42DD-A003-059058466D20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92" name="RectangleLegend2" hidden="1">
              <a:extLst>
                <a:ext uri="{FF2B5EF4-FFF2-40B4-BE49-F238E27FC236}">
                  <a16:creationId xmlns:a16="http://schemas.microsoft.com/office/drawing/2014/main" id="{FCBF5957-AE39-4B13-8ED2-86A40DD857C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93" name="RectangleLegend3" hidden="1">
              <a:extLst>
                <a:ext uri="{FF2B5EF4-FFF2-40B4-BE49-F238E27FC236}">
                  <a16:creationId xmlns:a16="http://schemas.microsoft.com/office/drawing/2014/main" id="{90406A29-B3C3-458F-8687-8C10CA188049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94" name="RectangleLegend4" hidden="1">
              <a:extLst>
                <a:ext uri="{FF2B5EF4-FFF2-40B4-BE49-F238E27FC236}">
                  <a16:creationId xmlns:a16="http://schemas.microsoft.com/office/drawing/2014/main" id="{ADCBEDD5-21EA-4486-A1DB-51DC0BE537E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95" name="RectangleLegend5" hidden="1">
              <a:extLst>
                <a:ext uri="{FF2B5EF4-FFF2-40B4-BE49-F238E27FC236}">
                  <a16:creationId xmlns:a16="http://schemas.microsoft.com/office/drawing/2014/main" id="{4ABFC7C9-2661-4B1C-A553-D13C10FC6D9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96" name="Legend1" hidden="1">
              <a:extLst>
                <a:ext uri="{FF2B5EF4-FFF2-40B4-BE49-F238E27FC236}">
                  <a16:creationId xmlns:a16="http://schemas.microsoft.com/office/drawing/2014/main" id="{DC2A4579-1B46-472A-860D-52F46A4D733A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97" name="Legend2" hidden="1">
              <a:extLst>
                <a:ext uri="{FF2B5EF4-FFF2-40B4-BE49-F238E27FC236}">
                  <a16:creationId xmlns:a16="http://schemas.microsoft.com/office/drawing/2014/main" id="{359AE145-C56E-4043-B580-B9F3BA9B19C0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98" name="Legend3" hidden="1">
              <a:extLst>
                <a:ext uri="{FF2B5EF4-FFF2-40B4-BE49-F238E27FC236}">
                  <a16:creationId xmlns:a16="http://schemas.microsoft.com/office/drawing/2014/main" id="{1C353AD7-6566-48A2-BE6C-B53B2B82D79D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99" name="Legend4" hidden="1">
              <a:extLst>
                <a:ext uri="{FF2B5EF4-FFF2-40B4-BE49-F238E27FC236}">
                  <a16:creationId xmlns:a16="http://schemas.microsoft.com/office/drawing/2014/main" id="{10FAC0DA-0D8E-4302-99F5-CCF8F1EC88E8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300" name="Legend5" hidden="1">
              <a:extLst>
                <a:ext uri="{FF2B5EF4-FFF2-40B4-BE49-F238E27FC236}">
                  <a16:creationId xmlns:a16="http://schemas.microsoft.com/office/drawing/2014/main" id="{80C77B6B-8477-41DC-BD29-FDA6A3CBC645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607EF078-0E89-4D41-A908-2A5E9E784436}"/>
              </a:ext>
            </a:extLst>
          </p:cNvPr>
          <p:cNvSpPr/>
          <p:nvPr userDrawn="1"/>
        </p:nvSpPr>
        <p:spPr>
          <a:xfrm>
            <a:off x="11941982" y="-1"/>
            <a:ext cx="250018" cy="685800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cxnSp>
        <p:nvCxnSpPr>
          <p:cNvPr id="181" name="TopLine">
            <a:extLst>
              <a:ext uri="{FF2B5EF4-FFF2-40B4-BE49-F238E27FC236}">
                <a16:creationId xmlns:a16="http://schemas.microsoft.com/office/drawing/2014/main" id="{B1F8D6AD-AF26-41AF-ACA2-6B569FAEEC32}"/>
              </a:ext>
            </a:extLst>
          </p:cNvPr>
          <p:cNvCxnSpPr>
            <a:cxnSpLocks/>
          </p:cNvCxnSpPr>
          <p:nvPr userDrawn="1">
            <p:custDataLst>
              <p:tags r:id="rId23"/>
            </p:custDataLst>
          </p:nvPr>
        </p:nvCxnSpPr>
        <p:spPr>
          <a:xfrm>
            <a:off x="554736" y="1331238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706" r:id="rId13"/>
    <p:sldLayoutId id="2147483718" r:id="rId14"/>
    <p:sldLayoutId id="2147483945" r:id="rId15"/>
    <p:sldLayoutId id="2147483946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6" userDrawn="1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1" userDrawn="1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9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image" Target="../media/image3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44.svg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image" Target="../media/image43.png"/><Relationship Id="rId11" Type="http://schemas.openxmlformats.org/officeDocument/2006/relationships/image" Target="../media/image48.svg"/><Relationship Id="rId5" Type="http://schemas.openxmlformats.org/officeDocument/2006/relationships/image" Target="../media/image42.sv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13" Type="http://schemas.openxmlformats.org/officeDocument/2006/relationships/tags" Target="../tags/tag235.xml"/><Relationship Id="rId18" Type="http://schemas.openxmlformats.org/officeDocument/2006/relationships/tags" Target="../tags/tag240.xml"/><Relationship Id="rId3" Type="http://schemas.openxmlformats.org/officeDocument/2006/relationships/tags" Target="../tags/tag225.xml"/><Relationship Id="rId21" Type="http://schemas.openxmlformats.org/officeDocument/2006/relationships/tags" Target="../tags/tag243.xml"/><Relationship Id="rId7" Type="http://schemas.openxmlformats.org/officeDocument/2006/relationships/tags" Target="../tags/tag229.xml"/><Relationship Id="rId12" Type="http://schemas.openxmlformats.org/officeDocument/2006/relationships/tags" Target="../tags/tag234.xml"/><Relationship Id="rId17" Type="http://schemas.openxmlformats.org/officeDocument/2006/relationships/tags" Target="../tags/tag239.xml"/><Relationship Id="rId2" Type="http://schemas.openxmlformats.org/officeDocument/2006/relationships/tags" Target="../tags/tag224.xml"/><Relationship Id="rId16" Type="http://schemas.openxmlformats.org/officeDocument/2006/relationships/tags" Target="../tags/tag238.xml"/><Relationship Id="rId20" Type="http://schemas.openxmlformats.org/officeDocument/2006/relationships/tags" Target="../tags/tag242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tags" Target="../tags/tag233.xml"/><Relationship Id="rId24" Type="http://schemas.openxmlformats.org/officeDocument/2006/relationships/slideLayout" Target="../slideLayouts/slideLayout36.xml"/><Relationship Id="rId5" Type="http://schemas.openxmlformats.org/officeDocument/2006/relationships/tags" Target="../tags/tag227.xml"/><Relationship Id="rId15" Type="http://schemas.openxmlformats.org/officeDocument/2006/relationships/tags" Target="../tags/tag237.xml"/><Relationship Id="rId23" Type="http://schemas.openxmlformats.org/officeDocument/2006/relationships/tags" Target="../tags/tag245.xml"/><Relationship Id="rId10" Type="http://schemas.openxmlformats.org/officeDocument/2006/relationships/tags" Target="../tags/tag232.xml"/><Relationship Id="rId19" Type="http://schemas.openxmlformats.org/officeDocument/2006/relationships/tags" Target="../tags/tag241.xml"/><Relationship Id="rId4" Type="http://schemas.openxmlformats.org/officeDocument/2006/relationships/tags" Target="../tags/tag226.xml"/><Relationship Id="rId9" Type="http://schemas.openxmlformats.org/officeDocument/2006/relationships/tags" Target="../tags/tag231.xml"/><Relationship Id="rId14" Type="http://schemas.openxmlformats.org/officeDocument/2006/relationships/tags" Target="../tags/tag236.xml"/><Relationship Id="rId22" Type="http://schemas.openxmlformats.org/officeDocument/2006/relationships/tags" Target="../tags/tag24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1A24349-4B10-31B0-9473-D4DC887AA6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5724" y="6118150"/>
            <a:ext cx="8496809" cy="246221"/>
          </a:xfrm>
        </p:spPr>
        <p:txBody>
          <a:bodyPr/>
          <a:lstStyle/>
          <a:p>
            <a:r>
              <a:rPr lang="en-CA"/>
              <a:t>May 2024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2395FBC9-E5C7-F89E-652D-DCE8A8C5ED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6865" y="4468308"/>
            <a:ext cx="10367505" cy="369332"/>
          </a:xfrm>
        </p:spPr>
        <p:txBody>
          <a:bodyPr/>
          <a:lstStyle/>
          <a:p>
            <a:r>
              <a:rPr lang="en-CA" sz="2400"/>
              <a:t>“What to do when someone dies” hub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755FDAA-57AE-036E-9CD1-61C78A9929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6865" y="3849164"/>
            <a:ext cx="10367505" cy="557589"/>
          </a:xfrm>
        </p:spPr>
        <p:txBody>
          <a:bodyPr/>
          <a:lstStyle/>
          <a:p>
            <a:r>
              <a:rPr lang="en-CA" sz="4000"/>
              <a:t>Overview of Losing a Loved One Journey Lab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D4EE10F-5706-EED7-B331-6D8F9D74AB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CA"/>
              <a:t>Transformation Management Directora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1D520A2-4737-878C-A18A-13A61E043D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5724" y="5408721"/>
            <a:ext cx="8496809" cy="492443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CA">
                <a:latin typeface="Aptos"/>
                <a:ea typeface="Segoe UI Historic"/>
                <a:cs typeface="Segoe UI"/>
              </a:rPr>
              <a:t>Strategic and Service Policy Branch</a:t>
            </a:r>
            <a:endParaRPr lang="en-CA"/>
          </a:p>
          <a:p>
            <a:pPr>
              <a:spcBef>
                <a:spcPts val="0"/>
              </a:spcBef>
            </a:pPr>
            <a:r>
              <a:rPr lang="en-CA">
                <a:latin typeface="Aptos"/>
                <a:ea typeface="Segoe UI Historic"/>
                <a:cs typeface="Segoe UI"/>
              </a:rPr>
              <a:t>Employment and Social Development Canada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96763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21">
            <a:extLst>
              <a:ext uri="{FF2B5EF4-FFF2-40B4-BE49-F238E27FC236}">
                <a16:creationId xmlns:a16="http://schemas.microsoft.com/office/drawing/2014/main" id="{D7B70A0D-6C25-8FD4-EAE0-2600F3EBD9C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C6B7DB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C6013ED-4DE4-76F1-9F74-CA0D6D966F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614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B7C524A7-E517-749D-B2B9-E1E582F7F186}"/>
              </a:ext>
            </a:extLst>
          </p:cNvPr>
          <p:cNvSpPr txBox="1">
            <a:spLocks/>
          </p:cNvSpPr>
          <p:nvPr/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AC3F618-7EE1-0849-8880-CB07A5842168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algn="r">
                <a:defRPr/>
              </a:pPr>
              <a:t>10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42608AC-1738-12F1-1B0B-7727947BB379}"/>
              </a:ext>
            </a:extLst>
          </p:cNvPr>
          <p:cNvSpPr txBox="1">
            <a:spLocks/>
          </p:cNvSpPr>
          <p:nvPr/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>
                <a:latin typeface="Aptos"/>
                <a:ea typeface="Segoe UI Historic"/>
                <a:cs typeface="Segoe UI"/>
              </a:rPr>
              <a:t>LLO Journey Lab MVP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064C822E-81BF-8195-34B1-D86AFA1E6A12}"/>
              </a:ext>
            </a:extLst>
          </p:cNvPr>
          <p:cNvSpPr txBox="1">
            <a:spLocks/>
          </p:cNvSpPr>
          <p:nvPr/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i="0" kern="1200">
                <a:solidFill>
                  <a:srgbClr val="175676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CA">
                <a:latin typeface="Aptos"/>
                <a:ea typeface="Segoe UI Historic"/>
                <a:cs typeface="Segoe UI"/>
              </a:rPr>
              <a:t>Provides one Canada.ca site that connects people with key "death" related inform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979DE0-1467-8E58-C0CB-F7A3995A6A05}"/>
              </a:ext>
            </a:extLst>
          </p:cNvPr>
          <p:cNvGrpSpPr/>
          <p:nvPr/>
        </p:nvGrpSpPr>
        <p:grpSpPr>
          <a:xfrm>
            <a:off x="1851928" y="1573705"/>
            <a:ext cx="6982757" cy="4685122"/>
            <a:chOff x="1630838" y="1545996"/>
            <a:chExt cx="6982757" cy="4685122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D871F7D0-1220-3E5E-FB96-2E382E833CF0}"/>
                </a:ext>
              </a:extLst>
            </p:cNvPr>
            <p:cNvSpPr/>
            <p:nvPr/>
          </p:nvSpPr>
          <p:spPr>
            <a:xfrm>
              <a:off x="1637760" y="1545996"/>
              <a:ext cx="6975835" cy="4685122"/>
            </a:xfrm>
            <a:prstGeom prst="roundRect">
              <a:avLst>
                <a:gd name="adj" fmla="val 10974"/>
              </a:avLst>
            </a:prstGeom>
            <a:solidFill>
              <a:srgbClr val="F2F2F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2A262C6-045A-BFCE-BF13-05FA1BA142FF}"/>
                </a:ext>
              </a:extLst>
            </p:cNvPr>
            <p:cNvGrpSpPr/>
            <p:nvPr/>
          </p:nvGrpSpPr>
          <p:grpSpPr>
            <a:xfrm>
              <a:off x="2070212" y="2686842"/>
              <a:ext cx="6397093" cy="3323987"/>
              <a:chOff x="3193051" y="1802322"/>
              <a:chExt cx="6397093" cy="3323987"/>
            </a:xfrm>
          </p:grpSpPr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9464FE4C-6797-4903-E30E-8FB070B5B6A6}"/>
                  </a:ext>
                </a:extLst>
              </p:cNvPr>
              <p:cNvSpPr txBox="1"/>
              <p:nvPr/>
            </p:nvSpPr>
            <p:spPr>
              <a:xfrm>
                <a:off x="3193051" y="1802322"/>
                <a:ext cx="2665602" cy="33239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Allowance for the Survivor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Benefits by Audience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Benefits Finder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Canada and the World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CPP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CPP-D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CPP &amp; OAS after Death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Disability Benefits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EI Regular Benefits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Family &amp; Caregiving Benefits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Funding Programs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GIS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Housing Benefits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Indigenous Peoples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Money and Finance</a:t>
                </a:r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A939FC1C-DB7D-D27D-D2BB-17CA66A7C991}"/>
                  </a:ext>
                </a:extLst>
              </p:cNvPr>
              <p:cNvSpPr txBox="1"/>
              <p:nvPr/>
            </p:nvSpPr>
            <p:spPr>
              <a:xfrm>
                <a:off x="5858653" y="1802322"/>
                <a:ext cx="3731491" cy="332398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MSCA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National Security &amp; Defense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Notify the Federal Government of a Death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OAS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Parents of Young Victims of Crime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Policing Justice, and Emergencies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Retirement Planning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SIN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Student Aid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Survivor Pension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Taxes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Training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Travel and Tourism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Veterans and Military</a:t>
                </a:r>
              </a:p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n-CA" sz="1400">
                    <a:latin typeface="Aptos" panose="020B0004020202020204" pitchFamily="34" charset="0"/>
                  </a:rPr>
                  <a:t>Youth</a:t>
                </a:r>
                <a:endParaRPr lang="en-CA" sz="1400"/>
              </a:p>
            </p:txBody>
          </p:sp>
        </p:grp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C2DC639-635C-611D-41B9-70E6963A5B30}"/>
                </a:ext>
              </a:extLst>
            </p:cNvPr>
            <p:cNvSpPr/>
            <p:nvPr/>
          </p:nvSpPr>
          <p:spPr>
            <a:xfrm>
              <a:off x="1630838" y="2052743"/>
              <a:ext cx="6982757" cy="464406"/>
            </a:xfrm>
            <a:prstGeom prst="rect">
              <a:avLst/>
            </a:prstGeom>
            <a:solidFill>
              <a:srgbClr val="61458C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CA">
                  <a:solidFill>
                    <a:schemeClr val="bg1"/>
                  </a:solidFill>
                  <a:latin typeface="Aptos"/>
                </a:rPr>
                <a:t>What to do when someone dies hub</a:t>
              </a:r>
              <a:endParaRPr lang="en-CA">
                <a:solidFill>
                  <a:schemeClr val="bg1"/>
                </a:solidFill>
                <a:latin typeface="Aptos" panose="020B0004020202020204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8DF98B27-F99D-283F-F960-D4C8D2AF76FB}"/>
                </a:ext>
              </a:extLst>
            </p:cNvPr>
            <p:cNvSpPr txBox="1"/>
            <p:nvPr/>
          </p:nvSpPr>
          <p:spPr>
            <a:xfrm>
              <a:off x="6656193" y="5794341"/>
              <a:ext cx="159999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sz="1400">
                  <a:latin typeface="Aptos" panose="020B0004020202020204" pitchFamily="34" charset="0"/>
                </a:rPr>
                <a:t>…And many more!</a:t>
              </a:r>
            </a:p>
          </p:txBody>
        </p:sp>
      </p:grpSp>
      <p:pic>
        <p:nvPicPr>
          <p:cNvPr id="13" name="Graphic 12" descr="Lotus Flower with solid fill">
            <a:extLst>
              <a:ext uri="{FF2B5EF4-FFF2-40B4-BE49-F238E27FC236}">
                <a16:creationId xmlns:a16="http://schemas.microsoft.com/office/drawing/2014/main" id="{F71AC690-8B2D-E51F-EAF3-FE4C431CA8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7776" y="4432691"/>
            <a:ext cx="2106221" cy="210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9448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>
            <a:extLst>
              <a:ext uri="{FF2B5EF4-FFF2-40B4-BE49-F238E27FC236}">
                <a16:creationId xmlns:a16="http://schemas.microsoft.com/office/drawing/2014/main" id="{BC6013ED-4DE4-76F1-9F74-CA0D6D966F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614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Rectangle 21">
            <a:extLst>
              <a:ext uri="{FF2B5EF4-FFF2-40B4-BE49-F238E27FC236}">
                <a16:creationId xmlns:a16="http://schemas.microsoft.com/office/drawing/2014/main" id="{D7B70A0D-6C25-8FD4-EAE0-2600F3EBD9C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C6B7DB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B7C524A7-E517-749D-B2B9-E1E582F7F186}"/>
              </a:ext>
            </a:extLst>
          </p:cNvPr>
          <p:cNvSpPr txBox="1">
            <a:spLocks/>
          </p:cNvSpPr>
          <p:nvPr/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AC3F618-7EE1-0849-8880-CB07A5842168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algn="r">
                <a:defRPr/>
              </a:pPr>
              <a:t>11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42608AC-1738-12F1-1B0B-7727947BB379}"/>
              </a:ext>
            </a:extLst>
          </p:cNvPr>
          <p:cNvSpPr txBox="1">
            <a:spLocks/>
          </p:cNvSpPr>
          <p:nvPr/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LLO Journey Lab MVP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064C822E-81BF-8195-34B1-D86AFA1E6A12}"/>
              </a:ext>
            </a:extLst>
          </p:cNvPr>
          <p:cNvSpPr txBox="1">
            <a:spLocks/>
          </p:cNvSpPr>
          <p:nvPr/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i="0" kern="1200">
                <a:solidFill>
                  <a:srgbClr val="175676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CA"/>
              <a:t>Hub on Canada.ca based on Life Events</a:t>
            </a: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042A6C2C-7666-1B8D-2235-5747B4FABB28}"/>
              </a:ext>
            </a:extLst>
          </p:cNvPr>
          <p:cNvSpPr/>
          <p:nvPr/>
        </p:nvSpPr>
        <p:spPr>
          <a:xfrm>
            <a:off x="477680" y="1621935"/>
            <a:ext cx="10891046" cy="838395"/>
          </a:xfrm>
          <a:prstGeom prst="roundRect">
            <a:avLst/>
          </a:prstGeom>
          <a:solidFill>
            <a:srgbClr val="D6B9EC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80000" tIns="45720" rIns="18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latin typeface="Arial"/>
                <a:cs typeface="Arial"/>
              </a:rPr>
              <a:t>An MVP is a </a:t>
            </a:r>
            <a:r>
              <a:rPr lang="en-US" sz="1600" b="1">
                <a:latin typeface="Arial"/>
                <a:cs typeface="Arial"/>
              </a:rPr>
              <a:t>first release</a:t>
            </a:r>
            <a:r>
              <a:rPr lang="en-US" sz="1600">
                <a:latin typeface="Arial"/>
                <a:cs typeface="Arial"/>
              </a:rPr>
              <a:t> of a new product or experience that provides the </a:t>
            </a:r>
            <a:r>
              <a:rPr lang="en-US" sz="1600" b="1">
                <a:latin typeface="Arial"/>
                <a:cs typeface="Arial"/>
              </a:rPr>
              <a:t>biggest impact to clients</a:t>
            </a:r>
            <a:r>
              <a:rPr lang="en-US" sz="1600">
                <a:latin typeface="Arial"/>
                <a:cs typeface="Arial"/>
              </a:rPr>
              <a:t>, </a:t>
            </a:r>
            <a:r>
              <a:rPr lang="en-US" sz="1600" b="1">
                <a:latin typeface="Arial"/>
                <a:cs typeface="Arial"/>
              </a:rPr>
              <a:t>the best value to business</a:t>
            </a:r>
            <a:r>
              <a:rPr lang="en-US" sz="1600">
                <a:latin typeface="Arial"/>
                <a:cs typeface="Arial"/>
              </a:rPr>
              <a:t>, and is </a:t>
            </a:r>
            <a:r>
              <a:rPr lang="en-US" sz="1600" b="1">
                <a:latin typeface="Arial"/>
                <a:cs typeface="Arial"/>
              </a:rPr>
              <a:t>achievable in 12 to 16 weeks </a:t>
            </a:r>
            <a:r>
              <a:rPr lang="en-US" sz="1600">
                <a:latin typeface="Arial"/>
                <a:cs typeface="Arial"/>
              </a:rPr>
              <a:t>of development.</a:t>
            </a: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0F7EBF3C-BDFB-1000-D935-07FEE1D43A10}"/>
              </a:ext>
            </a:extLst>
          </p:cNvPr>
          <p:cNvGrpSpPr/>
          <p:nvPr/>
        </p:nvGrpSpPr>
        <p:grpSpPr>
          <a:xfrm>
            <a:off x="477680" y="2799761"/>
            <a:ext cx="10891046" cy="2621807"/>
            <a:chOff x="477680" y="2719282"/>
            <a:chExt cx="10891046" cy="2621807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51" name="Rectangle: Folded Corner 50">
              <a:extLst>
                <a:ext uri="{FF2B5EF4-FFF2-40B4-BE49-F238E27FC236}">
                  <a16:creationId xmlns:a16="http://schemas.microsoft.com/office/drawing/2014/main" id="{3AF8A1D7-97F0-5311-3DF6-A476C0FF1135}"/>
                </a:ext>
              </a:extLst>
            </p:cNvPr>
            <p:cNvSpPr/>
            <p:nvPr/>
          </p:nvSpPr>
          <p:spPr>
            <a:xfrm>
              <a:off x="3230879" y="2719282"/>
              <a:ext cx="8137847" cy="2621807"/>
            </a:xfrm>
            <a:prstGeom prst="foldedCorner">
              <a:avLst/>
            </a:prstGeom>
            <a:solidFill>
              <a:srgbClr val="F3F3F3"/>
            </a:solidFill>
            <a:ln w="6350" cap="sq" cmpd="sng" algn="ctr">
              <a:solidFill>
                <a:schemeClr val="bg2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24148CF4-210A-B60F-A6D9-3E4CC008CF30}"/>
                </a:ext>
              </a:extLst>
            </p:cNvPr>
            <p:cNvSpPr>
              <a:spLocks/>
            </p:cNvSpPr>
            <p:nvPr/>
          </p:nvSpPr>
          <p:spPr>
            <a:xfrm>
              <a:off x="5527812" y="3810234"/>
              <a:ext cx="2163068" cy="1399644"/>
            </a:xfrm>
            <a:prstGeom prst="rect">
              <a:avLst/>
            </a:prstGeom>
            <a:no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CA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ptos"/>
                  <a:ea typeface="+mn-ea"/>
                  <a:cs typeface="+mn-cs"/>
                </a:rPr>
                <a:t>Interactive </a:t>
              </a:r>
              <a:r>
                <a:rPr lang="en-CA" sz="1600" b="1" kern="0" dirty="0">
                  <a:solidFill>
                    <a:schemeClr val="tx2"/>
                  </a:solidFill>
                  <a:latin typeface="Aptos"/>
                </a:rPr>
                <a:t>guidance</a:t>
              </a:r>
              <a:endParaRPr kumimoji="0" lang="en-CA" sz="16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ptos"/>
                <a:ea typeface="+mn-ea"/>
                <a:cs typeface="+mn-cs"/>
              </a:endParaRP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CA" sz="1600" b="1" kern="0" dirty="0">
                  <a:solidFill>
                    <a:schemeClr val="tx2"/>
                  </a:solidFill>
                  <a:latin typeface="Aptos"/>
                </a:rPr>
                <a:t>Print &amp; share pages</a:t>
              </a:r>
              <a:endParaRPr lang="en-CA" sz="16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ptos"/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A4FB3B4D-AF2E-C771-419F-959A65AD4EBE}"/>
                </a:ext>
              </a:extLst>
            </p:cNvPr>
            <p:cNvSpPr>
              <a:spLocks/>
            </p:cNvSpPr>
            <p:nvPr/>
          </p:nvSpPr>
          <p:spPr>
            <a:xfrm>
              <a:off x="3437724" y="3801756"/>
              <a:ext cx="1918184" cy="656842"/>
            </a:xfrm>
            <a:prstGeom prst="rect">
              <a:avLst/>
            </a:prstGeom>
            <a:no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CA" sz="1600" b="1" i="0" u="none" strike="noStrike" kern="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ptos"/>
                  <a:ea typeface="+mn-ea"/>
                  <a:cs typeface="+mn-cs"/>
                </a:rPr>
                <a:t>Landing page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C479CCF9-FAB5-6979-D8DC-72144B625E26}"/>
                </a:ext>
              </a:extLst>
            </p:cNvPr>
            <p:cNvSpPr/>
            <p:nvPr/>
          </p:nvSpPr>
          <p:spPr>
            <a:xfrm>
              <a:off x="477680" y="2719815"/>
              <a:ext cx="2753200" cy="2620228"/>
            </a:xfrm>
            <a:prstGeom prst="rect">
              <a:avLst/>
            </a:prstGeom>
            <a:solidFill>
              <a:schemeClr val="accent1"/>
            </a:solidFill>
            <a:ln w="6350" cap="sq" cmpd="sng" algn="ctr">
              <a:solidFill>
                <a:srgbClr val="4472C4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80000" tIns="180000" rIns="180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600">
                  <a:solidFill>
                    <a:schemeClr val="bg1"/>
                  </a:solidFill>
                  <a:latin typeface="Aptos"/>
                  <a:cs typeface="Arial"/>
                </a:rPr>
                <a:t>Our MVP will be a hub on Canada.ca that centralizes information about death life event and provides clients with seamless navigation.</a:t>
              </a:r>
            </a:p>
            <a:p>
              <a:endParaRPr lang="en-US" sz="1600" b="1">
                <a:solidFill>
                  <a:schemeClr val="bg1"/>
                </a:solidFill>
                <a:latin typeface="Aptos"/>
                <a:cs typeface="Arial"/>
              </a:endParaRPr>
            </a:p>
            <a:p>
              <a:r>
                <a:rPr lang="en-US" sz="1600">
                  <a:solidFill>
                    <a:schemeClr val="bg1"/>
                  </a:solidFill>
                  <a:latin typeface="Aptos"/>
                  <a:cs typeface="Arial"/>
                </a:rPr>
                <a:t>These will be the </a:t>
              </a:r>
              <a:r>
                <a:rPr lang="en-US" sz="1600" b="1">
                  <a:solidFill>
                    <a:schemeClr val="bg1"/>
                  </a:solidFill>
                  <a:latin typeface="Aptos"/>
                  <a:cs typeface="Arial"/>
                </a:rPr>
                <a:t>first five features</a:t>
              </a:r>
              <a:r>
                <a:rPr lang="en-US" sz="1600">
                  <a:solidFill>
                    <a:schemeClr val="bg1"/>
                  </a:solidFill>
                  <a:latin typeface="Aptos"/>
                  <a:cs typeface="Arial"/>
                </a:rPr>
                <a:t> on the Hub:</a:t>
              </a:r>
            </a:p>
          </p:txBody>
        </p: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F29394AC-2DB9-CCA8-782E-B5DC9BE80D29}"/>
                </a:ext>
              </a:extLst>
            </p:cNvPr>
            <p:cNvGrpSpPr/>
            <p:nvPr/>
          </p:nvGrpSpPr>
          <p:grpSpPr>
            <a:xfrm>
              <a:off x="3437724" y="2903653"/>
              <a:ext cx="7780592" cy="525347"/>
              <a:chOff x="633903" y="2287834"/>
              <a:chExt cx="7780592" cy="525347"/>
            </a:xfrm>
          </p:grpSpPr>
          <p:sp>
            <p:nvSpPr>
              <p:cNvPr id="123" name="Arrow: Pentagon 122">
                <a:extLst>
                  <a:ext uri="{FF2B5EF4-FFF2-40B4-BE49-F238E27FC236}">
                    <a16:creationId xmlns:a16="http://schemas.microsoft.com/office/drawing/2014/main" id="{75E83F01-62CE-0A4A-1017-2E39CB0DE107}"/>
                  </a:ext>
                </a:extLst>
              </p:cNvPr>
              <p:cNvSpPr/>
              <p:nvPr/>
            </p:nvSpPr>
            <p:spPr>
              <a:xfrm>
                <a:off x="6227796" y="2288994"/>
                <a:ext cx="2186699" cy="518895"/>
              </a:xfrm>
              <a:prstGeom prst="homePlate">
                <a:avLst/>
              </a:prstGeom>
              <a:solidFill>
                <a:srgbClr val="A38CC6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CA" sz="1600">
                    <a:latin typeface="Aptos" panose="020B0004020202020204" pitchFamily="34" charset="0"/>
                  </a:rPr>
                  <a:t>Cancel</a:t>
                </a:r>
              </a:p>
            </p:txBody>
          </p:sp>
          <p:sp>
            <p:nvSpPr>
              <p:cNvPr id="122" name="Arrow: Pentagon 121">
                <a:extLst>
                  <a:ext uri="{FF2B5EF4-FFF2-40B4-BE49-F238E27FC236}">
                    <a16:creationId xmlns:a16="http://schemas.microsoft.com/office/drawing/2014/main" id="{C611AAAA-8B38-54E9-435E-02DC35AA279E}"/>
                  </a:ext>
                </a:extLst>
              </p:cNvPr>
              <p:cNvSpPr/>
              <p:nvPr/>
            </p:nvSpPr>
            <p:spPr>
              <a:xfrm>
                <a:off x="4313819" y="2287834"/>
                <a:ext cx="2186699" cy="518895"/>
              </a:xfrm>
              <a:prstGeom prst="homePlate">
                <a:avLst/>
              </a:prstGeom>
              <a:solidFill>
                <a:srgbClr val="61458C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CA" sz="1600">
                    <a:latin typeface="Aptos" panose="020B0004020202020204" pitchFamily="34" charset="0"/>
                  </a:rPr>
                  <a:t>Apply</a:t>
                </a:r>
              </a:p>
            </p:txBody>
          </p:sp>
          <p:sp>
            <p:nvSpPr>
              <p:cNvPr id="120" name="Arrow: Pentagon 119">
                <a:extLst>
                  <a:ext uri="{FF2B5EF4-FFF2-40B4-BE49-F238E27FC236}">
                    <a16:creationId xmlns:a16="http://schemas.microsoft.com/office/drawing/2014/main" id="{B8A672A9-05FB-BBA8-C256-6B58C7E4BEBF}"/>
                  </a:ext>
                </a:extLst>
              </p:cNvPr>
              <p:cNvSpPr/>
              <p:nvPr/>
            </p:nvSpPr>
            <p:spPr>
              <a:xfrm>
                <a:off x="2552087" y="2294286"/>
                <a:ext cx="2186699" cy="518895"/>
              </a:xfrm>
              <a:prstGeom prst="homePlate">
                <a:avLst/>
              </a:prstGeom>
              <a:solidFill>
                <a:schemeClr val="tx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CA" sz="1600">
                    <a:latin typeface="Aptos" panose="020B0004020202020204" pitchFamily="34" charset="0"/>
                  </a:rPr>
                  <a:t>Inform</a:t>
                </a:r>
              </a:p>
            </p:txBody>
          </p:sp>
          <p:sp>
            <p:nvSpPr>
              <p:cNvPr id="121" name="Arrow: Pentagon 120">
                <a:extLst>
                  <a:ext uri="{FF2B5EF4-FFF2-40B4-BE49-F238E27FC236}">
                    <a16:creationId xmlns:a16="http://schemas.microsoft.com/office/drawing/2014/main" id="{3481C6A5-205E-D3E3-7763-87489DE3A15C}"/>
                  </a:ext>
                </a:extLst>
              </p:cNvPr>
              <p:cNvSpPr/>
              <p:nvPr/>
            </p:nvSpPr>
            <p:spPr>
              <a:xfrm>
                <a:off x="633903" y="2292952"/>
                <a:ext cx="2186698" cy="514108"/>
              </a:xfrm>
              <a:prstGeom prst="homePlat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CA" sz="1600">
                    <a:latin typeface="Aptos" panose="020B0004020202020204" pitchFamily="34" charset="0"/>
                  </a:rPr>
                  <a:t>Awareness</a:t>
                </a:r>
              </a:p>
            </p:txBody>
          </p:sp>
        </p:grp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C7F27365-9B05-F345-EE10-5F9F59592F9E}"/>
                </a:ext>
              </a:extLst>
            </p:cNvPr>
            <p:cNvSpPr>
              <a:spLocks/>
            </p:cNvSpPr>
            <p:nvPr/>
          </p:nvSpPr>
          <p:spPr>
            <a:xfrm>
              <a:off x="8222805" y="3810234"/>
              <a:ext cx="2163068" cy="1399644"/>
            </a:xfrm>
            <a:prstGeom prst="rect">
              <a:avLst/>
            </a:prstGeom>
            <a:noFill/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CA" sz="1600" b="1" i="0" u="none" strike="noStrike" kern="0" cap="none" spc="0" normalizeH="0" baseline="0" noProof="0">
                  <a:ln>
                    <a:noFill/>
                  </a:ln>
                  <a:solidFill>
                    <a:srgbClr val="61458C"/>
                  </a:solidFill>
                  <a:effectLst/>
                  <a:uLnTx/>
                  <a:uFillTx/>
                  <a:latin typeface="Aptos"/>
                  <a:ea typeface="+mn-ea"/>
                  <a:cs typeface="+mn-cs"/>
                </a:rPr>
                <a:t>Personalized checklist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CA" sz="1600" b="1" kern="0">
                  <a:solidFill>
                    <a:srgbClr val="61458C"/>
                  </a:solidFill>
                  <a:latin typeface="Aptos"/>
                </a:rPr>
                <a:t>Curated links</a:t>
              </a:r>
              <a:endParaRPr kumimoji="0" lang="en-CA" sz="1600" b="1" i="0" u="none" strike="noStrike" kern="0" cap="none" spc="0" normalizeH="0" baseline="0" noProof="0">
                <a:ln>
                  <a:noFill/>
                </a:ln>
                <a:solidFill>
                  <a:srgbClr val="61458C"/>
                </a:solidFill>
                <a:effectLst/>
                <a:uLnTx/>
                <a:uFillTx/>
                <a:latin typeface="Aptos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49085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>
            <a:extLst>
              <a:ext uri="{FF2B5EF4-FFF2-40B4-BE49-F238E27FC236}">
                <a16:creationId xmlns:a16="http://schemas.microsoft.com/office/drawing/2014/main" id="{BC6013ED-4DE4-76F1-9F74-CA0D6D966F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614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Rectangle 21">
            <a:extLst>
              <a:ext uri="{FF2B5EF4-FFF2-40B4-BE49-F238E27FC236}">
                <a16:creationId xmlns:a16="http://schemas.microsoft.com/office/drawing/2014/main" id="{D7B70A0D-6C25-8FD4-EAE0-2600F3EBD9C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C6B7DB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B7C524A7-E517-749D-B2B9-E1E582F7F186}"/>
              </a:ext>
            </a:extLst>
          </p:cNvPr>
          <p:cNvSpPr txBox="1">
            <a:spLocks/>
          </p:cNvSpPr>
          <p:nvPr/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AC3F618-7EE1-0849-8880-CB07A5842168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algn="r">
                <a:defRPr/>
              </a:pPr>
              <a:t>12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42608AC-1738-12F1-1B0B-7727947BB379}"/>
              </a:ext>
            </a:extLst>
          </p:cNvPr>
          <p:cNvSpPr txBox="1">
            <a:spLocks/>
          </p:cNvSpPr>
          <p:nvPr/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LLO Journey Lab MVP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064C822E-81BF-8195-34B1-D86AFA1E6A12}"/>
              </a:ext>
            </a:extLst>
          </p:cNvPr>
          <p:cNvSpPr txBox="1">
            <a:spLocks/>
          </p:cNvSpPr>
          <p:nvPr/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i="0" kern="1200">
                <a:solidFill>
                  <a:srgbClr val="175676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CA"/>
              <a:t>Helping clients understand what to do when someone die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F9CA036-EC66-6E94-AEFA-B5C1704FBCC3}"/>
              </a:ext>
            </a:extLst>
          </p:cNvPr>
          <p:cNvGrpSpPr/>
          <p:nvPr/>
        </p:nvGrpSpPr>
        <p:grpSpPr>
          <a:xfrm rot="17712934" flipH="1">
            <a:off x="734166" y="4979298"/>
            <a:ext cx="1102639" cy="2202026"/>
            <a:chOff x="11066666" y="1694661"/>
            <a:chExt cx="1102639" cy="2202026"/>
          </a:xfrm>
          <a:solidFill>
            <a:srgbClr val="A38CC6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0F27418-C78F-2CC9-289D-633BC96C9E0A}"/>
                </a:ext>
              </a:extLst>
            </p:cNvPr>
            <p:cNvSpPr/>
            <p:nvPr/>
          </p:nvSpPr>
          <p:spPr>
            <a:xfrm rot="316174">
              <a:off x="11293639" y="2478040"/>
              <a:ext cx="308373" cy="308269"/>
            </a:xfrm>
            <a:custGeom>
              <a:avLst/>
              <a:gdLst>
                <a:gd name="connsiteX0" fmla="*/ 142780 w 285369"/>
                <a:gd name="connsiteY0" fmla="*/ 285274 h 285273"/>
                <a:gd name="connsiteX1" fmla="*/ 140208 w 285369"/>
                <a:gd name="connsiteY1" fmla="*/ 285274 h 285273"/>
                <a:gd name="connsiteX2" fmla="*/ 130873 w 285369"/>
                <a:gd name="connsiteY2" fmla="*/ 275558 h 285273"/>
                <a:gd name="connsiteX3" fmla="*/ 140398 w 285369"/>
                <a:gd name="connsiteY3" fmla="*/ 266224 h 285273"/>
                <a:gd name="connsiteX4" fmla="*/ 142684 w 285369"/>
                <a:gd name="connsiteY4" fmla="*/ 266224 h 285273"/>
                <a:gd name="connsiteX5" fmla="*/ 152305 w 285369"/>
                <a:gd name="connsiteY5" fmla="*/ 275749 h 285273"/>
                <a:gd name="connsiteX6" fmla="*/ 142875 w 285369"/>
                <a:gd name="connsiteY6" fmla="*/ 285274 h 285273"/>
                <a:gd name="connsiteX7" fmla="*/ 207264 w 285369"/>
                <a:gd name="connsiteY7" fmla="*/ 268605 h 285273"/>
                <a:gd name="connsiteX8" fmla="*/ 198882 w 285369"/>
                <a:gd name="connsiteY8" fmla="*/ 263652 h 285273"/>
                <a:gd name="connsiteX9" fmla="*/ 202597 w 285369"/>
                <a:gd name="connsiteY9" fmla="*/ 250698 h 285273"/>
                <a:gd name="connsiteX10" fmla="*/ 204501 w 285369"/>
                <a:gd name="connsiteY10" fmla="*/ 249650 h 285273"/>
                <a:gd name="connsiteX11" fmla="*/ 217551 w 285369"/>
                <a:gd name="connsiteY11" fmla="*/ 253079 h 285273"/>
                <a:gd name="connsiteX12" fmla="*/ 214122 w 285369"/>
                <a:gd name="connsiteY12" fmla="*/ 266129 h 285273"/>
                <a:gd name="connsiteX13" fmla="*/ 211836 w 285369"/>
                <a:gd name="connsiteY13" fmla="*/ 267367 h 285273"/>
                <a:gd name="connsiteX14" fmla="*/ 207264 w 285369"/>
                <a:gd name="connsiteY14" fmla="*/ 268510 h 285273"/>
                <a:gd name="connsiteX15" fmla="*/ 76295 w 285369"/>
                <a:gd name="connsiteY15" fmla="*/ 267557 h 285273"/>
                <a:gd name="connsiteX16" fmla="*/ 71533 w 285369"/>
                <a:gd name="connsiteY16" fmla="*/ 266319 h 285273"/>
                <a:gd name="connsiteX17" fmla="*/ 69247 w 285369"/>
                <a:gd name="connsiteY17" fmla="*/ 264985 h 285273"/>
                <a:gd name="connsiteX18" fmla="*/ 66008 w 285369"/>
                <a:gd name="connsiteY18" fmla="*/ 251936 h 285273"/>
                <a:gd name="connsiteX19" fmla="*/ 79057 w 285369"/>
                <a:gd name="connsiteY19" fmla="*/ 248698 h 285273"/>
                <a:gd name="connsiteX20" fmla="*/ 80963 w 285369"/>
                <a:gd name="connsiteY20" fmla="*/ 249841 h 285273"/>
                <a:gd name="connsiteX21" fmla="*/ 84487 w 285369"/>
                <a:gd name="connsiteY21" fmla="*/ 262890 h 285273"/>
                <a:gd name="connsiteX22" fmla="*/ 76200 w 285369"/>
                <a:gd name="connsiteY22" fmla="*/ 267653 h 285273"/>
                <a:gd name="connsiteX23" fmla="*/ 256889 w 285369"/>
                <a:gd name="connsiteY23" fmla="*/ 220789 h 285273"/>
                <a:gd name="connsiteX24" fmla="*/ 251936 w 285369"/>
                <a:gd name="connsiteY24" fmla="*/ 219361 h 285273"/>
                <a:gd name="connsiteX25" fmla="*/ 248793 w 285369"/>
                <a:gd name="connsiteY25" fmla="*/ 206312 h 285273"/>
                <a:gd name="connsiteX26" fmla="*/ 249936 w 285369"/>
                <a:gd name="connsiteY26" fmla="*/ 204407 h 285273"/>
                <a:gd name="connsiteX27" fmla="*/ 262985 w 285369"/>
                <a:gd name="connsiteY27" fmla="*/ 200882 h 285273"/>
                <a:gd name="connsiteX28" fmla="*/ 266509 w 285369"/>
                <a:gd name="connsiteY28" fmla="*/ 213932 h 285273"/>
                <a:gd name="connsiteX29" fmla="*/ 265176 w 285369"/>
                <a:gd name="connsiteY29" fmla="*/ 216217 h 285273"/>
                <a:gd name="connsiteX30" fmla="*/ 256984 w 285369"/>
                <a:gd name="connsiteY30" fmla="*/ 220789 h 285273"/>
                <a:gd name="connsiteX31" fmla="*/ 27527 w 285369"/>
                <a:gd name="connsiteY31" fmla="*/ 218980 h 285273"/>
                <a:gd name="connsiteX32" fmla="*/ 19241 w 285369"/>
                <a:gd name="connsiteY32" fmla="*/ 214217 h 285273"/>
                <a:gd name="connsiteX33" fmla="*/ 18002 w 285369"/>
                <a:gd name="connsiteY33" fmla="*/ 212026 h 285273"/>
                <a:gd name="connsiteX34" fmla="*/ 21717 w 285369"/>
                <a:gd name="connsiteY34" fmla="*/ 199072 h 285273"/>
                <a:gd name="connsiteX35" fmla="*/ 34671 w 285369"/>
                <a:gd name="connsiteY35" fmla="*/ 202787 h 285273"/>
                <a:gd name="connsiteX36" fmla="*/ 35719 w 285369"/>
                <a:gd name="connsiteY36" fmla="*/ 204692 h 285273"/>
                <a:gd name="connsiteX37" fmla="*/ 32290 w 285369"/>
                <a:gd name="connsiteY37" fmla="*/ 217742 h 285273"/>
                <a:gd name="connsiteX38" fmla="*/ 27527 w 285369"/>
                <a:gd name="connsiteY38" fmla="*/ 219075 h 285273"/>
                <a:gd name="connsiteX39" fmla="*/ 275844 w 285369"/>
                <a:gd name="connsiteY39" fmla="*/ 154591 h 285273"/>
                <a:gd name="connsiteX40" fmla="*/ 275749 w 285369"/>
                <a:gd name="connsiteY40" fmla="*/ 154591 h 285273"/>
                <a:gd name="connsiteX41" fmla="*/ 266319 w 285369"/>
                <a:gd name="connsiteY41" fmla="*/ 144971 h 285273"/>
                <a:gd name="connsiteX42" fmla="*/ 266319 w 285369"/>
                <a:gd name="connsiteY42" fmla="*/ 142684 h 285273"/>
                <a:gd name="connsiteX43" fmla="*/ 275844 w 285369"/>
                <a:gd name="connsiteY43" fmla="*/ 132874 h 285273"/>
                <a:gd name="connsiteX44" fmla="*/ 285369 w 285369"/>
                <a:gd name="connsiteY44" fmla="*/ 142113 h 285273"/>
                <a:gd name="connsiteX45" fmla="*/ 285369 w 285369"/>
                <a:gd name="connsiteY45" fmla="*/ 145161 h 285273"/>
                <a:gd name="connsiteX46" fmla="*/ 275844 w 285369"/>
                <a:gd name="connsiteY46" fmla="*/ 154591 h 285273"/>
                <a:gd name="connsiteX47" fmla="*/ 9525 w 285369"/>
                <a:gd name="connsiteY47" fmla="*/ 152305 h 285273"/>
                <a:gd name="connsiteX48" fmla="*/ 0 w 285369"/>
                <a:gd name="connsiteY48" fmla="*/ 142875 h 285273"/>
                <a:gd name="connsiteX49" fmla="*/ 0 w 285369"/>
                <a:gd name="connsiteY49" fmla="*/ 140303 h 285273"/>
                <a:gd name="connsiteX50" fmla="*/ 9620 w 285369"/>
                <a:gd name="connsiteY50" fmla="*/ 130874 h 285273"/>
                <a:gd name="connsiteX51" fmla="*/ 19050 w 285369"/>
                <a:gd name="connsiteY51" fmla="*/ 140494 h 285273"/>
                <a:gd name="connsiteX52" fmla="*/ 19050 w 285369"/>
                <a:gd name="connsiteY52" fmla="*/ 142494 h 285273"/>
                <a:gd name="connsiteX53" fmla="*/ 9525 w 285369"/>
                <a:gd name="connsiteY53" fmla="*/ 152114 h 285273"/>
                <a:gd name="connsiteX54" fmla="*/ 258985 w 285369"/>
                <a:gd name="connsiteY54" fmla="*/ 87249 h 285273"/>
                <a:gd name="connsiteX55" fmla="*/ 250698 w 285369"/>
                <a:gd name="connsiteY55" fmla="*/ 82391 h 285273"/>
                <a:gd name="connsiteX56" fmla="*/ 249555 w 285369"/>
                <a:gd name="connsiteY56" fmla="*/ 80486 h 285273"/>
                <a:gd name="connsiteX57" fmla="*/ 252984 w 285369"/>
                <a:gd name="connsiteY57" fmla="*/ 67437 h 285273"/>
                <a:gd name="connsiteX58" fmla="*/ 266033 w 285369"/>
                <a:gd name="connsiteY58" fmla="*/ 70866 h 285273"/>
                <a:gd name="connsiteX59" fmla="*/ 267271 w 285369"/>
                <a:gd name="connsiteY59" fmla="*/ 73057 h 285273"/>
                <a:gd name="connsiteX60" fmla="*/ 263652 w 285369"/>
                <a:gd name="connsiteY60" fmla="*/ 86011 h 285273"/>
                <a:gd name="connsiteX61" fmla="*/ 258985 w 285369"/>
                <a:gd name="connsiteY61" fmla="*/ 87249 h 285273"/>
                <a:gd name="connsiteX62" fmla="*/ 27146 w 285369"/>
                <a:gd name="connsiteY62" fmla="*/ 85916 h 285273"/>
                <a:gd name="connsiteX63" fmla="*/ 22384 w 285369"/>
                <a:gd name="connsiteY63" fmla="*/ 84677 h 285273"/>
                <a:gd name="connsiteX64" fmla="*/ 18859 w 285369"/>
                <a:gd name="connsiteY64" fmla="*/ 71628 h 285273"/>
                <a:gd name="connsiteX65" fmla="*/ 20193 w 285369"/>
                <a:gd name="connsiteY65" fmla="*/ 69437 h 285273"/>
                <a:gd name="connsiteX66" fmla="*/ 33242 w 285369"/>
                <a:gd name="connsiteY66" fmla="*/ 66199 h 285273"/>
                <a:gd name="connsiteX67" fmla="*/ 36481 w 285369"/>
                <a:gd name="connsiteY67" fmla="*/ 79248 h 285273"/>
                <a:gd name="connsiteX68" fmla="*/ 35338 w 285369"/>
                <a:gd name="connsiteY68" fmla="*/ 81153 h 285273"/>
                <a:gd name="connsiteX69" fmla="*/ 27051 w 285369"/>
                <a:gd name="connsiteY69" fmla="*/ 85916 h 285273"/>
                <a:gd name="connsiteX70" fmla="*/ 210884 w 285369"/>
                <a:gd name="connsiteY70" fmla="*/ 37909 h 285273"/>
                <a:gd name="connsiteX71" fmla="*/ 206026 w 285369"/>
                <a:gd name="connsiteY71" fmla="*/ 36576 h 285273"/>
                <a:gd name="connsiteX72" fmla="*/ 204121 w 285369"/>
                <a:gd name="connsiteY72" fmla="*/ 35433 h 285273"/>
                <a:gd name="connsiteX73" fmla="*/ 200596 w 285369"/>
                <a:gd name="connsiteY73" fmla="*/ 22384 h 285273"/>
                <a:gd name="connsiteX74" fmla="*/ 213550 w 285369"/>
                <a:gd name="connsiteY74" fmla="*/ 18859 h 285273"/>
                <a:gd name="connsiteX75" fmla="*/ 215836 w 285369"/>
                <a:gd name="connsiteY75" fmla="*/ 20193 h 285273"/>
                <a:gd name="connsiteX76" fmla="*/ 219075 w 285369"/>
                <a:gd name="connsiteY76" fmla="*/ 33242 h 285273"/>
                <a:gd name="connsiteX77" fmla="*/ 210884 w 285369"/>
                <a:gd name="connsiteY77" fmla="*/ 37814 h 285273"/>
                <a:gd name="connsiteX78" fmla="*/ 75724 w 285369"/>
                <a:gd name="connsiteY78" fmla="*/ 37052 h 285273"/>
                <a:gd name="connsiteX79" fmla="*/ 67437 w 285369"/>
                <a:gd name="connsiteY79" fmla="*/ 32290 h 285273"/>
                <a:gd name="connsiteX80" fmla="*/ 70866 w 285369"/>
                <a:gd name="connsiteY80" fmla="*/ 19241 h 285273"/>
                <a:gd name="connsiteX81" fmla="*/ 73057 w 285369"/>
                <a:gd name="connsiteY81" fmla="*/ 18002 h 285273"/>
                <a:gd name="connsiteX82" fmla="*/ 86010 w 285369"/>
                <a:gd name="connsiteY82" fmla="*/ 21622 h 285273"/>
                <a:gd name="connsiteX83" fmla="*/ 82391 w 285369"/>
                <a:gd name="connsiteY83" fmla="*/ 34576 h 285273"/>
                <a:gd name="connsiteX84" fmla="*/ 80486 w 285369"/>
                <a:gd name="connsiteY84" fmla="*/ 35719 h 285273"/>
                <a:gd name="connsiteX85" fmla="*/ 75724 w 285369"/>
                <a:gd name="connsiteY85" fmla="*/ 37052 h 285273"/>
                <a:gd name="connsiteX86" fmla="*/ 144589 w 285369"/>
                <a:gd name="connsiteY86" fmla="*/ 19050 h 285273"/>
                <a:gd name="connsiteX87" fmla="*/ 142589 w 285369"/>
                <a:gd name="connsiteY87" fmla="*/ 19050 h 285273"/>
                <a:gd name="connsiteX88" fmla="*/ 132874 w 285369"/>
                <a:gd name="connsiteY88" fmla="*/ 9525 h 285273"/>
                <a:gd name="connsiteX89" fmla="*/ 142208 w 285369"/>
                <a:gd name="connsiteY89" fmla="*/ 0 h 285273"/>
                <a:gd name="connsiteX90" fmla="*/ 144780 w 285369"/>
                <a:gd name="connsiteY90" fmla="*/ 0 h 285273"/>
                <a:gd name="connsiteX91" fmla="*/ 154210 w 285369"/>
                <a:gd name="connsiteY91" fmla="*/ 9716 h 285273"/>
                <a:gd name="connsiteX92" fmla="*/ 144685 w 285369"/>
                <a:gd name="connsiteY92" fmla="*/ 19145 h 285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85369" h="285273">
                  <a:moveTo>
                    <a:pt x="142780" y="285274"/>
                  </a:moveTo>
                  <a:lnTo>
                    <a:pt x="140208" y="285274"/>
                  </a:lnTo>
                  <a:cubicBezTo>
                    <a:pt x="134969" y="285179"/>
                    <a:pt x="130778" y="280797"/>
                    <a:pt x="130873" y="275558"/>
                  </a:cubicBezTo>
                  <a:cubicBezTo>
                    <a:pt x="130969" y="270320"/>
                    <a:pt x="135255" y="266224"/>
                    <a:pt x="140398" y="266224"/>
                  </a:cubicBezTo>
                  <a:lnTo>
                    <a:pt x="142684" y="266224"/>
                  </a:lnTo>
                  <a:cubicBezTo>
                    <a:pt x="147923" y="266224"/>
                    <a:pt x="152305" y="270510"/>
                    <a:pt x="152305" y="275749"/>
                  </a:cubicBezTo>
                  <a:cubicBezTo>
                    <a:pt x="152305" y="280988"/>
                    <a:pt x="148114" y="285274"/>
                    <a:pt x="142875" y="285274"/>
                  </a:cubicBezTo>
                  <a:close/>
                  <a:moveTo>
                    <a:pt x="207264" y="268605"/>
                  </a:moveTo>
                  <a:cubicBezTo>
                    <a:pt x="203930" y="268605"/>
                    <a:pt x="200692" y="266795"/>
                    <a:pt x="198882" y="263652"/>
                  </a:cubicBezTo>
                  <a:cubicBezTo>
                    <a:pt x="196310" y="259080"/>
                    <a:pt x="198025" y="253270"/>
                    <a:pt x="202597" y="250698"/>
                  </a:cubicBezTo>
                  <a:lnTo>
                    <a:pt x="204501" y="249650"/>
                  </a:lnTo>
                  <a:cubicBezTo>
                    <a:pt x="208979" y="246983"/>
                    <a:pt x="214884" y="248507"/>
                    <a:pt x="217551" y="253079"/>
                  </a:cubicBezTo>
                  <a:cubicBezTo>
                    <a:pt x="220218" y="257651"/>
                    <a:pt x="218694" y="263462"/>
                    <a:pt x="214122" y="266129"/>
                  </a:cubicBezTo>
                  <a:lnTo>
                    <a:pt x="211836" y="267367"/>
                  </a:lnTo>
                  <a:cubicBezTo>
                    <a:pt x="210407" y="268224"/>
                    <a:pt x="208788" y="268510"/>
                    <a:pt x="207264" y="268510"/>
                  </a:cubicBezTo>
                  <a:close/>
                  <a:moveTo>
                    <a:pt x="76295" y="267557"/>
                  </a:moveTo>
                  <a:cubicBezTo>
                    <a:pt x="74676" y="267557"/>
                    <a:pt x="73057" y="267176"/>
                    <a:pt x="71533" y="266319"/>
                  </a:cubicBezTo>
                  <a:lnTo>
                    <a:pt x="69247" y="264985"/>
                  </a:lnTo>
                  <a:cubicBezTo>
                    <a:pt x="64770" y="262318"/>
                    <a:pt x="63246" y="256413"/>
                    <a:pt x="66008" y="251936"/>
                  </a:cubicBezTo>
                  <a:cubicBezTo>
                    <a:pt x="68770" y="247459"/>
                    <a:pt x="74581" y="245935"/>
                    <a:pt x="79057" y="248698"/>
                  </a:cubicBezTo>
                  <a:lnTo>
                    <a:pt x="80963" y="249841"/>
                  </a:lnTo>
                  <a:cubicBezTo>
                    <a:pt x="85534" y="252413"/>
                    <a:pt x="87153" y="258318"/>
                    <a:pt x="84487" y="262890"/>
                  </a:cubicBezTo>
                  <a:cubicBezTo>
                    <a:pt x="82772" y="265938"/>
                    <a:pt x="79534" y="267653"/>
                    <a:pt x="76200" y="267653"/>
                  </a:cubicBezTo>
                  <a:close/>
                  <a:moveTo>
                    <a:pt x="256889" y="220789"/>
                  </a:moveTo>
                  <a:cubicBezTo>
                    <a:pt x="255175" y="220789"/>
                    <a:pt x="253460" y="220313"/>
                    <a:pt x="251936" y="219361"/>
                  </a:cubicBezTo>
                  <a:cubicBezTo>
                    <a:pt x="247459" y="216599"/>
                    <a:pt x="246031" y="210788"/>
                    <a:pt x="248793" y="206312"/>
                  </a:cubicBezTo>
                  <a:lnTo>
                    <a:pt x="249936" y="204407"/>
                  </a:lnTo>
                  <a:cubicBezTo>
                    <a:pt x="252603" y="199834"/>
                    <a:pt x="258413" y="198310"/>
                    <a:pt x="262985" y="200882"/>
                  </a:cubicBezTo>
                  <a:cubicBezTo>
                    <a:pt x="267557" y="203549"/>
                    <a:pt x="269081" y="209359"/>
                    <a:pt x="266509" y="213932"/>
                  </a:cubicBezTo>
                  <a:lnTo>
                    <a:pt x="265176" y="216217"/>
                  </a:lnTo>
                  <a:cubicBezTo>
                    <a:pt x="263366" y="219170"/>
                    <a:pt x="260223" y="220789"/>
                    <a:pt x="256984" y="220789"/>
                  </a:cubicBezTo>
                  <a:close/>
                  <a:moveTo>
                    <a:pt x="27527" y="218980"/>
                  </a:moveTo>
                  <a:cubicBezTo>
                    <a:pt x="24289" y="218980"/>
                    <a:pt x="21050" y="217265"/>
                    <a:pt x="19241" y="214217"/>
                  </a:cubicBezTo>
                  <a:lnTo>
                    <a:pt x="18002" y="212026"/>
                  </a:lnTo>
                  <a:cubicBezTo>
                    <a:pt x="15430" y="207454"/>
                    <a:pt x="17145" y="201644"/>
                    <a:pt x="21717" y="199072"/>
                  </a:cubicBezTo>
                  <a:cubicBezTo>
                    <a:pt x="26289" y="196501"/>
                    <a:pt x="32099" y="198215"/>
                    <a:pt x="34671" y="202787"/>
                  </a:cubicBezTo>
                  <a:lnTo>
                    <a:pt x="35719" y="204692"/>
                  </a:lnTo>
                  <a:cubicBezTo>
                    <a:pt x="38385" y="209264"/>
                    <a:pt x="36862" y="215075"/>
                    <a:pt x="32290" y="217742"/>
                  </a:cubicBezTo>
                  <a:cubicBezTo>
                    <a:pt x="30766" y="218599"/>
                    <a:pt x="29146" y="219075"/>
                    <a:pt x="27527" y="219075"/>
                  </a:cubicBezTo>
                  <a:close/>
                  <a:moveTo>
                    <a:pt x="275844" y="154591"/>
                  </a:moveTo>
                  <a:lnTo>
                    <a:pt x="275749" y="154591"/>
                  </a:lnTo>
                  <a:cubicBezTo>
                    <a:pt x="270510" y="154591"/>
                    <a:pt x="266224" y="150209"/>
                    <a:pt x="266319" y="144971"/>
                  </a:cubicBezTo>
                  <a:lnTo>
                    <a:pt x="266319" y="142684"/>
                  </a:lnTo>
                  <a:cubicBezTo>
                    <a:pt x="266319" y="137446"/>
                    <a:pt x="270605" y="132874"/>
                    <a:pt x="275844" y="132874"/>
                  </a:cubicBezTo>
                  <a:cubicBezTo>
                    <a:pt x="281083" y="132874"/>
                    <a:pt x="285369" y="136874"/>
                    <a:pt x="285369" y="142113"/>
                  </a:cubicBezTo>
                  <a:lnTo>
                    <a:pt x="285369" y="145161"/>
                  </a:lnTo>
                  <a:cubicBezTo>
                    <a:pt x="285369" y="150400"/>
                    <a:pt x="281083" y="154591"/>
                    <a:pt x="275844" y="154591"/>
                  </a:cubicBezTo>
                  <a:close/>
                  <a:moveTo>
                    <a:pt x="9525" y="152305"/>
                  </a:moveTo>
                  <a:cubicBezTo>
                    <a:pt x="4286" y="152305"/>
                    <a:pt x="0" y="148209"/>
                    <a:pt x="0" y="142875"/>
                  </a:cubicBezTo>
                  <a:lnTo>
                    <a:pt x="0" y="140303"/>
                  </a:lnTo>
                  <a:cubicBezTo>
                    <a:pt x="0" y="135064"/>
                    <a:pt x="4476" y="130492"/>
                    <a:pt x="9620" y="130874"/>
                  </a:cubicBezTo>
                  <a:cubicBezTo>
                    <a:pt x="14859" y="130874"/>
                    <a:pt x="19050" y="135255"/>
                    <a:pt x="19050" y="140494"/>
                  </a:cubicBezTo>
                  <a:lnTo>
                    <a:pt x="19050" y="142494"/>
                  </a:lnTo>
                  <a:cubicBezTo>
                    <a:pt x="19050" y="147733"/>
                    <a:pt x="14764" y="152114"/>
                    <a:pt x="9525" y="152114"/>
                  </a:cubicBezTo>
                  <a:close/>
                  <a:moveTo>
                    <a:pt x="258985" y="87249"/>
                  </a:moveTo>
                  <a:cubicBezTo>
                    <a:pt x="255651" y="87249"/>
                    <a:pt x="252413" y="85534"/>
                    <a:pt x="250698" y="82391"/>
                  </a:cubicBezTo>
                  <a:lnTo>
                    <a:pt x="249555" y="80486"/>
                  </a:lnTo>
                  <a:cubicBezTo>
                    <a:pt x="246888" y="75914"/>
                    <a:pt x="248412" y="70104"/>
                    <a:pt x="252984" y="67437"/>
                  </a:cubicBezTo>
                  <a:cubicBezTo>
                    <a:pt x="257460" y="64770"/>
                    <a:pt x="263366" y="66294"/>
                    <a:pt x="266033" y="70866"/>
                  </a:cubicBezTo>
                  <a:lnTo>
                    <a:pt x="267271" y="73057"/>
                  </a:lnTo>
                  <a:cubicBezTo>
                    <a:pt x="269843" y="77629"/>
                    <a:pt x="268224" y="83439"/>
                    <a:pt x="263652" y="86011"/>
                  </a:cubicBezTo>
                  <a:cubicBezTo>
                    <a:pt x="262223" y="86868"/>
                    <a:pt x="260604" y="87249"/>
                    <a:pt x="258985" y="87249"/>
                  </a:cubicBezTo>
                  <a:close/>
                  <a:moveTo>
                    <a:pt x="27146" y="85916"/>
                  </a:moveTo>
                  <a:cubicBezTo>
                    <a:pt x="25527" y="85916"/>
                    <a:pt x="23908" y="85534"/>
                    <a:pt x="22384" y="84677"/>
                  </a:cubicBezTo>
                  <a:cubicBezTo>
                    <a:pt x="17812" y="82105"/>
                    <a:pt x="16193" y="76200"/>
                    <a:pt x="18859" y="71628"/>
                  </a:cubicBezTo>
                  <a:lnTo>
                    <a:pt x="20193" y="69437"/>
                  </a:lnTo>
                  <a:cubicBezTo>
                    <a:pt x="22860" y="64960"/>
                    <a:pt x="28766" y="63437"/>
                    <a:pt x="33242" y="66199"/>
                  </a:cubicBezTo>
                  <a:cubicBezTo>
                    <a:pt x="37719" y="68866"/>
                    <a:pt x="39243" y="74771"/>
                    <a:pt x="36481" y="79248"/>
                  </a:cubicBezTo>
                  <a:lnTo>
                    <a:pt x="35338" y="81153"/>
                  </a:lnTo>
                  <a:cubicBezTo>
                    <a:pt x="33623" y="84201"/>
                    <a:pt x="30385" y="85916"/>
                    <a:pt x="27051" y="85916"/>
                  </a:cubicBezTo>
                  <a:close/>
                  <a:moveTo>
                    <a:pt x="210884" y="37909"/>
                  </a:moveTo>
                  <a:cubicBezTo>
                    <a:pt x="209169" y="37909"/>
                    <a:pt x="207550" y="37433"/>
                    <a:pt x="206026" y="36576"/>
                  </a:cubicBezTo>
                  <a:lnTo>
                    <a:pt x="204121" y="35433"/>
                  </a:lnTo>
                  <a:cubicBezTo>
                    <a:pt x="199549" y="32861"/>
                    <a:pt x="197929" y="26956"/>
                    <a:pt x="200596" y="22384"/>
                  </a:cubicBezTo>
                  <a:cubicBezTo>
                    <a:pt x="203168" y="17812"/>
                    <a:pt x="209074" y="16192"/>
                    <a:pt x="213550" y="18859"/>
                  </a:cubicBezTo>
                  <a:lnTo>
                    <a:pt x="215836" y="20193"/>
                  </a:lnTo>
                  <a:cubicBezTo>
                    <a:pt x="220313" y="22860"/>
                    <a:pt x="221837" y="28766"/>
                    <a:pt x="219075" y="33242"/>
                  </a:cubicBezTo>
                  <a:cubicBezTo>
                    <a:pt x="217265" y="36195"/>
                    <a:pt x="214122" y="37814"/>
                    <a:pt x="210884" y="37814"/>
                  </a:cubicBezTo>
                  <a:close/>
                  <a:moveTo>
                    <a:pt x="75724" y="37052"/>
                  </a:moveTo>
                  <a:cubicBezTo>
                    <a:pt x="72485" y="37052"/>
                    <a:pt x="69247" y="35338"/>
                    <a:pt x="67437" y="32290"/>
                  </a:cubicBezTo>
                  <a:cubicBezTo>
                    <a:pt x="64770" y="27718"/>
                    <a:pt x="66294" y="21908"/>
                    <a:pt x="70866" y="19241"/>
                  </a:cubicBezTo>
                  <a:lnTo>
                    <a:pt x="73057" y="18002"/>
                  </a:lnTo>
                  <a:cubicBezTo>
                    <a:pt x="77628" y="15430"/>
                    <a:pt x="83439" y="17050"/>
                    <a:pt x="86010" y="21622"/>
                  </a:cubicBezTo>
                  <a:cubicBezTo>
                    <a:pt x="88582" y="26194"/>
                    <a:pt x="86963" y="32004"/>
                    <a:pt x="82391" y="34576"/>
                  </a:cubicBezTo>
                  <a:lnTo>
                    <a:pt x="80486" y="35719"/>
                  </a:lnTo>
                  <a:cubicBezTo>
                    <a:pt x="78962" y="36576"/>
                    <a:pt x="77343" y="37052"/>
                    <a:pt x="75724" y="37052"/>
                  </a:cubicBezTo>
                  <a:close/>
                  <a:moveTo>
                    <a:pt x="144589" y="19050"/>
                  </a:moveTo>
                  <a:lnTo>
                    <a:pt x="142589" y="19050"/>
                  </a:lnTo>
                  <a:cubicBezTo>
                    <a:pt x="137350" y="19050"/>
                    <a:pt x="132874" y="14764"/>
                    <a:pt x="132874" y="9525"/>
                  </a:cubicBezTo>
                  <a:cubicBezTo>
                    <a:pt x="132874" y="4286"/>
                    <a:pt x="136874" y="0"/>
                    <a:pt x="142208" y="0"/>
                  </a:cubicBezTo>
                  <a:lnTo>
                    <a:pt x="144780" y="0"/>
                  </a:lnTo>
                  <a:cubicBezTo>
                    <a:pt x="150019" y="0"/>
                    <a:pt x="154210" y="4382"/>
                    <a:pt x="154210" y="9716"/>
                  </a:cubicBezTo>
                  <a:cubicBezTo>
                    <a:pt x="154210" y="14954"/>
                    <a:pt x="149923" y="19145"/>
                    <a:pt x="144685" y="191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F5D2E34-6154-480D-C4E8-73368AEACD0B}"/>
                </a:ext>
              </a:extLst>
            </p:cNvPr>
            <p:cNvSpPr/>
            <p:nvPr/>
          </p:nvSpPr>
          <p:spPr>
            <a:xfrm rot="316174">
              <a:off x="11344799" y="2529185"/>
              <a:ext cx="205857" cy="205857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5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5" y="0"/>
                    <a:pt x="190500" y="42645"/>
                    <a:pt x="190500" y="95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8109AACB-29E8-EB4B-C7AF-0873518DEE46}"/>
                </a:ext>
              </a:extLst>
            </p:cNvPr>
            <p:cNvSpPr/>
            <p:nvPr/>
          </p:nvSpPr>
          <p:spPr>
            <a:xfrm rot="316174">
              <a:off x="11769944" y="2356221"/>
              <a:ext cx="399361" cy="399258"/>
            </a:xfrm>
            <a:custGeom>
              <a:avLst/>
              <a:gdLst>
                <a:gd name="connsiteX0" fmla="*/ 184975 w 369569"/>
                <a:gd name="connsiteY0" fmla="*/ 369475 h 369474"/>
                <a:gd name="connsiteX1" fmla="*/ 182499 w 369569"/>
                <a:gd name="connsiteY1" fmla="*/ 369475 h 369474"/>
                <a:gd name="connsiteX2" fmla="*/ 173069 w 369569"/>
                <a:gd name="connsiteY2" fmla="*/ 359854 h 369474"/>
                <a:gd name="connsiteX3" fmla="*/ 182594 w 369569"/>
                <a:gd name="connsiteY3" fmla="*/ 350425 h 369474"/>
                <a:gd name="connsiteX4" fmla="*/ 184785 w 369569"/>
                <a:gd name="connsiteY4" fmla="*/ 350425 h 369474"/>
                <a:gd name="connsiteX5" fmla="*/ 194405 w 369569"/>
                <a:gd name="connsiteY5" fmla="*/ 359950 h 369474"/>
                <a:gd name="connsiteX6" fmla="*/ 184975 w 369569"/>
                <a:gd name="connsiteY6" fmla="*/ 369475 h 369474"/>
                <a:gd name="connsiteX7" fmla="*/ 249841 w 369569"/>
                <a:gd name="connsiteY7" fmla="*/ 356997 h 369474"/>
                <a:gd name="connsiteX8" fmla="*/ 240982 w 369569"/>
                <a:gd name="connsiteY8" fmla="*/ 350996 h 369474"/>
                <a:gd name="connsiteX9" fmla="*/ 246316 w 369569"/>
                <a:gd name="connsiteY9" fmla="*/ 338614 h 369474"/>
                <a:gd name="connsiteX10" fmla="*/ 248317 w 369569"/>
                <a:gd name="connsiteY10" fmla="*/ 337757 h 369474"/>
                <a:gd name="connsiteX11" fmla="*/ 260795 w 369569"/>
                <a:gd name="connsiteY11" fmla="*/ 342900 h 369474"/>
                <a:gd name="connsiteX12" fmla="*/ 255651 w 369569"/>
                <a:gd name="connsiteY12" fmla="*/ 355378 h 369474"/>
                <a:gd name="connsiteX13" fmla="*/ 253365 w 369569"/>
                <a:gd name="connsiteY13" fmla="*/ 356330 h 369474"/>
                <a:gd name="connsiteX14" fmla="*/ 249841 w 369569"/>
                <a:gd name="connsiteY14" fmla="*/ 356997 h 369474"/>
                <a:gd name="connsiteX15" fmla="*/ 117920 w 369569"/>
                <a:gd name="connsiteY15" fmla="*/ 356235 h 369474"/>
                <a:gd name="connsiteX16" fmla="*/ 114300 w 369569"/>
                <a:gd name="connsiteY16" fmla="*/ 355473 h 369474"/>
                <a:gd name="connsiteX17" fmla="*/ 111919 w 369569"/>
                <a:gd name="connsiteY17" fmla="*/ 354425 h 369474"/>
                <a:gd name="connsiteX18" fmla="*/ 106966 w 369569"/>
                <a:gd name="connsiteY18" fmla="*/ 341852 h 369474"/>
                <a:gd name="connsiteX19" fmla="*/ 119539 w 369569"/>
                <a:gd name="connsiteY19" fmla="*/ 336899 h 369474"/>
                <a:gd name="connsiteX20" fmla="*/ 121539 w 369569"/>
                <a:gd name="connsiteY20" fmla="*/ 337757 h 369474"/>
                <a:gd name="connsiteX21" fmla="*/ 126682 w 369569"/>
                <a:gd name="connsiteY21" fmla="*/ 350234 h 369474"/>
                <a:gd name="connsiteX22" fmla="*/ 117920 w 369569"/>
                <a:gd name="connsiteY22" fmla="*/ 356140 h 369474"/>
                <a:gd name="connsiteX23" fmla="*/ 307086 w 369569"/>
                <a:gd name="connsiteY23" fmla="*/ 319754 h 369474"/>
                <a:gd name="connsiteX24" fmla="*/ 300228 w 369569"/>
                <a:gd name="connsiteY24" fmla="*/ 316897 h 369474"/>
                <a:gd name="connsiteX25" fmla="*/ 300418 w 369569"/>
                <a:gd name="connsiteY25" fmla="*/ 303466 h 369474"/>
                <a:gd name="connsiteX26" fmla="*/ 302037 w 369569"/>
                <a:gd name="connsiteY26" fmla="*/ 301847 h 369474"/>
                <a:gd name="connsiteX27" fmla="*/ 315468 w 369569"/>
                <a:gd name="connsiteY27" fmla="*/ 301847 h 369474"/>
                <a:gd name="connsiteX28" fmla="*/ 315468 w 369569"/>
                <a:gd name="connsiteY28" fmla="*/ 315278 h 369474"/>
                <a:gd name="connsiteX29" fmla="*/ 313658 w 369569"/>
                <a:gd name="connsiteY29" fmla="*/ 316992 h 369474"/>
                <a:gd name="connsiteX30" fmla="*/ 306991 w 369569"/>
                <a:gd name="connsiteY30" fmla="*/ 319659 h 369474"/>
                <a:gd name="connsiteX31" fmla="*/ 61055 w 369569"/>
                <a:gd name="connsiteY31" fmla="*/ 318326 h 369474"/>
                <a:gd name="connsiteX32" fmla="*/ 54293 w 369569"/>
                <a:gd name="connsiteY32" fmla="*/ 315563 h 369474"/>
                <a:gd name="connsiteX33" fmla="*/ 52578 w 369569"/>
                <a:gd name="connsiteY33" fmla="*/ 313753 h 369474"/>
                <a:gd name="connsiteX34" fmla="*/ 52768 w 369569"/>
                <a:gd name="connsiteY34" fmla="*/ 300323 h 369474"/>
                <a:gd name="connsiteX35" fmla="*/ 66199 w 369569"/>
                <a:gd name="connsiteY35" fmla="*/ 300514 h 369474"/>
                <a:gd name="connsiteX36" fmla="*/ 67818 w 369569"/>
                <a:gd name="connsiteY36" fmla="*/ 302133 h 369474"/>
                <a:gd name="connsiteX37" fmla="*/ 67818 w 369569"/>
                <a:gd name="connsiteY37" fmla="*/ 315563 h 369474"/>
                <a:gd name="connsiteX38" fmla="*/ 61055 w 369569"/>
                <a:gd name="connsiteY38" fmla="*/ 318326 h 369474"/>
                <a:gd name="connsiteX39" fmla="*/ 345853 w 369569"/>
                <a:gd name="connsiteY39" fmla="*/ 263461 h 369474"/>
                <a:gd name="connsiteX40" fmla="*/ 342043 w 369569"/>
                <a:gd name="connsiteY40" fmla="*/ 262699 h 369474"/>
                <a:gd name="connsiteX41" fmla="*/ 337090 w 369569"/>
                <a:gd name="connsiteY41" fmla="*/ 250127 h 369474"/>
                <a:gd name="connsiteX42" fmla="*/ 337947 w 369569"/>
                <a:gd name="connsiteY42" fmla="*/ 248031 h 369474"/>
                <a:gd name="connsiteX43" fmla="*/ 350425 w 369569"/>
                <a:gd name="connsiteY43" fmla="*/ 242887 h 369474"/>
                <a:gd name="connsiteX44" fmla="*/ 355568 w 369569"/>
                <a:gd name="connsiteY44" fmla="*/ 255365 h 369474"/>
                <a:gd name="connsiteX45" fmla="*/ 354616 w 369569"/>
                <a:gd name="connsiteY45" fmla="*/ 257651 h 369474"/>
                <a:gd name="connsiteX46" fmla="*/ 345853 w 369569"/>
                <a:gd name="connsiteY46" fmla="*/ 263366 h 369474"/>
                <a:gd name="connsiteX47" fmla="*/ 22955 w 369569"/>
                <a:gd name="connsiteY47" fmla="*/ 261556 h 369474"/>
                <a:gd name="connsiteX48" fmla="*/ 14192 w 369569"/>
                <a:gd name="connsiteY48" fmla="*/ 255746 h 369474"/>
                <a:gd name="connsiteX49" fmla="*/ 13240 w 369569"/>
                <a:gd name="connsiteY49" fmla="*/ 253365 h 369474"/>
                <a:gd name="connsiteX50" fmla="*/ 18574 w 369569"/>
                <a:gd name="connsiteY50" fmla="*/ 240982 h 369474"/>
                <a:gd name="connsiteX51" fmla="*/ 30956 w 369569"/>
                <a:gd name="connsiteY51" fmla="*/ 246316 h 369474"/>
                <a:gd name="connsiteX52" fmla="*/ 31718 w 369569"/>
                <a:gd name="connsiteY52" fmla="*/ 248317 h 369474"/>
                <a:gd name="connsiteX53" fmla="*/ 26670 w 369569"/>
                <a:gd name="connsiteY53" fmla="*/ 260794 h 369474"/>
                <a:gd name="connsiteX54" fmla="*/ 22955 w 369569"/>
                <a:gd name="connsiteY54" fmla="*/ 261556 h 369474"/>
                <a:gd name="connsiteX55" fmla="*/ 360045 w 369569"/>
                <a:gd name="connsiteY55" fmla="*/ 196596 h 369474"/>
                <a:gd name="connsiteX56" fmla="*/ 359950 w 369569"/>
                <a:gd name="connsiteY56" fmla="*/ 196596 h 369474"/>
                <a:gd name="connsiteX57" fmla="*/ 350520 w 369569"/>
                <a:gd name="connsiteY57" fmla="*/ 186976 h 369474"/>
                <a:gd name="connsiteX58" fmla="*/ 350520 w 369569"/>
                <a:gd name="connsiteY58" fmla="*/ 184690 h 369474"/>
                <a:gd name="connsiteX59" fmla="*/ 360045 w 369569"/>
                <a:gd name="connsiteY59" fmla="*/ 174784 h 369474"/>
                <a:gd name="connsiteX60" fmla="*/ 369570 w 369569"/>
                <a:gd name="connsiteY60" fmla="*/ 183928 h 369474"/>
                <a:gd name="connsiteX61" fmla="*/ 369570 w 369569"/>
                <a:gd name="connsiteY61" fmla="*/ 187071 h 369474"/>
                <a:gd name="connsiteX62" fmla="*/ 360045 w 369569"/>
                <a:gd name="connsiteY62" fmla="*/ 196501 h 369474"/>
                <a:gd name="connsiteX63" fmla="*/ 9525 w 369569"/>
                <a:gd name="connsiteY63" fmla="*/ 194405 h 369474"/>
                <a:gd name="connsiteX64" fmla="*/ 0 w 369569"/>
                <a:gd name="connsiteY64" fmla="*/ 185071 h 369474"/>
                <a:gd name="connsiteX65" fmla="*/ 0 w 369569"/>
                <a:gd name="connsiteY65" fmla="*/ 182594 h 369474"/>
                <a:gd name="connsiteX66" fmla="*/ 9620 w 369569"/>
                <a:gd name="connsiteY66" fmla="*/ 173165 h 369474"/>
                <a:gd name="connsiteX67" fmla="*/ 19050 w 369569"/>
                <a:gd name="connsiteY67" fmla="*/ 182785 h 369474"/>
                <a:gd name="connsiteX68" fmla="*/ 19050 w 369569"/>
                <a:gd name="connsiteY68" fmla="*/ 184690 h 369474"/>
                <a:gd name="connsiteX69" fmla="*/ 9525 w 369569"/>
                <a:gd name="connsiteY69" fmla="*/ 194405 h 369474"/>
                <a:gd name="connsiteX70" fmla="*/ 347376 w 369569"/>
                <a:gd name="connsiteY70" fmla="*/ 128778 h 369474"/>
                <a:gd name="connsiteX71" fmla="*/ 338518 w 369569"/>
                <a:gd name="connsiteY71" fmla="*/ 122873 h 369474"/>
                <a:gd name="connsiteX72" fmla="*/ 337661 w 369569"/>
                <a:gd name="connsiteY72" fmla="*/ 120777 h 369474"/>
                <a:gd name="connsiteX73" fmla="*/ 342709 w 369569"/>
                <a:gd name="connsiteY73" fmla="*/ 108299 h 369474"/>
                <a:gd name="connsiteX74" fmla="*/ 355187 w 369569"/>
                <a:gd name="connsiteY74" fmla="*/ 113348 h 369474"/>
                <a:gd name="connsiteX75" fmla="*/ 356140 w 369569"/>
                <a:gd name="connsiteY75" fmla="*/ 115633 h 369474"/>
                <a:gd name="connsiteX76" fmla="*/ 350901 w 369569"/>
                <a:gd name="connsiteY76" fmla="*/ 128016 h 369474"/>
                <a:gd name="connsiteX77" fmla="*/ 347281 w 369569"/>
                <a:gd name="connsiteY77" fmla="*/ 128683 h 369474"/>
                <a:gd name="connsiteX78" fmla="*/ 22670 w 369569"/>
                <a:gd name="connsiteY78" fmla="*/ 127540 h 369474"/>
                <a:gd name="connsiteX79" fmla="*/ 18955 w 369569"/>
                <a:gd name="connsiteY79" fmla="*/ 126778 h 369474"/>
                <a:gd name="connsiteX80" fmla="*/ 13811 w 369569"/>
                <a:gd name="connsiteY80" fmla="*/ 114300 h 369474"/>
                <a:gd name="connsiteX81" fmla="*/ 14764 w 369569"/>
                <a:gd name="connsiteY81" fmla="*/ 112109 h 369474"/>
                <a:gd name="connsiteX82" fmla="*/ 27241 w 369569"/>
                <a:gd name="connsiteY82" fmla="*/ 107061 h 369474"/>
                <a:gd name="connsiteX83" fmla="*/ 32290 w 369569"/>
                <a:gd name="connsiteY83" fmla="*/ 119539 h 369474"/>
                <a:gd name="connsiteX84" fmla="*/ 31337 w 369569"/>
                <a:gd name="connsiteY84" fmla="*/ 121729 h 369474"/>
                <a:gd name="connsiteX85" fmla="*/ 22574 w 369569"/>
                <a:gd name="connsiteY85" fmla="*/ 127635 h 369474"/>
                <a:gd name="connsiteX86" fmla="*/ 309943 w 369569"/>
                <a:gd name="connsiteY86" fmla="*/ 71628 h 369474"/>
                <a:gd name="connsiteX87" fmla="*/ 303181 w 369569"/>
                <a:gd name="connsiteY87" fmla="*/ 68771 h 369474"/>
                <a:gd name="connsiteX88" fmla="*/ 301561 w 369569"/>
                <a:gd name="connsiteY88" fmla="*/ 67151 h 369474"/>
                <a:gd name="connsiteX89" fmla="*/ 301561 w 369569"/>
                <a:gd name="connsiteY89" fmla="*/ 53721 h 369474"/>
                <a:gd name="connsiteX90" fmla="*/ 314992 w 369569"/>
                <a:gd name="connsiteY90" fmla="*/ 53721 h 369474"/>
                <a:gd name="connsiteX91" fmla="*/ 316706 w 369569"/>
                <a:gd name="connsiteY91" fmla="*/ 55435 h 369474"/>
                <a:gd name="connsiteX92" fmla="*/ 316706 w 369569"/>
                <a:gd name="connsiteY92" fmla="*/ 68866 h 369474"/>
                <a:gd name="connsiteX93" fmla="*/ 310039 w 369569"/>
                <a:gd name="connsiteY93" fmla="*/ 71628 h 369474"/>
                <a:gd name="connsiteX94" fmla="*/ 60579 w 369569"/>
                <a:gd name="connsiteY94" fmla="*/ 70675 h 369474"/>
                <a:gd name="connsiteX95" fmla="*/ 53816 w 369569"/>
                <a:gd name="connsiteY95" fmla="*/ 67913 h 369474"/>
                <a:gd name="connsiteX96" fmla="*/ 53816 w 369569"/>
                <a:gd name="connsiteY96" fmla="*/ 54483 h 369474"/>
                <a:gd name="connsiteX97" fmla="*/ 55626 w 369569"/>
                <a:gd name="connsiteY97" fmla="*/ 52769 h 369474"/>
                <a:gd name="connsiteX98" fmla="*/ 69056 w 369569"/>
                <a:gd name="connsiteY98" fmla="*/ 52959 h 369474"/>
                <a:gd name="connsiteX99" fmla="*/ 68866 w 369569"/>
                <a:gd name="connsiteY99" fmla="*/ 66389 h 369474"/>
                <a:gd name="connsiteX100" fmla="*/ 67246 w 369569"/>
                <a:gd name="connsiteY100" fmla="*/ 68008 h 369474"/>
                <a:gd name="connsiteX101" fmla="*/ 60484 w 369569"/>
                <a:gd name="connsiteY101" fmla="*/ 70771 h 369474"/>
                <a:gd name="connsiteX102" fmla="*/ 253555 w 369569"/>
                <a:gd name="connsiteY102" fmla="*/ 33052 h 369474"/>
                <a:gd name="connsiteX103" fmla="*/ 249841 w 369569"/>
                <a:gd name="connsiteY103" fmla="*/ 32290 h 369474"/>
                <a:gd name="connsiteX104" fmla="*/ 247745 w 369569"/>
                <a:gd name="connsiteY104" fmla="*/ 31432 h 369474"/>
                <a:gd name="connsiteX105" fmla="*/ 242601 w 369569"/>
                <a:gd name="connsiteY105" fmla="*/ 18955 h 369474"/>
                <a:gd name="connsiteX106" fmla="*/ 255079 w 369569"/>
                <a:gd name="connsiteY106" fmla="*/ 13811 h 369474"/>
                <a:gd name="connsiteX107" fmla="*/ 257365 w 369569"/>
                <a:gd name="connsiteY107" fmla="*/ 14764 h 369474"/>
                <a:gd name="connsiteX108" fmla="*/ 262318 w 369569"/>
                <a:gd name="connsiteY108" fmla="*/ 27242 h 369474"/>
                <a:gd name="connsiteX109" fmla="*/ 253555 w 369569"/>
                <a:gd name="connsiteY109" fmla="*/ 33052 h 369474"/>
                <a:gd name="connsiteX110" fmla="*/ 117253 w 369569"/>
                <a:gd name="connsiteY110" fmla="*/ 32480 h 369474"/>
                <a:gd name="connsiteX111" fmla="*/ 108490 w 369569"/>
                <a:gd name="connsiteY111" fmla="*/ 26575 h 369474"/>
                <a:gd name="connsiteX112" fmla="*/ 113633 w 369569"/>
                <a:gd name="connsiteY112" fmla="*/ 14097 h 369474"/>
                <a:gd name="connsiteX113" fmla="*/ 115919 w 369569"/>
                <a:gd name="connsiteY113" fmla="*/ 13144 h 369474"/>
                <a:gd name="connsiteX114" fmla="*/ 128301 w 369569"/>
                <a:gd name="connsiteY114" fmla="*/ 18383 h 369474"/>
                <a:gd name="connsiteX115" fmla="*/ 123063 w 369569"/>
                <a:gd name="connsiteY115" fmla="*/ 30766 h 369474"/>
                <a:gd name="connsiteX116" fmla="*/ 120968 w 369569"/>
                <a:gd name="connsiteY116" fmla="*/ 31623 h 369474"/>
                <a:gd name="connsiteX117" fmla="*/ 117348 w 369569"/>
                <a:gd name="connsiteY117" fmla="*/ 32385 h 369474"/>
                <a:gd name="connsiteX118" fmla="*/ 186594 w 369569"/>
                <a:gd name="connsiteY118" fmla="*/ 19050 h 369474"/>
                <a:gd name="connsiteX119" fmla="*/ 184785 w 369569"/>
                <a:gd name="connsiteY119" fmla="*/ 19050 h 369474"/>
                <a:gd name="connsiteX120" fmla="*/ 174974 w 369569"/>
                <a:gd name="connsiteY120" fmla="*/ 9525 h 369474"/>
                <a:gd name="connsiteX121" fmla="*/ 184213 w 369569"/>
                <a:gd name="connsiteY121" fmla="*/ 0 h 369474"/>
                <a:gd name="connsiteX122" fmla="*/ 186690 w 369569"/>
                <a:gd name="connsiteY122" fmla="*/ 0 h 369474"/>
                <a:gd name="connsiteX123" fmla="*/ 196119 w 369569"/>
                <a:gd name="connsiteY123" fmla="*/ 9620 h 369474"/>
                <a:gd name="connsiteX124" fmla="*/ 186594 w 369569"/>
                <a:gd name="connsiteY124" fmla="*/ 19050 h 369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369569" h="369474">
                  <a:moveTo>
                    <a:pt x="184975" y="369475"/>
                  </a:moveTo>
                  <a:lnTo>
                    <a:pt x="182499" y="369475"/>
                  </a:lnTo>
                  <a:cubicBezTo>
                    <a:pt x="177260" y="369475"/>
                    <a:pt x="173069" y="365093"/>
                    <a:pt x="173069" y="359854"/>
                  </a:cubicBezTo>
                  <a:cubicBezTo>
                    <a:pt x="173069" y="354616"/>
                    <a:pt x="177355" y="350425"/>
                    <a:pt x="182594" y="350425"/>
                  </a:cubicBezTo>
                  <a:lnTo>
                    <a:pt x="184785" y="350425"/>
                  </a:lnTo>
                  <a:cubicBezTo>
                    <a:pt x="190024" y="350425"/>
                    <a:pt x="194405" y="354711"/>
                    <a:pt x="194405" y="359950"/>
                  </a:cubicBezTo>
                  <a:cubicBezTo>
                    <a:pt x="194405" y="365189"/>
                    <a:pt x="190214" y="369475"/>
                    <a:pt x="184975" y="369475"/>
                  </a:cubicBezTo>
                  <a:close/>
                  <a:moveTo>
                    <a:pt x="249841" y="356997"/>
                  </a:moveTo>
                  <a:cubicBezTo>
                    <a:pt x="246031" y="356997"/>
                    <a:pt x="242506" y="354711"/>
                    <a:pt x="240982" y="350996"/>
                  </a:cubicBezTo>
                  <a:cubicBezTo>
                    <a:pt x="238982" y="346139"/>
                    <a:pt x="241363" y="340614"/>
                    <a:pt x="246316" y="338614"/>
                  </a:cubicBezTo>
                  <a:lnTo>
                    <a:pt x="248317" y="337757"/>
                  </a:lnTo>
                  <a:cubicBezTo>
                    <a:pt x="253175" y="335756"/>
                    <a:pt x="258699" y="338042"/>
                    <a:pt x="260795" y="342900"/>
                  </a:cubicBezTo>
                  <a:cubicBezTo>
                    <a:pt x="262794" y="347758"/>
                    <a:pt x="260509" y="353378"/>
                    <a:pt x="255651" y="355378"/>
                  </a:cubicBezTo>
                  <a:lnTo>
                    <a:pt x="253365" y="356330"/>
                  </a:lnTo>
                  <a:cubicBezTo>
                    <a:pt x="252222" y="356807"/>
                    <a:pt x="250984" y="356997"/>
                    <a:pt x="249841" y="356997"/>
                  </a:cubicBezTo>
                  <a:close/>
                  <a:moveTo>
                    <a:pt x="117920" y="356235"/>
                  </a:moveTo>
                  <a:cubicBezTo>
                    <a:pt x="116681" y="356235"/>
                    <a:pt x="115443" y="356044"/>
                    <a:pt x="114300" y="355473"/>
                  </a:cubicBezTo>
                  <a:lnTo>
                    <a:pt x="111919" y="354425"/>
                  </a:lnTo>
                  <a:cubicBezTo>
                    <a:pt x="107061" y="352330"/>
                    <a:pt x="104870" y="346710"/>
                    <a:pt x="106966" y="341852"/>
                  </a:cubicBezTo>
                  <a:cubicBezTo>
                    <a:pt x="109061" y="336994"/>
                    <a:pt x="114681" y="334804"/>
                    <a:pt x="119539" y="336899"/>
                  </a:cubicBezTo>
                  <a:lnTo>
                    <a:pt x="121539" y="337757"/>
                  </a:lnTo>
                  <a:cubicBezTo>
                    <a:pt x="126396" y="339757"/>
                    <a:pt x="128683" y="345281"/>
                    <a:pt x="126682" y="350234"/>
                  </a:cubicBezTo>
                  <a:cubicBezTo>
                    <a:pt x="125159" y="353949"/>
                    <a:pt x="121634" y="356140"/>
                    <a:pt x="117920" y="356140"/>
                  </a:cubicBezTo>
                  <a:close/>
                  <a:moveTo>
                    <a:pt x="307086" y="319754"/>
                  </a:moveTo>
                  <a:cubicBezTo>
                    <a:pt x="304609" y="319754"/>
                    <a:pt x="302133" y="318802"/>
                    <a:pt x="300228" y="316897"/>
                  </a:cubicBezTo>
                  <a:cubicBezTo>
                    <a:pt x="296513" y="313087"/>
                    <a:pt x="296609" y="307086"/>
                    <a:pt x="300418" y="303466"/>
                  </a:cubicBezTo>
                  <a:lnTo>
                    <a:pt x="302037" y="301847"/>
                  </a:lnTo>
                  <a:cubicBezTo>
                    <a:pt x="305752" y="298132"/>
                    <a:pt x="311753" y="298132"/>
                    <a:pt x="315468" y="301847"/>
                  </a:cubicBezTo>
                  <a:cubicBezTo>
                    <a:pt x="319183" y="305562"/>
                    <a:pt x="319183" y="311563"/>
                    <a:pt x="315468" y="315278"/>
                  </a:cubicBezTo>
                  <a:lnTo>
                    <a:pt x="313658" y="316992"/>
                  </a:lnTo>
                  <a:cubicBezTo>
                    <a:pt x="311848" y="318802"/>
                    <a:pt x="309372" y="319659"/>
                    <a:pt x="306991" y="319659"/>
                  </a:cubicBezTo>
                  <a:close/>
                  <a:moveTo>
                    <a:pt x="61055" y="318326"/>
                  </a:moveTo>
                  <a:cubicBezTo>
                    <a:pt x="58578" y="318326"/>
                    <a:pt x="56197" y="317373"/>
                    <a:pt x="54293" y="315563"/>
                  </a:cubicBezTo>
                  <a:lnTo>
                    <a:pt x="52578" y="313753"/>
                  </a:lnTo>
                  <a:cubicBezTo>
                    <a:pt x="48863" y="309944"/>
                    <a:pt x="48959" y="303943"/>
                    <a:pt x="52768" y="300323"/>
                  </a:cubicBezTo>
                  <a:cubicBezTo>
                    <a:pt x="56483" y="296608"/>
                    <a:pt x="62579" y="296704"/>
                    <a:pt x="66199" y="300514"/>
                  </a:cubicBezTo>
                  <a:lnTo>
                    <a:pt x="67818" y="302133"/>
                  </a:lnTo>
                  <a:cubicBezTo>
                    <a:pt x="71533" y="305848"/>
                    <a:pt x="71533" y="311848"/>
                    <a:pt x="67818" y="315563"/>
                  </a:cubicBezTo>
                  <a:cubicBezTo>
                    <a:pt x="65913" y="317468"/>
                    <a:pt x="63532" y="318326"/>
                    <a:pt x="61055" y="318326"/>
                  </a:cubicBezTo>
                  <a:close/>
                  <a:moveTo>
                    <a:pt x="345853" y="263461"/>
                  </a:moveTo>
                  <a:cubicBezTo>
                    <a:pt x="344614" y="263461"/>
                    <a:pt x="343281" y="263176"/>
                    <a:pt x="342043" y="262699"/>
                  </a:cubicBezTo>
                  <a:cubicBezTo>
                    <a:pt x="337185" y="260604"/>
                    <a:pt x="334994" y="254984"/>
                    <a:pt x="337090" y="250127"/>
                  </a:cubicBezTo>
                  <a:lnTo>
                    <a:pt x="337947" y="248031"/>
                  </a:lnTo>
                  <a:cubicBezTo>
                    <a:pt x="339947" y="243173"/>
                    <a:pt x="345567" y="240887"/>
                    <a:pt x="350425" y="242887"/>
                  </a:cubicBezTo>
                  <a:cubicBezTo>
                    <a:pt x="355282" y="244888"/>
                    <a:pt x="357568" y="250507"/>
                    <a:pt x="355568" y="255365"/>
                  </a:cubicBezTo>
                  <a:lnTo>
                    <a:pt x="354616" y="257651"/>
                  </a:lnTo>
                  <a:cubicBezTo>
                    <a:pt x="353092" y="261271"/>
                    <a:pt x="349568" y="263366"/>
                    <a:pt x="345853" y="263366"/>
                  </a:cubicBezTo>
                  <a:close/>
                  <a:moveTo>
                    <a:pt x="22955" y="261556"/>
                  </a:moveTo>
                  <a:cubicBezTo>
                    <a:pt x="19240" y="261556"/>
                    <a:pt x="15716" y="259366"/>
                    <a:pt x="14192" y="255746"/>
                  </a:cubicBezTo>
                  <a:lnTo>
                    <a:pt x="13240" y="253365"/>
                  </a:lnTo>
                  <a:cubicBezTo>
                    <a:pt x="11335" y="248507"/>
                    <a:pt x="13716" y="242983"/>
                    <a:pt x="18574" y="240982"/>
                  </a:cubicBezTo>
                  <a:cubicBezTo>
                    <a:pt x="23431" y="239077"/>
                    <a:pt x="28956" y="241459"/>
                    <a:pt x="30956" y="246316"/>
                  </a:cubicBezTo>
                  <a:lnTo>
                    <a:pt x="31718" y="248317"/>
                  </a:lnTo>
                  <a:cubicBezTo>
                    <a:pt x="33718" y="253174"/>
                    <a:pt x="31528" y="258794"/>
                    <a:pt x="26670" y="260794"/>
                  </a:cubicBezTo>
                  <a:cubicBezTo>
                    <a:pt x="25432" y="261271"/>
                    <a:pt x="24193" y="261556"/>
                    <a:pt x="22955" y="261556"/>
                  </a:cubicBezTo>
                  <a:close/>
                  <a:moveTo>
                    <a:pt x="360045" y="196596"/>
                  </a:moveTo>
                  <a:lnTo>
                    <a:pt x="359950" y="196596"/>
                  </a:lnTo>
                  <a:cubicBezTo>
                    <a:pt x="354711" y="196596"/>
                    <a:pt x="350425" y="192215"/>
                    <a:pt x="350520" y="186976"/>
                  </a:cubicBezTo>
                  <a:lnTo>
                    <a:pt x="350520" y="184690"/>
                  </a:lnTo>
                  <a:cubicBezTo>
                    <a:pt x="350520" y="179451"/>
                    <a:pt x="354806" y="174784"/>
                    <a:pt x="360045" y="174784"/>
                  </a:cubicBezTo>
                  <a:cubicBezTo>
                    <a:pt x="365284" y="174784"/>
                    <a:pt x="369570" y="178689"/>
                    <a:pt x="369570" y="183928"/>
                  </a:cubicBezTo>
                  <a:lnTo>
                    <a:pt x="369570" y="187071"/>
                  </a:lnTo>
                  <a:cubicBezTo>
                    <a:pt x="369570" y="192310"/>
                    <a:pt x="365188" y="196501"/>
                    <a:pt x="360045" y="196501"/>
                  </a:cubicBezTo>
                  <a:close/>
                  <a:moveTo>
                    <a:pt x="9525" y="194405"/>
                  </a:moveTo>
                  <a:cubicBezTo>
                    <a:pt x="4286" y="194405"/>
                    <a:pt x="0" y="190310"/>
                    <a:pt x="0" y="185071"/>
                  </a:cubicBezTo>
                  <a:lnTo>
                    <a:pt x="0" y="182594"/>
                  </a:lnTo>
                  <a:cubicBezTo>
                    <a:pt x="0" y="177356"/>
                    <a:pt x="4763" y="172974"/>
                    <a:pt x="9620" y="173165"/>
                  </a:cubicBezTo>
                  <a:cubicBezTo>
                    <a:pt x="14859" y="173165"/>
                    <a:pt x="19050" y="177546"/>
                    <a:pt x="19050" y="182785"/>
                  </a:cubicBezTo>
                  <a:lnTo>
                    <a:pt x="19050" y="184690"/>
                  </a:lnTo>
                  <a:cubicBezTo>
                    <a:pt x="19050" y="189928"/>
                    <a:pt x="14764" y="194405"/>
                    <a:pt x="9525" y="194405"/>
                  </a:cubicBezTo>
                  <a:close/>
                  <a:moveTo>
                    <a:pt x="347376" y="128778"/>
                  </a:moveTo>
                  <a:cubicBezTo>
                    <a:pt x="343662" y="128778"/>
                    <a:pt x="340043" y="126492"/>
                    <a:pt x="338518" y="122873"/>
                  </a:cubicBezTo>
                  <a:lnTo>
                    <a:pt x="337661" y="120777"/>
                  </a:lnTo>
                  <a:cubicBezTo>
                    <a:pt x="335661" y="115919"/>
                    <a:pt x="337851" y="110300"/>
                    <a:pt x="342709" y="108299"/>
                  </a:cubicBezTo>
                  <a:cubicBezTo>
                    <a:pt x="347567" y="106299"/>
                    <a:pt x="353187" y="108490"/>
                    <a:pt x="355187" y="113348"/>
                  </a:cubicBezTo>
                  <a:lnTo>
                    <a:pt x="356140" y="115633"/>
                  </a:lnTo>
                  <a:cubicBezTo>
                    <a:pt x="358140" y="120491"/>
                    <a:pt x="355759" y="126111"/>
                    <a:pt x="350901" y="128016"/>
                  </a:cubicBezTo>
                  <a:cubicBezTo>
                    <a:pt x="349758" y="128492"/>
                    <a:pt x="348519" y="128683"/>
                    <a:pt x="347281" y="128683"/>
                  </a:cubicBezTo>
                  <a:close/>
                  <a:moveTo>
                    <a:pt x="22670" y="127540"/>
                  </a:moveTo>
                  <a:cubicBezTo>
                    <a:pt x="21431" y="127540"/>
                    <a:pt x="20193" y="127349"/>
                    <a:pt x="18955" y="126778"/>
                  </a:cubicBezTo>
                  <a:cubicBezTo>
                    <a:pt x="14097" y="124777"/>
                    <a:pt x="11811" y="119158"/>
                    <a:pt x="13811" y="114300"/>
                  </a:cubicBezTo>
                  <a:lnTo>
                    <a:pt x="14764" y="112109"/>
                  </a:lnTo>
                  <a:cubicBezTo>
                    <a:pt x="16764" y="107252"/>
                    <a:pt x="22384" y="104965"/>
                    <a:pt x="27241" y="107061"/>
                  </a:cubicBezTo>
                  <a:cubicBezTo>
                    <a:pt x="32099" y="109061"/>
                    <a:pt x="34385" y="114681"/>
                    <a:pt x="32290" y="119539"/>
                  </a:cubicBezTo>
                  <a:lnTo>
                    <a:pt x="31337" y="121729"/>
                  </a:lnTo>
                  <a:cubicBezTo>
                    <a:pt x="29813" y="125349"/>
                    <a:pt x="26289" y="127635"/>
                    <a:pt x="22574" y="127635"/>
                  </a:cubicBezTo>
                  <a:close/>
                  <a:moveTo>
                    <a:pt x="309943" y="71628"/>
                  </a:moveTo>
                  <a:cubicBezTo>
                    <a:pt x="307467" y="71628"/>
                    <a:pt x="305085" y="70675"/>
                    <a:pt x="303181" y="68771"/>
                  </a:cubicBezTo>
                  <a:lnTo>
                    <a:pt x="301561" y="67151"/>
                  </a:lnTo>
                  <a:cubicBezTo>
                    <a:pt x="297846" y="63436"/>
                    <a:pt x="297846" y="57436"/>
                    <a:pt x="301561" y="53721"/>
                  </a:cubicBezTo>
                  <a:cubicBezTo>
                    <a:pt x="305276" y="50006"/>
                    <a:pt x="311277" y="50006"/>
                    <a:pt x="314992" y="53721"/>
                  </a:cubicBezTo>
                  <a:lnTo>
                    <a:pt x="316706" y="55435"/>
                  </a:lnTo>
                  <a:cubicBezTo>
                    <a:pt x="320421" y="59150"/>
                    <a:pt x="320421" y="65246"/>
                    <a:pt x="316706" y="68866"/>
                  </a:cubicBezTo>
                  <a:cubicBezTo>
                    <a:pt x="314801" y="70675"/>
                    <a:pt x="312420" y="71628"/>
                    <a:pt x="310039" y="71628"/>
                  </a:cubicBezTo>
                  <a:close/>
                  <a:moveTo>
                    <a:pt x="60579" y="70675"/>
                  </a:moveTo>
                  <a:cubicBezTo>
                    <a:pt x="58102" y="70675"/>
                    <a:pt x="55721" y="69723"/>
                    <a:pt x="53816" y="67913"/>
                  </a:cubicBezTo>
                  <a:cubicBezTo>
                    <a:pt x="50102" y="64198"/>
                    <a:pt x="50102" y="58198"/>
                    <a:pt x="53816" y="54483"/>
                  </a:cubicBezTo>
                  <a:lnTo>
                    <a:pt x="55626" y="52769"/>
                  </a:lnTo>
                  <a:cubicBezTo>
                    <a:pt x="59436" y="49149"/>
                    <a:pt x="65437" y="49149"/>
                    <a:pt x="69056" y="52959"/>
                  </a:cubicBezTo>
                  <a:cubicBezTo>
                    <a:pt x="72771" y="56769"/>
                    <a:pt x="72676" y="62770"/>
                    <a:pt x="68866" y="66389"/>
                  </a:cubicBezTo>
                  <a:lnTo>
                    <a:pt x="67246" y="68008"/>
                  </a:lnTo>
                  <a:cubicBezTo>
                    <a:pt x="65341" y="69913"/>
                    <a:pt x="62960" y="70771"/>
                    <a:pt x="60484" y="70771"/>
                  </a:cubicBezTo>
                  <a:close/>
                  <a:moveTo>
                    <a:pt x="253555" y="33052"/>
                  </a:moveTo>
                  <a:cubicBezTo>
                    <a:pt x="252317" y="33052"/>
                    <a:pt x="250984" y="32766"/>
                    <a:pt x="249841" y="32290"/>
                  </a:cubicBezTo>
                  <a:lnTo>
                    <a:pt x="247745" y="31432"/>
                  </a:lnTo>
                  <a:cubicBezTo>
                    <a:pt x="242888" y="29432"/>
                    <a:pt x="240602" y="23908"/>
                    <a:pt x="242601" y="18955"/>
                  </a:cubicBezTo>
                  <a:cubicBezTo>
                    <a:pt x="244602" y="14097"/>
                    <a:pt x="250127" y="11811"/>
                    <a:pt x="255079" y="13811"/>
                  </a:cubicBezTo>
                  <a:lnTo>
                    <a:pt x="257365" y="14764"/>
                  </a:lnTo>
                  <a:cubicBezTo>
                    <a:pt x="262223" y="16859"/>
                    <a:pt x="264414" y="22479"/>
                    <a:pt x="262318" y="27242"/>
                  </a:cubicBezTo>
                  <a:cubicBezTo>
                    <a:pt x="260795" y="30861"/>
                    <a:pt x="257270" y="33052"/>
                    <a:pt x="253555" y="33052"/>
                  </a:cubicBezTo>
                  <a:close/>
                  <a:moveTo>
                    <a:pt x="117253" y="32480"/>
                  </a:moveTo>
                  <a:cubicBezTo>
                    <a:pt x="113538" y="32480"/>
                    <a:pt x="110014" y="30290"/>
                    <a:pt x="108490" y="26575"/>
                  </a:cubicBezTo>
                  <a:cubicBezTo>
                    <a:pt x="106489" y="21717"/>
                    <a:pt x="108775" y="16097"/>
                    <a:pt x="113633" y="14097"/>
                  </a:cubicBezTo>
                  <a:lnTo>
                    <a:pt x="115919" y="13144"/>
                  </a:lnTo>
                  <a:cubicBezTo>
                    <a:pt x="120777" y="11144"/>
                    <a:pt x="126302" y="13525"/>
                    <a:pt x="128301" y="18383"/>
                  </a:cubicBezTo>
                  <a:cubicBezTo>
                    <a:pt x="130302" y="23241"/>
                    <a:pt x="127921" y="28861"/>
                    <a:pt x="123063" y="30766"/>
                  </a:cubicBezTo>
                  <a:lnTo>
                    <a:pt x="120968" y="31623"/>
                  </a:lnTo>
                  <a:cubicBezTo>
                    <a:pt x="119729" y="32099"/>
                    <a:pt x="118491" y="32385"/>
                    <a:pt x="117348" y="32385"/>
                  </a:cubicBezTo>
                  <a:close/>
                  <a:moveTo>
                    <a:pt x="186594" y="19050"/>
                  </a:moveTo>
                  <a:lnTo>
                    <a:pt x="184785" y="19050"/>
                  </a:lnTo>
                  <a:cubicBezTo>
                    <a:pt x="179546" y="19050"/>
                    <a:pt x="174974" y="14764"/>
                    <a:pt x="174974" y="9525"/>
                  </a:cubicBezTo>
                  <a:cubicBezTo>
                    <a:pt x="174974" y="4286"/>
                    <a:pt x="178975" y="0"/>
                    <a:pt x="184213" y="0"/>
                  </a:cubicBezTo>
                  <a:lnTo>
                    <a:pt x="186690" y="0"/>
                  </a:lnTo>
                  <a:cubicBezTo>
                    <a:pt x="191928" y="0"/>
                    <a:pt x="196215" y="4381"/>
                    <a:pt x="196119" y="9620"/>
                  </a:cubicBezTo>
                  <a:cubicBezTo>
                    <a:pt x="196119" y="14859"/>
                    <a:pt x="191834" y="19050"/>
                    <a:pt x="186594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48C8ED72-9C63-3732-A685-7431A5347D9A}"/>
                </a:ext>
              </a:extLst>
            </p:cNvPr>
            <p:cNvSpPr/>
            <p:nvPr/>
          </p:nvSpPr>
          <p:spPr>
            <a:xfrm rot="316174">
              <a:off x="11066666" y="3563221"/>
              <a:ext cx="331508" cy="333466"/>
            </a:xfrm>
            <a:custGeom>
              <a:avLst/>
              <a:gdLst>
                <a:gd name="connsiteX0" fmla="*/ 166666 w 306778"/>
                <a:gd name="connsiteY0" fmla="*/ 308591 h 308590"/>
                <a:gd name="connsiteX1" fmla="*/ 157236 w 306778"/>
                <a:gd name="connsiteY1" fmla="*/ 300018 h 308590"/>
                <a:gd name="connsiteX2" fmla="*/ 165714 w 306778"/>
                <a:gd name="connsiteY2" fmla="*/ 289541 h 308590"/>
                <a:gd name="connsiteX3" fmla="*/ 168000 w 306778"/>
                <a:gd name="connsiteY3" fmla="*/ 289255 h 308590"/>
                <a:gd name="connsiteX4" fmla="*/ 178573 w 306778"/>
                <a:gd name="connsiteY4" fmla="*/ 297637 h 308590"/>
                <a:gd name="connsiteX5" fmla="*/ 170191 w 306778"/>
                <a:gd name="connsiteY5" fmla="*/ 308209 h 308590"/>
                <a:gd name="connsiteX6" fmla="*/ 167619 w 306778"/>
                <a:gd name="connsiteY6" fmla="*/ 308495 h 308590"/>
                <a:gd name="connsiteX7" fmla="*/ 166666 w 306778"/>
                <a:gd name="connsiteY7" fmla="*/ 308495 h 308590"/>
                <a:gd name="connsiteX8" fmla="*/ 99896 w 306778"/>
                <a:gd name="connsiteY8" fmla="*/ 300018 h 308590"/>
                <a:gd name="connsiteX9" fmla="*/ 96562 w 306778"/>
                <a:gd name="connsiteY9" fmla="*/ 299447 h 308590"/>
                <a:gd name="connsiteX10" fmla="*/ 94181 w 306778"/>
                <a:gd name="connsiteY10" fmla="*/ 298494 h 308590"/>
                <a:gd name="connsiteX11" fmla="*/ 88847 w 306778"/>
                <a:gd name="connsiteY11" fmla="*/ 286111 h 308590"/>
                <a:gd name="connsiteX12" fmla="*/ 101230 w 306778"/>
                <a:gd name="connsiteY12" fmla="*/ 280777 h 308590"/>
                <a:gd name="connsiteX13" fmla="*/ 103325 w 306778"/>
                <a:gd name="connsiteY13" fmla="*/ 281635 h 308590"/>
                <a:gd name="connsiteX14" fmla="*/ 108850 w 306778"/>
                <a:gd name="connsiteY14" fmla="*/ 293922 h 308590"/>
                <a:gd name="connsiteX15" fmla="*/ 99896 w 306778"/>
                <a:gd name="connsiteY15" fmla="*/ 300113 h 308590"/>
                <a:gd name="connsiteX16" fmla="*/ 232293 w 306778"/>
                <a:gd name="connsiteY16" fmla="*/ 284968 h 308590"/>
                <a:gd name="connsiteX17" fmla="*/ 224388 w 306778"/>
                <a:gd name="connsiteY17" fmla="*/ 280777 h 308590"/>
                <a:gd name="connsiteX18" fmla="*/ 226864 w 306778"/>
                <a:gd name="connsiteY18" fmla="*/ 267538 h 308590"/>
                <a:gd name="connsiteX19" fmla="*/ 228769 w 306778"/>
                <a:gd name="connsiteY19" fmla="*/ 266204 h 308590"/>
                <a:gd name="connsiteX20" fmla="*/ 242009 w 306778"/>
                <a:gd name="connsiteY20" fmla="*/ 268585 h 308590"/>
                <a:gd name="connsiteX21" fmla="*/ 239628 w 306778"/>
                <a:gd name="connsiteY21" fmla="*/ 281825 h 308590"/>
                <a:gd name="connsiteX22" fmla="*/ 237532 w 306778"/>
                <a:gd name="connsiteY22" fmla="*/ 283254 h 308590"/>
                <a:gd name="connsiteX23" fmla="*/ 232199 w 306778"/>
                <a:gd name="connsiteY23" fmla="*/ 284873 h 308590"/>
                <a:gd name="connsiteX24" fmla="*/ 42555 w 306778"/>
                <a:gd name="connsiteY24" fmla="*/ 260489 h 308590"/>
                <a:gd name="connsiteX25" fmla="*/ 35412 w 306778"/>
                <a:gd name="connsiteY25" fmla="*/ 257346 h 308590"/>
                <a:gd name="connsiteX26" fmla="*/ 33697 w 306778"/>
                <a:gd name="connsiteY26" fmla="*/ 255441 h 308590"/>
                <a:gd name="connsiteX27" fmla="*/ 34650 w 306778"/>
                <a:gd name="connsiteY27" fmla="*/ 242011 h 308590"/>
                <a:gd name="connsiteX28" fmla="*/ 48080 w 306778"/>
                <a:gd name="connsiteY28" fmla="*/ 242963 h 308590"/>
                <a:gd name="connsiteX29" fmla="*/ 49604 w 306778"/>
                <a:gd name="connsiteY29" fmla="*/ 244678 h 308590"/>
                <a:gd name="connsiteX30" fmla="*/ 48842 w 306778"/>
                <a:gd name="connsiteY30" fmla="*/ 258108 h 308590"/>
                <a:gd name="connsiteX31" fmla="*/ 42460 w 306778"/>
                <a:gd name="connsiteY31" fmla="*/ 260489 h 308590"/>
                <a:gd name="connsiteX32" fmla="*/ 279442 w 306778"/>
                <a:gd name="connsiteY32" fmla="*/ 233534 h 308590"/>
                <a:gd name="connsiteX33" fmla="*/ 274870 w 306778"/>
                <a:gd name="connsiteY33" fmla="*/ 232391 h 308590"/>
                <a:gd name="connsiteX34" fmla="*/ 271155 w 306778"/>
                <a:gd name="connsiteY34" fmla="*/ 219436 h 308590"/>
                <a:gd name="connsiteX35" fmla="*/ 272203 w 306778"/>
                <a:gd name="connsiteY35" fmla="*/ 217436 h 308590"/>
                <a:gd name="connsiteX36" fmla="*/ 285062 w 306778"/>
                <a:gd name="connsiteY36" fmla="*/ 213531 h 308590"/>
                <a:gd name="connsiteX37" fmla="*/ 288967 w 306778"/>
                <a:gd name="connsiteY37" fmla="*/ 226390 h 308590"/>
                <a:gd name="connsiteX38" fmla="*/ 287729 w 306778"/>
                <a:gd name="connsiteY38" fmla="*/ 228676 h 308590"/>
                <a:gd name="connsiteX39" fmla="*/ 279347 w 306778"/>
                <a:gd name="connsiteY39" fmla="*/ 233629 h 308590"/>
                <a:gd name="connsiteX40" fmla="*/ 10075 w 306778"/>
                <a:gd name="connsiteY40" fmla="*/ 198863 h 308590"/>
                <a:gd name="connsiteX41" fmla="*/ 836 w 306778"/>
                <a:gd name="connsiteY41" fmla="*/ 191624 h 308590"/>
                <a:gd name="connsiteX42" fmla="*/ 264 w 306778"/>
                <a:gd name="connsiteY42" fmla="*/ 189147 h 308590"/>
                <a:gd name="connsiteX43" fmla="*/ 7313 w 306778"/>
                <a:gd name="connsiteY43" fmla="*/ 177717 h 308590"/>
                <a:gd name="connsiteX44" fmla="*/ 18743 w 306778"/>
                <a:gd name="connsiteY44" fmla="*/ 184766 h 308590"/>
                <a:gd name="connsiteX45" fmla="*/ 19314 w 306778"/>
                <a:gd name="connsiteY45" fmla="*/ 187051 h 308590"/>
                <a:gd name="connsiteX46" fmla="*/ 12361 w 306778"/>
                <a:gd name="connsiteY46" fmla="*/ 198577 h 308590"/>
                <a:gd name="connsiteX47" fmla="*/ 10075 w 306778"/>
                <a:gd name="connsiteY47" fmla="*/ 198863 h 308590"/>
                <a:gd name="connsiteX48" fmla="*/ 297254 w 306778"/>
                <a:gd name="connsiteY48" fmla="*/ 166192 h 308590"/>
                <a:gd name="connsiteX49" fmla="*/ 297159 w 306778"/>
                <a:gd name="connsiteY49" fmla="*/ 166192 h 308590"/>
                <a:gd name="connsiteX50" fmla="*/ 287729 w 306778"/>
                <a:gd name="connsiteY50" fmla="*/ 156571 h 308590"/>
                <a:gd name="connsiteX51" fmla="*/ 287729 w 306778"/>
                <a:gd name="connsiteY51" fmla="*/ 154286 h 308590"/>
                <a:gd name="connsiteX52" fmla="*/ 297254 w 306778"/>
                <a:gd name="connsiteY52" fmla="*/ 144475 h 308590"/>
                <a:gd name="connsiteX53" fmla="*/ 306779 w 306778"/>
                <a:gd name="connsiteY53" fmla="*/ 153714 h 308590"/>
                <a:gd name="connsiteX54" fmla="*/ 306779 w 306778"/>
                <a:gd name="connsiteY54" fmla="*/ 156857 h 308590"/>
                <a:gd name="connsiteX55" fmla="*/ 297254 w 306778"/>
                <a:gd name="connsiteY55" fmla="*/ 166287 h 308590"/>
                <a:gd name="connsiteX56" fmla="*/ 9980 w 306778"/>
                <a:gd name="connsiteY56" fmla="*/ 129140 h 308590"/>
                <a:gd name="connsiteX57" fmla="*/ 7694 w 306778"/>
                <a:gd name="connsiteY57" fmla="*/ 128854 h 308590"/>
                <a:gd name="connsiteX58" fmla="*/ 741 w 306778"/>
                <a:gd name="connsiteY58" fmla="*/ 117329 h 308590"/>
                <a:gd name="connsiteX59" fmla="*/ 1407 w 306778"/>
                <a:gd name="connsiteY59" fmla="*/ 114852 h 308590"/>
                <a:gd name="connsiteX60" fmla="*/ 13028 w 306778"/>
                <a:gd name="connsiteY60" fmla="*/ 108089 h 308590"/>
                <a:gd name="connsiteX61" fmla="*/ 19791 w 306778"/>
                <a:gd name="connsiteY61" fmla="*/ 119710 h 308590"/>
                <a:gd name="connsiteX62" fmla="*/ 19219 w 306778"/>
                <a:gd name="connsiteY62" fmla="*/ 121900 h 308590"/>
                <a:gd name="connsiteX63" fmla="*/ 9980 w 306778"/>
                <a:gd name="connsiteY63" fmla="*/ 129140 h 308590"/>
                <a:gd name="connsiteX64" fmla="*/ 281443 w 306778"/>
                <a:gd name="connsiteY64" fmla="*/ 97707 h 308590"/>
                <a:gd name="connsiteX65" fmla="*/ 272965 w 306778"/>
                <a:gd name="connsiteY65" fmla="*/ 92468 h 308590"/>
                <a:gd name="connsiteX66" fmla="*/ 271918 w 306778"/>
                <a:gd name="connsiteY66" fmla="*/ 90468 h 308590"/>
                <a:gd name="connsiteX67" fmla="*/ 275823 w 306778"/>
                <a:gd name="connsiteY67" fmla="*/ 77609 h 308590"/>
                <a:gd name="connsiteX68" fmla="*/ 288682 w 306778"/>
                <a:gd name="connsiteY68" fmla="*/ 81515 h 308590"/>
                <a:gd name="connsiteX69" fmla="*/ 289920 w 306778"/>
                <a:gd name="connsiteY69" fmla="*/ 83800 h 308590"/>
                <a:gd name="connsiteX70" fmla="*/ 285729 w 306778"/>
                <a:gd name="connsiteY70" fmla="*/ 96564 h 308590"/>
                <a:gd name="connsiteX71" fmla="*/ 281443 w 306778"/>
                <a:gd name="connsiteY71" fmla="*/ 97612 h 308590"/>
                <a:gd name="connsiteX72" fmla="*/ 42175 w 306778"/>
                <a:gd name="connsiteY72" fmla="*/ 67417 h 308590"/>
                <a:gd name="connsiteX73" fmla="*/ 35792 w 306778"/>
                <a:gd name="connsiteY73" fmla="*/ 65036 h 308590"/>
                <a:gd name="connsiteX74" fmla="*/ 35031 w 306778"/>
                <a:gd name="connsiteY74" fmla="*/ 51606 h 308590"/>
                <a:gd name="connsiteX75" fmla="*/ 36650 w 306778"/>
                <a:gd name="connsiteY75" fmla="*/ 49701 h 308590"/>
                <a:gd name="connsiteX76" fmla="*/ 50080 w 306778"/>
                <a:gd name="connsiteY76" fmla="*/ 49034 h 308590"/>
                <a:gd name="connsiteX77" fmla="*/ 50747 w 306778"/>
                <a:gd name="connsiteY77" fmla="*/ 62465 h 308590"/>
                <a:gd name="connsiteX78" fmla="*/ 49223 w 306778"/>
                <a:gd name="connsiteY78" fmla="*/ 64179 h 308590"/>
                <a:gd name="connsiteX79" fmla="*/ 42079 w 306778"/>
                <a:gd name="connsiteY79" fmla="*/ 67322 h 308590"/>
                <a:gd name="connsiteX80" fmla="*/ 235817 w 306778"/>
                <a:gd name="connsiteY80" fmla="*/ 44938 h 308590"/>
                <a:gd name="connsiteX81" fmla="*/ 230293 w 306778"/>
                <a:gd name="connsiteY81" fmla="*/ 43129 h 308590"/>
                <a:gd name="connsiteX82" fmla="*/ 228484 w 306778"/>
                <a:gd name="connsiteY82" fmla="*/ 41891 h 308590"/>
                <a:gd name="connsiteX83" fmla="*/ 226007 w 306778"/>
                <a:gd name="connsiteY83" fmla="*/ 28651 h 308590"/>
                <a:gd name="connsiteX84" fmla="*/ 239247 w 306778"/>
                <a:gd name="connsiteY84" fmla="*/ 26174 h 308590"/>
                <a:gd name="connsiteX85" fmla="*/ 241437 w 306778"/>
                <a:gd name="connsiteY85" fmla="*/ 27698 h 308590"/>
                <a:gd name="connsiteX86" fmla="*/ 243628 w 306778"/>
                <a:gd name="connsiteY86" fmla="*/ 41033 h 308590"/>
                <a:gd name="connsiteX87" fmla="*/ 235913 w 306778"/>
                <a:gd name="connsiteY87" fmla="*/ 45034 h 308590"/>
                <a:gd name="connsiteX88" fmla="*/ 99420 w 306778"/>
                <a:gd name="connsiteY88" fmla="*/ 27603 h 308590"/>
                <a:gd name="connsiteX89" fmla="*/ 90561 w 306778"/>
                <a:gd name="connsiteY89" fmla="*/ 21507 h 308590"/>
                <a:gd name="connsiteX90" fmla="*/ 96086 w 306778"/>
                <a:gd name="connsiteY90" fmla="*/ 9220 h 308590"/>
                <a:gd name="connsiteX91" fmla="*/ 98467 w 306778"/>
                <a:gd name="connsiteY91" fmla="*/ 8363 h 308590"/>
                <a:gd name="connsiteX92" fmla="*/ 110659 w 306778"/>
                <a:gd name="connsiteY92" fmla="*/ 14078 h 308590"/>
                <a:gd name="connsiteX93" fmla="*/ 104944 w 306778"/>
                <a:gd name="connsiteY93" fmla="*/ 26270 h 308590"/>
                <a:gd name="connsiteX94" fmla="*/ 102754 w 306778"/>
                <a:gd name="connsiteY94" fmla="*/ 27032 h 308590"/>
                <a:gd name="connsiteX95" fmla="*/ 99325 w 306778"/>
                <a:gd name="connsiteY95" fmla="*/ 27698 h 308590"/>
                <a:gd name="connsiteX96" fmla="*/ 171048 w 306778"/>
                <a:gd name="connsiteY96" fmla="*/ 19316 h 308590"/>
                <a:gd name="connsiteX97" fmla="*/ 169714 w 306778"/>
                <a:gd name="connsiteY97" fmla="*/ 19316 h 308590"/>
                <a:gd name="connsiteX98" fmla="*/ 167523 w 306778"/>
                <a:gd name="connsiteY98" fmla="*/ 19030 h 308590"/>
                <a:gd name="connsiteX99" fmla="*/ 159141 w 306778"/>
                <a:gd name="connsiteY99" fmla="*/ 8458 h 308590"/>
                <a:gd name="connsiteX100" fmla="*/ 169714 w 306778"/>
                <a:gd name="connsiteY100" fmla="*/ 76 h 308590"/>
                <a:gd name="connsiteX101" fmla="*/ 172381 w 306778"/>
                <a:gd name="connsiteY101" fmla="*/ 457 h 308590"/>
                <a:gd name="connsiteX102" fmla="*/ 180477 w 306778"/>
                <a:gd name="connsiteY102" fmla="*/ 11220 h 308590"/>
                <a:gd name="connsiteX103" fmla="*/ 171048 w 306778"/>
                <a:gd name="connsiteY103" fmla="*/ 19412 h 30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306778" h="308590">
                  <a:moveTo>
                    <a:pt x="166666" y="308591"/>
                  </a:moveTo>
                  <a:cubicBezTo>
                    <a:pt x="161809" y="308591"/>
                    <a:pt x="157713" y="304971"/>
                    <a:pt x="157236" y="300018"/>
                  </a:cubicBezTo>
                  <a:cubicBezTo>
                    <a:pt x="156665" y="294779"/>
                    <a:pt x="160475" y="290112"/>
                    <a:pt x="165714" y="289541"/>
                  </a:cubicBezTo>
                  <a:lnTo>
                    <a:pt x="168000" y="289255"/>
                  </a:lnTo>
                  <a:cubicBezTo>
                    <a:pt x="173239" y="288588"/>
                    <a:pt x="177906" y="292398"/>
                    <a:pt x="178573" y="297637"/>
                  </a:cubicBezTo>
                  <a:cubicBezTo>
                    <a:pt x="179144" y="302876"/>
                    <a:pt x="175429" y="307543"/>
                    <a:pt x="170191" y="308209"/>
                  </a:cubicBezTo>
                  <a:lnTo>
                    <a:pt x="167619" y="308495"/>
                  </a:lnTo>
                  <a:cubicBezTo>
                    <a:pt x="167619" y="308495"/>
                    <a:pt x="166952" y="308495"/>
                    <a:pt x="166666" y="308495"/>
                  </a:cubicBezTo>
                  <a:close/>
                  <a:moveTo>
                    <a:pt x="99896" y="300018"/>
                  </a:moveTo>
                  <a:cubicBezTo>
                    <a:pt x="98753" y="300018"/>
                    <a:pt x="97610" y="299827"/>
                    <a:pt x="96562" y="299447"/>
                  </a:cubicBezTo>
                  <a:lnTo>
                    <a:pt x="94181" y="298494"/>
                  </a:lnTo>
                  <a:cubicBezTo>
                    <a:pt x="89324" y="296589"/>
                    <a:pt x="86847" y="291065"/>
                    <a:pt x="88847" y="286111"/>
                  </a:cubicBezTo>
                  <a:cubicBezTo>
                    <a:pt x="90847" y="281159"/>
                    <a:pt x="96277" y="278777"/>
                    <a:pt x="101230" y="280777"/>
                  </a:cubicBezTo>
                  <a:lnTo>
                    <a:pt x="103325" y="281635"/>
                  </a:lnTo>
                  <a:cubicBezTo>
                    <a:pt x="108278" y="283540"/>
                    <a:pt x="110755" y="288969"/>
                    <a:pt x="108850" y="293922"/>
                  </a:cubicBezTo>
                  <a:cubicBezTo>
                    <a:pt x="107421" y="297732"/>
                    <a:pt x="103801" y="300113"/>
                    <a:pt x="99896" y="300113"/>
                  </a:cubicBezTo>
                  <a:close/>
                  <a:moveTo>
                    <a:pt x="232293" y="284968"/>
                  </a:moveTo>
                  <a:cubicBezTo>
                    <a:pt x="229245" y="284968"/>
                    <a:pt x="226292" y="283540"/>
                    <a:pt x="224388" y="280777"/>
                  </a:cubicBezTo>
                  <a:cubicBezTo>
                    <a:pt x="221435" y="276396"/>
                    <a:pt x="222578" y="270491"/>
                    <a:pt x="226864" y="267538"/>
                  </a:cubicBezTo>
                  <a:lnTo>
                    <a:pt x="228769" y="266204"/>
                  </a:lnTo>
                  <a:cubicBezTo>
                    <a:pt x="233151" y="263251"/>
                    <a:pt x="239056" y="264299"/>
                    <a:pt x="242009" y="268585"/>
                  </a:cubicBezTo>
                  <a:cubicBezTo>
                    <a:pt x="244962" y="272872"/>
                    <a:pt x="243914" y="278873"/>
                    <a:pt x="239628" y="281825"/>
                  </a:cubicBezTo>
                  <a:lnTo>
                    <a:pt x="237532" y="283254"/>
                  </a:lnTo>
                  <a:cubicBezTo>
                    <a:pt x="235913" y="284397"/>
                    <a:pt x="234008" y="284873"/>
                    <a:pt x="232199" y="284873"/>
                  </a:cubicBezTo>
                  <a:close/>
                  <a:moveTo>
                    <a:pt x="42555" y="260489"/>
                  </a:moveTo>
                  <a:cubicBezTo>
                    <a:pt x="39983" y="260489"/>
                    <a:pt x="37317" y="259442"/>
                    <a:pt x="35412" y="257346"/>
                  </a:cubicBezTo>
                  <a:lnTo>
                    <a:pt x="33697" y="255441"/>
                  </a:lnTo>
                  <a:cubicBezTo>
                    <a:pt x="30268" y="251441"/>
                    <a:pt x="30745" y="245440"/>
                    <a:pt x="34650" y="242011"/>
                  </a:cubicBezTo>
                  <a:cubicBezTo>
                    <a:pt x="38555" y="238582"/>
                    <a:pt x="44651" y="238963"/>
                    <a:pt x="48080" y="242963"/>
                  </a:cubicBezTo>
                  <a:lnTo>
                    <a:pt x="49604" y="244678"/>
                  </a:lnTo>
                  <a:cubicBezTo>
                    <a:pt x="53128" y="248583"/>
                    <a:pt x="52747" y="254679"/>
                    <a:pt x="48842" y="258108"/>
                  </a:cubicBezTo>
                  <a:cubicBezTo>
                    <a:pt x="47032" y="259727"/>
                    <a:pt x="44746" y="260489"/>
                    <a:pt x="42460" y="260489"/>
                  </a:cubicBezTo>
                  <a:close/>
                  <a:moveTo>
                    <a:pt x="279442" y="233534"/>
                  </a:moveTo>
                  <a:cubicBezTo>
                    <a:pt x="277918" y="233534"/>
                    <a:pt x="276299" y="233152"/>
                    <a:pt x="274870" y="232391"/>
                  </a:cubicBezTo>
                  <a:cubicBezTo>
                    <a:pt x="270299" y="229819"/>
                    <a:pt x="268584" y="224009"/>
                    <a:pt x="271155" y="219436"/>
                  </a:cubicBezTo>
                  <a:lnTo>
                    <a:pt x="272203" y="217436"/>
                  </a:lnTo>
                  <a:cubicBezTo>
                    <a:pt x="274680" y="212769"/>
                    <a:pt x="280490" y="211055"/>
                    <a:pt x="285062" y="213531"/>
                  </a:cubicBezTo>
                  <a:cubicBezTo>
                    <a:pt x="289729" y="216008"/>
                    <a:pt x="291444" y="221818"/>
                    <a:pt x="288967" y="226390"/>
                  </a:cubicBezTo>
                  <a:lnTo>
                    <a:pt x="287729" y="228676"/>
                  </a:lnTo>
                  <a:cubicBezTo>
                    <a:pt x="286014" y="231819"/>
                    <a:pt x="282776" y="233629"/>
                    <a:pt x="279347" y="233629"/>
                  </a:cubicBezTo>
                  <a:close/>
                  <a:moveTo>
                    <a:pt x="10075" y="198863"/>
                  </a:moveTo>
                  <a:cubicBezTo>
                    <a:pt x="5789" y="198863"/>
                    <a:pt x="1883" y="196005"/>
                    <a:pt x="836" y="191624"/>
                  </a:cubicBezTo>
                  <a:lnTo>
                    <a:pt x="264" y="189147"/>
                  </a:lnTo>
                  <a:cubicBezTo>
                    <a:pt x="-974" y="184004"/>
                    <a:pt x="2265" y="178860"/>
                    <a:pt x="7313" y="177717"/>
                  </a:cubicBezTo>
                  <a:cubicBezTo>
                    <a:pt x="12457" y="176574"/>
                    <a:pt x="17600" y="179717"/>
                    <a:pt x="18743" y="184766"/>
                  </a:cubicBezTo>
                  <a:lnTo>
                    <a:pt x="19314" y="187051"/>
                  </a:lnTo>
                  <a:cubicBezTo>
                    <a:pt x="20553" y="192195"/>
                    <a:pt x="17505" y="197338"/>
                    <a:pt x="12361" y="198577"/>
                  </a:cubicBezTo>
                  <a:cubicBezTo>
                    <a:pt x="11599" y="198767"/>
                    <a:pt x="10837" y="198863"/>
                    <a:pt x="10075" y="198863"/>
                  </a:cubicBezTo>
                  <a:close/>
                  <a:moveTo>
                    <a:pt x="297254" y="166192"/>
                  </a:moveTo>
                  <a:lnTo>
                    <a:pt x="297159" y="166192"/>
                  </a:lnTo>
                  <a:cubicBezTo>
                    <a:pt x="291920" y="166192"/>
                    <a:pt x="287729" y="161810"/>
                    <a:pt x="287729" y="156571"/>
                  </a:cubicBezTo>
                  <a:lnTo>
                    <a:pt x="287729" y="154286"/>
                  </a:lnTo>
                  <a:cubicBezTo>
                    <a:pt x="287729" y="149047"/>
                    <a:pt x="292015" y="144475"/>
                    <a:pt x="297254" y="144475"/>
                  </a:cubicBezTo>
                  <a:cubicBezTo>
                    <a:pt x="302492" y="144475"/>
                    <a:pt x="306779" y="148475"/>
                    <a:pt x="306779" y="153714"/>
                  </a:cubicBezTo>
                  <a:lnTo>
                    <a:pt x="306779" y="156857"/>
                  </a:lnTo>
                  <a:cubicBezTo>
                    <a:pt x="306779" y="162096"/>
                    <a:pt x="302398" y="166287"/>
                    <a:pt x="297254" y="166287"/>
                  </a:cubicBezTo>
                  <a:close/>
                  <a:moveTo>
                    <a:pt x="9980" y="129140"/>
                  </a:moveTo>
                  <a:cubicBezTo>
                    <a:pt x="9218" y="129140"/>
                    <a:pt x="8456" y="129140"/>
                    <a:pt x="7694" y="128854"/>
                  </a:cubicBezTo>
                  <a:cubicBezTo>
                    <a:pt x="2550" y="127616"/>
                    <a:pt x="-498" y="122472"/>
                    <a:pt x="741" y="117329"/>
                  </a:cubicBezTo>
                  <a:lnTo>
                    <a:pt x="1407" y="114852"/>
                  </a:lnTo>
                  <a:cubicBezTo>
                    <a:pt x="2741" y="109709"/>
                    <a:pt x="7980" y="106756"/>
                    <a:pt x="13028" y="108089"/>
                  </a:cubicBezTo>
                  <a:cubicBezTo>
                    <a:pt x="18171" y="109423"/>
                    <a:pt x="21124" y="114662"/>
                    <a:pt x="19791" y="119710"/>
                  </a:cubicBezTo>
                  <a:lnTo>
                    <a:pt x="19219" y="121900"/>
                  </a:lnTo>
                  <a:cubicBezTo>
                    <a:pt x="18171" y="126282"/>
                    <a:pt x="14266" y="129140"/>
                    <a:pt x="9980" y="129140"/>
                  </a:cubicBezTo>
                  <a:close/>
                  <a:moveTo>
                    <a:pt x="281443" y="97707"/>
                  </a:moveTo>
                  <a:cubicBezTo>
                    <a:pt x="277918" y="97707"/>
                    <a:pt x="274584" y="95802"/>
                    <a:pt x="272965" y="92468"/>
                  </a:cubicBezTo>
                  <a:lnTo>
                    <a:pt x="271918" y="90468"/>
                  </a:lnTo>
                  <a:cubicBezTo>
                    <a:pt x="269441" y="85801"/>
                    <a:pt x="271251" y="80086"/>
                    <a:pt x="275823" y="77609"/>
                  </a:cubicBezTo>
                  <a:cubicBezTo>
                    <a:pt x="280490" y="75133"/>
                    <a:pt x="286205" y="76942"/>
                    <a:pt x="288682" y="81515"/>
                  </a:cubicBezTo>
                  <a:lnTo>
                    <a:pt x="289920" y="83800"/>
                  </a:lnTo>
                  <a:cubicBezTo>
                    <a:pt x="292301" y="88468"/>
                    <a:pt x="290396" y="94183"/>
                    <a:pt x="285729" y="96564"/>
                  </a:cubicBezTo>
                  <a:cubicBezTo>
                    <a:pt x="284300" y="97231"/>
                    <a:pt x="282871" y="97612"/>
                    <a:pt x="281443" y="97612"/>
                  </a:cubicBezTo>
                  <a:close/>
                  <a:moveTo>
                    <a:pt x="42175" y="67417"/>
                  </a:moveTo>
                  <a:cubicBezTo>
                    <a:pt x="39889" y="67417"/>
                    <a:pt x="37698" y="66655"/>
                    <a:pt x="35792" y="65036"/>
                  </a:cubicBezTo>
                  <a:cubicBezTo>
                    <a:pt x="31887" y="61512"/>
                    <a:pt x="31507" y="55511"/>
                    <a:pt x="35031" y="51606"/>
                  </a:cubicBezTo>
                  <a:lnTo>
                    <a:pt x="36650" y="49701"/>
                  </a:lnTo>
                  <a:cubicBezTo>
                    <a:pt x="40174" y="45796"/>
                    <a:pt x="46175" y="45510"/>
                    <a:pt x="50080" y="49034"/>
                  </a:cubicBezTo>
                  <a:cubicBezTo>
                    <a:pt x="53986" y="52558"/>
                    <a:pt x="54271" y="58559"/>
                    <a:pt x="50747" y="62465"/>
                  </a:cubicBezTo>
                  <a:lnTo>
                    <a:pt x="49223" y="64179"/>
                  </a:lnTo>
                  <a:cubicBezTo>
                    <a:pt x="47318" y="66275"/>
                    <a:pt x="44746" y="67322"/>
                    <a:pt x="42079" y="67322"/>
                  </a:cubicBezTo>
                  <a:close/>
                  <a:moveTo>
                    <a:pt x="235817" y="44938"/>
                  </a:moveTo>
                  <a:cubicBezTo>
                    <a:pt x="233913" y="44938"/>
                    <a:pt x="231912" y="44367"/>
                    <a:pt x="230293" y="43129"/>
                  </a:cubicBezTo>
                  <a:lnTo>
                    <a:pt x="228484" y="41891"/>
                  </a:lnTo>
                  <a:cubicBezTo>
                    <a:pt x="224102" y="38938"/>
                    <a:pt x="222959" y="33032"/>
                    <a:pt x="226007" y="28651"/>
                  </a:cubicBezTo>
                  <a:cubicBezTo>
                    <a:pt x="228960" y="24269"/>
                    <a:pt x="234865" y="23126"/>
                    <a:pt x="239247" y="26174"/>
                  </a:cubicBezTo>
                  <a:lnTo>
                    <a:pt x="241437" y="27698"/>
                  </a:lnTo>
                  <a:cubicBezTo>
                    <a:pt x="245724" y="30746"/>
                    <a:pt x="246676" y="36747"/>
                    <a:pt x="243628" y="41033"/>
                  </a:cubicBezTo>
                  <a:cubicBezTo>
                    <a:pt x="241724" y="43605"/>
                    <a:pt x="238866" y="45034"/>
                    <a:pt x="235913" y="45034"/>
                  </a:cubicBezTo>
                  <a:close/>
                  <a:moveTo>
                    <a:pt x="99420" y="27603"/>
                  </a:moveTo>
                  <a:cubicBezTo>
                    <a:pt x="95610" y="27603"/>
                    <a:pt x="91990" y="25317"/>
                    <a:pt x="90561" y="21507"/>
                  </a:cubicBezTo>
                  <a:cubicBezTo>
                    <a:pt x="88657" y="16554"/>
                    <a:pt x="91133" y="11125"/>
                    <a:pt x="96086" y="9220"/>
                  </a:cubicBezTo>
                  <a:lnTo>
                    <a:pt x="98467" y="8363"/>
                  </a:lnTo>
                  <a:cubicBezTo>
                    <a:pt x="103420" y="6553"/>
                    <a:pt x="108850" y="9125"/>
                    <a:pt x="110659" y="14078"/>
                  </a:cubicBezTo>
                  <a:cubicBezTo>
                    <a:pt x="112469" y="19030"/>
                    <a:pt x="109897" y="24460"/>
                    <a:pt x="104944" y="26270"/>
                  </a:cubicBezTo>
                  <a:lnTo>
                    <a:pt x="102754" y="27032"/>
                  </a:lnTo>
                  <a:cubicBezTo>
                    <a:pt x="101611" y="27413"/>
                    <a:pt x="100468" y="27698"/>
                    <a:pt x="99325" y="27698"/>
                  </a:cubicBezTo>
                  <a:close/>
                  <a:moveTo>
                    <a:pt x="171048" y="19316"/>
                  </a:moveTo>
                  <a:cubicBezTo>
                    <a:pt x="171048" y="19316"/>
                    <a:pt x="170191" y="19316"/>
                    <a:pt x="169714" y="19316"/>
                  </a:cubicBezTo>
                  <a:lnTo>
                    <a:pt x="167523" y="19030"/>
                  </a:lnTo>
                  <a:cubicBezTo>
                    <a:pt x="162285" y="18459"/>
                    <a:pt x="158570" y="13696"/>
                    <a:pt x="159141" y="8458"/>
                  </a:cubicBezTo>
                  <a:cubicBezTo>
                    <a:pt x="159713" y="3219"/>
                    <a:pt x="164475" y="-591"/>
                    <a:pt x="169714" y="76"/>
                  </a:cubicBezTo>
                  <a:lnTo>
                    <a:pt x="172381" y="457"/>
                  </a:lnTo>
                  <a:cubicBezTo>
                    <a:pt x="177620" y="1219"/>
                    <a:pt x="181239" y="5981"/>
                    <a:pt x="180477" y="11220"/>
                  </a:cubicBezTo>
                  <a:cubicBezTo>
                    <a:pt x="179811" y="15983"/>
                    <a:pt x="175715" y="19412"/>
                    <a:pt x="171048" y="19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C2BD9F42-293A-0553-F20B-C7CD3CBA65A1}"/>
                </a:ext>
              </a:extLst>
            </p:cNvPr>
            <p:cNvSpPr/>
            <p:nvPr/>
          </p:nvSpPr>
          <p:spPr>
            <a:xfrm rot="316174">
              <a:off x="11181411" y="1694661"/>
              <a:ext cx="605197" cy="606469"/>
            </a:xfrm>
            <a:custGeom>
              <a:avLst/>
              <a:gdLst>
                <a:gd name="connsiteX0" fmla="*/ 294017 w 560050"/>
                <a:gd name="connsiteY0" fmla="*/ 561227 h 561227"/>
                <a:gd name="connsiteX1" fmla="*/ 284492 w 560050"/>
                <a:gd name="connsiteY1" fmla="*/ 552179 h 561227"/>
                <a:gd name="connsiteX2" fmla="*/ 293541 w 560050"/>
                <a:gd name="connsiteY2" fmla="*/ 542177 h 561227"/>
                <a:gd name="connsiteX3" fmla="*/ 295732 w 560050"/>
                <a:gd name="connsiteY3" fmla="*/ 542177 h 561227"/>
                <a:gd name="connsiteX4" fmla="*/ 305828 w 560050"/>
                <a:gd name="connsiteY4" fmla="*/ 550940 h 561227"/>
                <a:gd name="connsiteX5" fmla="*/ 296970 w 560050"/>
                <a:gd name="connsiteY5" fmla="*/ 561037 h 561227"/>
                <a:gd name="connsiteX6" fmla="*/ 294493 w 560050"/>
                <a:gd name="connsiteY6" fmla="*/ 561227 h 561227"/>
                <a:gd name="connsiteX7" fmla="*/ 294017 w 560050"/>
                <a:gd name="connsiteY7" fmla="*/ 561227 h 561227"/>
                <a:gd name="connsiteX8" fmla="*/ 228485 w 560050"/>
                <a:gd name="connsiteY8" fmla="*/ 556941 h 561227"/>
                <a:gd name="connsiteX9" fmla="*/ 226771 w 560050"/>
                <a:gd name="connsiteY9" fmla="*/ 556751 h 561227"/>
                <a:gd name="connsiteX10" fmla="*/ 224294 w 560050"/>
                <a:gd name="connsiteY10" fmla="*/ 556274 h 561227"/>
                <a:gd name="connsiteX11" fmla="*/ 216865 w 560050"/>
                <a:gd name="connsiteY11" fmla="*/ 545035 h 561227"/>
                <a:gd name="connsiteX12" fmla="*/ 228104 w 560050"/>
                <a:gd name="connsiteY12" fmla="*/ 537605 h 561227"/>
                <a:gd name="connsiteX13" fmla="*/ 230295 w 560050"/>
                <a:gd name="connsiteY13" fmla="*/ 537986 h 561227"/>
                <a:gd name="connsiteX14" fmla="*/ 237915 w 560050"/>
                <a:gd name="connsiteY14" fmla="*/ 549131 h 561227"/>
                <a:gd name="connsiteX15" fmla="*/ 228580 w 560050"/>
                <a:gd name="connsiteY15" fmla="*/ 556941 h 561227"/>
                <a:gd name="connsiteX16" fmla="*/ 360883 w 560050"/>
                <a:gd name="connsiteY16" fmla="*/ 549035 h 561227"/>
                <a:gd name="connsiteX17" fmla="*/ 351834 w 560050"/>
                <a:gd name="connsiteY17" fmla="*/ 542368 h 561227"/>
                <a:gd name="connsiteX18" fmla="*/ 358025 w 560050"/>
                <a:gd name="connsiteY18" fmla="*/ 530462 h 561227"/>
                <a:gd name="connsiteX19" fmla="*/ 360216 w 560050"/>
                <a:gd name="connsiteY19" fmla="*/ 529795 h 561227"/>
                <a:gd name="connsiteX20" fmla="*/ 372218 w 560050"/>
                <a:gd name="connsiteY20" fmla="*/ 535891 h 561227"/>
                <a:gd name="connsiteX21" fmla="*/ 366121 w 560050"/>
                <a:gd name="connsiteY21" fmla="*/ 547892 h 561227"/>
                <a:gd name="connsiteX22" fmla="*/ 363836 w 560050"/>
                <a:gd name="connsiteY22" fmla="*/ 548654 h 561227"/>
                <a:gd name="connsiteX23" fmla="*/ 360978 w 560050"/>
                <a:gd name="connsiteY23" fmla="*/ 549131 h 561227"/>
                <a:gd name="connsiteX24" fmla="*/ 163715 w 560050"/>
                <a:gd name="connsiteY24" fmla="*/ 535986 h 561227"/>
                <a:gd name="connsiteX25" fmla="*/ 159715 w 560050"/>
                <a:gd name="connsiteY25" fmla="*/ 535129 h 561227"/>
                <a:gd name="connsiteX26" fmla="*/ 157524 w 560050"/>
                <a:gd name="connsiteY26" fmla="*/ 534081 h 561227"/>
                <a:gd name="connsiteX27" fmla="*/ 153047 w 560050"/>
                <a:gd name="connsiteY27" fmla="*/ 521413 h 561227"/>
                <a:gd name="connsiteX28" fmla="*/ 165716 w 560050"/>
                <a:gd name="connsiteY28" fmla="*/ 516936 h 561227"/>
                <a:gd name="connsiteX29" fmla="*/ 167716 w 560050"/>
                <a:gd name="connsiteY29" fmla="*/ 517889 h 561227"/>
                <a:gd name="connsiteX30" fmla="*/ 172288 w 560050"/>
                <a:gd name="connsiteY30" fmla="*/ 530557 h 561227"/>
                <a:gd name="connsiteX31" fmla="*/ 163620 w 560050"/>
                <a:gd name="connsiteY31" fmla="*/ 536081 h 561227"/>
                <a:gd name="connsiteX32" fmla="*/ 422700 w 560050"/>
                <a:gd name="connsiteY32" fmla="*/ 520556 h 561227"/>
                <a:gd name="connsiteX33" fmla="*/ 414604 w 560050"/>
                <a:gd name="connsiteY33" fmla="*/ 516079 h 561227"/>
                <a:gd name="connsiteX34" fmla="*/ 417652 w 560050"/>
                <a:gd name="connsiteY34" fmla="*/ 502934 h 561227"/>
                <a:gd name="connsiteX35" fmla="*/ 419557 w 560050"/>
                <a:gd name="connsiteY35" fmla="*/ 501696 h 561227"/>
                <a:gd name="connsiteX36" fmla="*/ 432701 w 560050"/>
                <a:gd name="connsiteY36" fmla="*/ 504649 h 561227"/>
                <a:gd name="connsiteX37" fmla="*/ 429748 w 560050"/>
                <a:gd name="connsiteY37" fmla="*/ 517793 h 561227"/>
                <a:gd name="connsiteX38" fmla="*/ 427749 w 560050"/>
                <a:gd name="connsiteY38" fmla="*/ 519032 h 561227"/>
                <a:gd name="connsiteX39" fmla="*/ 422700 w 560050"/>
                <a:gd name="connsiteY39" fmla="*/ 520460 h 561227"/>
                <a:gd name="connsiteX40" fmla="*/ 106280 w 560050"/>
                <a:gd name="connsiteY40" fmla="*/ 499505 h 561227"/>
                <a:gd name="connsiteX41" fmla="*/ 100279 w 560050"/>
                <a:gd name="connsiteY41" fmla="*/ 497315 h 561227"/>
                <a:gd name="connsiteX42" fmla="*/ 98374 w 560050"/>
                <a:gd name="connsiteY42" fmla="*/ 495695 h 561227"/>
                <a:gd name="connsiteX43" fmla="*/ 97326 w 560050"/>
                <a:gd name="connsiteY43" fmla="*/ 482265 h 561227"/>
                <a:gd name="connsiteX44" fmla="*/ 110756 w 560050"/>
                <a:gd name="connsiteY44" fmla="*/ 481217 h 561227"/>
                <a:gd name="connsiteX45" fmla="*/ 112471 w 560050"/>
                <a:gd name="connsiteY45" fmla="*/ 482646 h 561227"/>
                <a:gd name="connsiteX46" fmla="*/ 113804 w 560050"/>
                <a:gd name="connsiteY46" fmla="*/ 496076 h 561227"/>
                <a:gd name="connsiteX47" fmla="*/ 106470 w 560050"/>
                <a:gd name="connsiteY47" fmla="*/ 499505 h 561227"/>
                <a:gd name="connsiteX48" fmla="*/ 475374 w 560050"/>
                <a:gd name="connsiteY48" fmla="*/ 477598 h 561227"/>
                <a:gd name="connsiteX49" fmla="*/ 468801 w 560050"/>
                <a:gd name="connsiteY49" fmla="*/ 474931 h 561227"/>
                <a:gd name="connsiteX50" fmla="*/ 468420 w 560050"/>
                <a:gd name="connsiteY50" fmla="*/ 461501 h 561227"/>
                <a:gd name="connsiteX51" fmla="*/ 470040 w 560050"/>
                <a:gd name="connsiteY51" fmla="*/ 459786 h 561227"/>
                <a:gd name="connsiteX52" fmla="*/ 483470 w 560050"/>
                <a:gd name="connsiteY52" fmla="*/ 459405 h 561227"/>
                <a:gd name="connsiteX53" fmla="*/ 483850 w 560050"/>
                <a:gd name="connsiteY53" fmla="*/ 472835 h 561227"/>
                <a:gd name="connsiteX54" fmla="*/ 482231 w 560050"/>
                <a:gd name="connsiteY54" fmla="*/ 474550 h 561227"/>
                <a:gd name="connsiteX55" fmla="*/ 475374 w 560050"/>
                <a:gd name="connsiteY55" fmla="*/ 477503 h 561227"/>
                <a:gd name="connsiteX56" fmla="*/ 59607 w 560050"/>
                <a:gd name="connsiteY56" fmla="*/ 450071 h 561227"/>
                <a:gd name="connsiteX57" fmla="*/ 51892 w 560050"/>
                <a:gd name="connsiteY57" fmla="*/ 446165 h 561227"/>
                <a:gd name="connsiteX58" fmla="*/ 50463 w 560050"/>
                <a:gd name="connsiteY58" fmla="*/ 444165 h 561227"/>
                <a:gd name="connsiteX59" fmla="*/ 52654 w 560050"/>
                <a:gd name="connsiteY59" fmla="*/ 430830 h 561227"/>
                <a:gd name="connsiteX60" fmla="*/ 65989 w 560050"/>
                <a:gd name="connsiteY60" fmla="*/ 433021 h 561227"/>
                <a:gd name="connsiteX61" fmla="*/ 67322 w 560050"/>
                <a:gd name="connsiteY61" fmla="*/ 434831 h 561227"/>
                <a:gd name="connsiteX62" fmla="*/ 65322 w 560050"/>
                <a:gd name="connsiteY62" fmla="*/ 448166 h 561227"/>
                <a:gd name="connsiteX63" fmla="*/ 59702 w 560050"/>
                <a:gd name="connsiteY63" fmla="*/ 449975 h 561227"/>
                <a:gd name="connsiteX64" fmla="*/ 515855 w 560050"/>
                <a:gd name="connsiteY64" fmla="*/ 422924 h 561227"/>
                <a:gd name="connsiteX65" fmla="*/ 511187 w 560050"/>
                <a:gd name="connsiteY65" fmla="*/ 421686 h 561227"/>
                <a:gd name="connsiteX66" fmla="*/ 507473 w 560050"/>
                <a:gd name="connsiteY66" fmla="*/ 408732 h 561227"/>
                <a:gd name="connsiteX67" fmla="*/ 508616 w 560050"/>
                <a:gd name="connsiteY67" fmla="*/ 406732 h 561227"/>
                <a:gd name="connsiteX68" fmla="*/ 521570 w 560050"/>
                <a:gd name="connsiteY68" fmla="*/ 403017 h 561227"/>
                <a:gd name="connsiteX69" fmla="*/ 525284 w 560050"/>
                <a:gd name="connsiteY69" fmla="*/ 415971 h 561227"/>
                <a:gd name="connsiteX70" fmla="*/ 524141 w 560050"/>
                <a:gd name="connsiteY70" fmla="*/ 418067 h 561227"/>
                <a:gd name="connsiteX71" fmla="*/ 515855 w 560050"/>
                <a:gd name="connsiteY71" fmla="*/ 422924 h 561227"/>
                <a:gd name="connsiteX72" fmla="*/ 26746 w 560050"/>
                <a:gd name="connsiteY72" fmla="*/ 390539 h 561227"/>
                <a:gd name="connsiteX73" fmla="*/ 17888 w 560050"/>
                <a:gd name="connsiteY73" fmla="*/ 384539 h 561227"/>
                <a:gd name="connsiteX74" fmla="*/ 17031 w 560050"/>
                <a:gd name="connsiteY74" fmla="*/ 382348 h 561227"/>
                <a:gd name="connsiteX75" fmla="*/ 22365 w 560050"/>
                <a:gd name="connsiteY75" fmla="*/ 369965 h 561227"/>
                <a:gd name="connsiteX76" fmla="*/ 34747 w 560050"/>
                <a:gd name="connsiteY76" fmla="*/ 375299 h 561227"/>
                <a:gd name="connsiteX77" fmla="*/ 35604 w 560050"/>
                <a:gd name="connsiteY77" fmla="*/ 377490 h 561227"/>
                <a:gd name="connsiteX78" fmla="*/ 30270 w 560050"/>
                <a:gd name="connsiteY78" fmla="*/ 389873 h 561227"/>
                <a:gd name="connsiteX79" fmla="*/ 26746 w 560050"/>
                <a:gd name="connsiteY79" fmla="*/ 390539 h 561227"/>
                <a:gd name="connsiteX80" fmla="*/ 541477 w 560050"/>
                <a:gd name="connsiteY80" fmla="*/ 359869 h 561227"/>
                <a:gd name="connsiteX81" fmla="*/ 539000 w 560050"/>
                <a:gd name="connsiteY81" fmla="*/ 359488 h 561227"/>
                <a:gd name="connsiteX82" fmla="*/ 532333 w 560050"/>
                <a:gd name="connsiteY82" fmla="*/ 347772 h 561227"/>
                <a:gd name="connsiteX83" fmla="*/ 532904 w 560050"/>
                <a:gd name="connsiteY83" fmla="*/ 345581 h 561227"/>
                <a:gd name="connsiteX84" fmla="*/ 544525 w 560050"/>
                <a:gd name="connsiteY84" fmla="*/ 338723 h 561227"/>
                <a:gd name="connsiteX85" fmla="*/ 551383 w 560050"/>
                <a:gd name="connsiteY85" fmla="*/ 350344 h 561227"/>
                <a:gd name="connsiteX86" fmla="*/ 550716 w 560050"/>
                <a:gd name="connsiteY86" fmla="*/ 352725 h 561227"/>
                <a:gd name="connsiteX87" fmla="*/ 541572 w 560050"/>
                <a:gd name="connsiteY87" fmla="*/ 359774 h 561227"/>
                <a:gd name="connsiteX88" fmla="*/ 9791 w 560050"/>
                <a:gd name="connsiteY88" fmla="*/ 324626 h 561227"/>
                <a:gd name="connsiteX89" fmla="*/ 362 w 560050"/>
                <a:gd name="connsiteY89" fmla="*/ 316340 h 561227"/>
                <a:gd name="connsiteX90" fmla="*/ 76 w 560050"/>
                <a:gd name="connsiteY90" fmla="*/ 313863 h 561227"/>
                <a:gd name="connsiteX91" fmla="*/ 8458 w 560050"/>
                <a:gd name="connsiteY91" fmla="*/ 303290 h 561227"/>
                <a:gd name="connsiteX92" fmla="*/ 19030 w 560050"/>
                <a:gd name="connsiteY92" fmla="*/ 311672 h 561227"/>
                <a:gd name="connsiteX93" fmla="*/ 19316 w 560050"/>
                <a:gd name="connsiteY93" fmla="*/ 313863 h 561227"/>
                <a:gd name="connsiteX94" fmla="*/ 11125 w 560050"/>
                <a:gd name="connsiteY94" fmla="*/ 324531 h 561227"/>
                <a:gd name="connsiteX95" fmla="*/ 9887 w 560050"/>
                <a:gd name="connsiteY95" fmla="*/ 324531 h 561227"/>
                <a:gd name="connsiteX96" fmla="*/ 550525 w 560050"/>
                <a:gd name="connsiteY96" fmla="*/ 292432 h 561227"/>
                <a:gd name="connsiteX97" fmla="*/ 550431 w 560050"/>
                <a:gd name="connsiteY97" fmla="*/ 292432 h 561227"/>
                <a:gd name="connsiteX98" fmla="*/ 541000 w 560050"/>
                <a:gd name="connsiteY98" fmla="*/ 282812 h 561227"/>
                <a:gd name="connsiteX99" fmla="*/ 541000 w 560050"/>
                <a:gd name="connsiteY99" fmla="*/ 279478 h 561227"/>
                <a:gd name="connsiteX100" fmla="*/ 550525 w 560050"/>
                <a:gd name="connsiteY100" fmla="*/ 269953 h 561227"/>
                <a:gd name="connsiteX101" fmla="*/ 560050 w 560050"/>
                <a:gd name="connsiteY101" fmla="*/ 279478 h 561227"/>
                <a:gd name="connsiteX102" fmla="*/ 560050 w 560050"/>
                <a:gd name="connsiteY102" fmla="*/ 283002 h 561227"/>
                <a:gd name="connsiteX103" fmla="*/ 550525 w 560050"/>
                <a:gd name="connsiteY103" fmla="*/ 292432 h 561227"/>
                <a:gd name="connsiteX104" fmla="*/ 9696 w 560050"/>
                <a:gd name="connsiteY104" fmla="*/ 256618 h 561227"/>
                <a:gd name="connsiteX105" fmla="*/ 8553 w 560050"/>
                <a:gd name="connsiteY105" fmla="*/ 256618 h 561227"/>
                <a:gd name="connsiteX106" fmla="*/ 266 w 560050"/>
                <a:gd name="connsiteY106" fmla="*/ 246045 h 561227"/>
                <a:gd name="connsiteX107" fmla="*/ 552 w 560050"/>
                <a:gd name="connsiteY107" fmla="*/ 243759 h 561227"/>
                <a:gd name="connsiteX108" fmla="*/ 11220 w 560050"/>
                <a:gd name="connsiteY108" fmla="*/ 235472 h 561227"/>
                <a:gd name="connsiteX109" fmla="*/ 19412 w 560050"/>
                <a:gd name="connsiteY109" fmla="*/ 246045 h 561227"/>
                <a:gd name="connsiteX110" fmla="*/ 19126 w 560050"/>
                <a:gd name="connsiteY110" fmla="*/ 248236 h 561227"/>
                <a:gd name="connsiteX111" fmla="*/ 9696 w 560050"/>
                <a:gd name="connsiteY111" fmla="*/ 256618 h 561227"/>
                <a:gd name="connsiteX112" fmla="*/ 542429 w 560050"/>
                <a:gd name="connsiteY112" fmla="*/ 223852 h 561227"/>
                <a:gd name="connsiteX113" fmla="*/ 533190 w 560050"/>
                <a:gd name="connsiteY113" fmla="*/ 216708 h 561227"/>
                <a:gd name="connsiteX114" fmla="*/ 532618 w 560050"/>
                <a:gd name="connsiteY114" fmla="*/ 214422 h 561227"/>
                <a:gd name="connsiteX115" fmla="*/ 539477 w 560050"/>
                <a:gd name="connsiteY115" fmla="*/ 202802 h 561227"/>
                <a:gd name="connsiteX116" fmla="*/ 551097 w 560050"/>
                <a:gd name="connsiteY116" fmla="*/ 209660 h 561227"/>
                <a:gd name="connsiteX117" fmla="*/ 551668 w 560050"/>
                <a:gd name="connsiteY117" fmla="*/ 211946 h 561227"/>
                <a:gd name="connsiteX118" fmla="*/ 544811 w 560050"/>
                <a:gd name="connsiteY118" fmla="*/ 223566 h 561227"/>
                <a:gd name="connsiteX119" fmla="*/ 542429 w 560050"/>
                <a:gd name="connsiteY119" fmla="*/ 223852 h 561227"/>
                <a:gd name="connsiteX120" fmla="*/ 26460 w 560050"/>
                <a:gd name="connsiteY120" fmla="*/ 190705 h 561227"/>
                <a:gd name="connsiteX121" fmla="*/ 22936 w 560050"/>
                <a:gd name="connsiteY121" fmla="*/ 190038 h 561227"/>
                <a:gd name="connsiteX122" fmla="*/ 17602 w 560050"/>
                <a:gd name="connsiteY122" fmla="*/ 177656 h 561227"/>
                <a:gd name="connsiteX123" fmla="*/ 18554 w 560050"/>
                <a:gd name="connsiteY123" fmla="*/ 175370 h 561227"/>
                <a:gd name="connsiteX124" fmla="*/ 30937 w 560050"/>
                <a:gd name="connsiteY124" fmla="*/ 170131 h 561227"/>
                <a:gd name="connsiteX125" fmla="*/ 36175 w 560050"/>
                <a:gd name="connsiteY125" fmla="*/ 182513 h 561227"/>
                <a:gd name="connsiteX126" fmla="*/ 35318 w 560050"/>
                <a:gd name="connsiteY126" fmla="*/ 184609 h 561227"/>
                <a:gd name="connsiteX127" fmla="*/ 26460 w 560050"/>
                <a:gd name="connsiteY127" fmla="*/ 190610 h 561227"/>
                <a:gd name="connsiteX128" fmla="*/ 517759 w 560050"/>
                <a:gd name="connsiteY128" fmla="*/ 160511 h 561227"/>
                <a:gd name="connsiteX129" fmla="*/ 509377 w 560050"/>
                <a:gd name="connsiteY129" fmla="*/ 155558 h 561227"/>
                <a:gd name="connsiteX130" fmla="*/ 508330 w 560050"/>
                <a:gd name="connsiteY130" fmla="*/ 153653 h 561227"/>
                <a:gd name="connsiteX131" fmla="*/ 512045 w 560050"/>
                <a:gd name="connsiteY131" fmla="*/ 140699 h 561227"/>
                <a:gd name="connsiteX132" fmla="*/ 524998 w 560050"/>
                <a:gd name="connsiteY132" fmla="*/ 144413 h 561227"/>
                <a:gd name="connsiteX133" fmla="*/ 526141 w 560050"/>
                <a:gd name="connsiteY133" fmla="*/ 146604 h 561227"/>
                <a:gd name="connsiteX134" fmla="*/ 522332 w 560050"/>
                <a:gd name="connsiteY134" fmla="*/ 159558 h 561227"/>
                <a:gd name="connsiteX135" fmla="*/ 517855 w 560050"/>
                <a:gd name="connsiteY135" fmla="*/ 160701 h 561227"/>
                <a:gd name="connsiteX136" fmla="*/ 59131 w 560050"/>
                <a:gd name="connsiteY136" fmla="*/ 131078 h 561227"/>
                <a:gd name="connsiteX137" fmla="*/ 53606 w 560050"/>
                <a:gd name="connsiteY137" fmla="*/ 129269 h 561227"/>
                <a:gd name="connsiteX138" fmla="*/ 51416 w 560050"/>
                <a:gd name="connsiteY138" fmla="*/ 115934 h 561227"/>
                <a:gd name="connsiteX139" fmla="*/ 52844 w 560050"/>
                <a:gd name="connsiteY139" fmla="*/ 113933 h 561227"/>
                <a:gd name="connsiteX140" fmla="*/ 66179 w 560050"/>
                <a:gd name="connsiteY140" fmla="*/ 111933 h 561227"/>
                <a:gd name="connsiteX141" fmla="*/ 68180 w 560050"/>
                <a:gd name="connsiteY141" fmla="*/ 125268 h 561227"/>
                <a:gd name="connsiteX142" fmla="*/ 66846 w 560050"/>
                <a:gd name="connsiteY142" fmla="*/ 127078 h 561227"/>
                <a:gd name="connsiteX143" fmla="*/ 59131 w 560050"/>
                <a:gd name="connsiteY143" fmla="*/ 131078 h 561227"/>
                <a:gd name="connsiteX144" fmla="*/ 478040 w 560050"/>
                <a:gd name="connsiteY144" fmla="*/ 105361 h 561227"/>
                <a:gd name="connsiteX145" fmla="*/ 470992 w 560050"/>
                <a:gd name="connsiteY145" fmla="*/ 102313 h 561227"/>
                <a:gd name="connsiteX146" fmla="*/ 469468 w 560050"/>
                <a:gd name="connsiteY146" fmla="*/ 100694 h 561227"/>
                <a:gd name="connsiteX147" fmla="*/ 469849 w 560050"/>
                <a:gd name="connsiteY147" fmla="*/ 87263 h 561227"/>
                <a:gd name="connsiteX148" fmla="*/ 483279 w 560050"/>
                <a:gd name="connsiteY148" fmla="*/ 87644 h 561227"/>
                <a:gd name="connsiteX149" fmla="*/ 484993 w 560050"/>
                <a:gd name="connsiteY149" fmla="*/ 89454 h 561227"/>
                <a:gd name="connsiteX150" fmla="*/ 484422 w 560050"/>
                <a:gd name="connsiteY150" fmla="*/ 102884 h 561227"/>
                <a:gd name="connsiteX151" fmla="*/ 477945 w 560050"/>
                <a:gd name="connsiteY151" fmla="*/ 105361 h 561227"/>
                <a:gd name="connsiteX152" fmla="*/ 105613 w 560050"/>
                <a:gd name="connsiteY152" fmla="*/ 81358 h 561227"/>
                <a:gd name="connsiteX153" fmla="*/ 98279 w 560050"/>
                <a:gd name="connsiteY153" fmla="*/ 77929 h 561227"/>
                <a:gd name="connsiteX154" fmla="*/ 99517 w 560050"/>
                <a:gd name="connsiteY154" fmla="*/ 64499 h 561227"/>
                <a:gd name="connsiteX155" fmla="*/ 101422 w 560050"/>
                <a:gd name="connsiteY155" fmla="*/ 62975 h 561227"/>
                <a:gd name="connsiteX156" fmla="*/ 114852 w 560050"/>
                <a:gd name="connsiteY156" fmla="*/ 64308 h 561227"/>
                <a:gd name="connsiteX157" fmla="*/ 113518 w 560050"/>
                <a:gd name="connsiteY157" fmla="*/ 77738 h 561227"/>
                <a:gd name="connsiteX158" fmla="*/ 111804 w 560050"/>
                <a:gd name="connsiteY158" fmla="*/ 79167 h 561227"/>
                <a:gd name="connsiteX159" fmla="*/ 105708 w 560050"/>
                <a:gd name="connsiteY159" fmla="*/ 81358 h 561227"/>
                <a:gd name="connsiteX160" fmla="*/ 425843 w 560050"/>
                <a:gd name="connsiteY160" fmla="*/ 61641 h 561227"/>
                <a:gd name="connsiteX161" fmla="*/ 420795 w 560050"/>
                <a:gd name="connsiteY161" fmla="*/ 60212 h 561227"/>
                <a:gd name="connsiteX162" fmla="*/ 418795 w 560050"/>
                <a:gd name="connsiteY162" fmla="*/ 58974 h 561227"/>
                <a:gd name="connsiteX163" fmla="*/ 415842 w 560050"/>
                <a:gd name="connsiteY163" fmla="*/ 45830 h 561227"/>
                <a:gd name="connsiteX164" fmla="*/ 428987 w 560050"/>
                <a:gd name="connsiteY164" fmla="*/ 42877 h 561227"/>
                <a:gd name="connsiteX165" fmla="*/ 430987 w 560050"/>
                <a:gd name="connsiteY165" fmla="*/ 44115 h 561227"/>
                <a:gd name="connsiteX166" fmla="*/ 433939 w 560050"/>
                <a:gd name="connsiteY166" fmla="*/ 57260 h 561227"/>
                <a:gd name="connsiteX167" fmla="*/ 425843 w 560050"/>
                <a:gd name="connsiteY167" fmla="*/ 61736 h 561227"/>
                <a:gd name="connsiteX168" fmla="*/ 162858 w 560050"/>
                <a:gd name="connsiteY168" fmla="*/ 44687 h 561227"/>
                <a:gd name="connsiteX169" fmla="*/ 154286 w 560050"/>
                <a:gd name="connsiteY169" fmla="*/ 39257 h 561227"/>
                <a:gd name="connsiteX170" fmla="*/ 158857 w 560050"/>
                <a:gd name="connsiteY170" fmla="*/ 26589 h 561227"/>
                <a:gd name="connsiteX171" fmla="*/ 161049 w 560050"/>
                <a:gd name="connsiteY171" fmla="*/ 25541 h 561227"/>
                <a:gd name="connsiteX172" fmla="*/ 173716 w 560050"/>
                <a:gd name="connsiteY172" fmla="*/ 30113 h 561227"/>
                <a:gd name="connsiteX173" fmla="*/ 169145 w 560050"/>
                <a:gd name="connsiteY173" fmla="*/ 42782 h 561227"/>
                <a:gd name="connsiteX174" fmla="*/ 167049 w 560050"/>
                <a:gd name="connsiteY174" fmla="*/ 43734 h 561227"/>
                <a:gd name="connsiteX175" fmla="*/ 162953 w 560050"/>
                <a:gd name="connsiteY175" fmla="*/ 44687 h 561227"/>
                <a:gd name="connsiteX176" fmla="*/ 364407 w 560050"/>
                <a:gd name="connsiteY176" fmla="*/ 32304 h 561227"/>
                <a:gd name="connsiteX177" fmla="*/ 361454 w 560050"/>
                <a:gd name="connsiteY177" fmla="*/ 31828 h 561227"/>
                <a:gd name="connsiteX178" fmla="*/ 359264 w 560050"/>
                <a:gd name="connsiteY178" fmla="*/ 31161 h 561227"/>
                <a:gd name="connsiteX179" fmla="*/ 353072 w 560050"/>
                <a:gd name="connsiteY179" fmla="*/ 19160 h 561227"/>
                <a:gd name="connsiteX180" fmla="*/ 365074 w 560050"/>
                <a:gd name="connsiteY180" fmla="*/ 12968 h 561227"/>
                <a:gd name="connsiteX181" fmla="*/ 367360 w 560050"/>
                <a:gd name="connsiteY181" fmla="*/ 13730 h 561227"/>
                <a:gd name="connsiteX182" fmla="*/ 373361 w 560050"/>
                <a:gd name="connsiteY182" fmla="*/ 25732 h 561227"/>
                <a:gd name="connsiteX183" fmla="*/ 364312 w 560050"/>
                <a:gd name="connsiteY183" fmla="*/ 32304 h 561227"/>
                <a:gd name="connsiteX184" fmla="*/ 227438 w 560050"/>
                <a:gd name="connsiteY184" fmla="*/ 23541 h 561227"/>
                <a:gd name="connsiteX185" fmla="*/ 218103 w 560050"/>
                <a:gd name="connsiteY185" fmla="*/ 15826 h 561227"/>
                <a:gd name="connsiteX186" fmla="*/ 225628 w 560050"/>
                <a:gd name="connsiteY186" fmla="*/ 4682 h 561227"/>
                <a:gd name="connsiteX187" fmla="*/ 228009 w 560050"/>
                <a:gd name="connsiteY187" fmla="*/ 4205 h 561227"/>
                <a:gd name="connsiteX188" fmla="*/ 239058 w 560050"/>
                <a:gd name="connsiteY188" fmla="*/ 11825 h 561227"/>
                <a:gd name="connsiteX189" fmla="*/ 231438 w 560050"/>
                <a:gd name="connsiteY189" fmla="*/ 22874 h 561227"/>
                <a:gd name="connsiteX190" fmla="*/ 229247 w 560050"/>
                <a:gd name="connsiteY190" fmla="*/ 23255 h 561227"/>
                <a:gd name="connsiteX191" fmla="*/ 227438 w 560050"/>
                <a:gd name="connsiteY191" fmla="*/ 23446 h 561227"/>
                <a:gd name="connsiteX192" fmla="*/ 297637 w 560050"/>
                <a:gd name="connsiteY192" fmla="*/ 19255 h 561227"/>
                <a:gd name="connsiteX193" fmla="*/ 296970 w 560050"/>
                <a:gd name="connsiteY193" fmla="*/ 19255 h 561227"/>
                <a:gd name="connsiteX194" fmla="*/ 294684 w 560050"/>
                <a:gd name="connsiteY194" fmla="*/ 19064 h 561227"/>
                <a:gd name="connsiteX195" fmla="*/ 285730 w 560050"/>
                <a:gd name="connsiteY195" fmla="*/ 8968 h 561227"/>
                <a:gd name="connsiteX196" fmla="*/ 295827 w 560050"/>
                <a:gd name="connsiteY196" fmla="*/ 14 h 561227"/>
                <a:gd name="connsiteX197" fmla="*/ 298208 w 560050"/>
                <a:gd name="connsiteY197" fmla="*/ 205 h 561227"/>
                <a:gd name="connsiteX198" fmla="*/ 307066 w 560050"/>
                <a:gd name="connsiteY198" fmla="*/ 10301 h 561227"/>
                <a:gd name="connsiteX199" fmla="*/ 297541 w 560050"/>
                <a:gd name="connsiteY199" fmla="*/ 19160 h 561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60050" h="561227">
                  <a:moveTo>
                    <a:pt x="294017" y="561227"/>
                  </a:moveTo>
                  <a:cubicBezTo>
                    <a:pt x="288969" y="561227"/>
                    <a:pt x="284778" y="557322"/>
                    <a:pt x="284492" y="552179"/>
                  </a:cubicBezTo>
                  <a:cubicBezTo>
                    <a:pt x="284207" y="546940"/>
                    <a:pt x="288207" y="542463"/>
                    <a:pt x="293541" y="542177"/>
                  </a:cubicBezTo>
                  <a:lnTo>
                    <a:pt x="295732" y="542177"/>
                  </a:lnTo>
                  <a:cubicBezTo>
                    <a:pt x="301161" y="541701"/>
                    <a:pt x="305543" y="545702"/>
                    <a:pt x="305828" y="550940"/>
                  </a:cubicBezTo>
                  <a:cubicBezTo>
                    <a:pt x="306209" y="556179"/>
                    <a:pt x="302209" y="560751"/>
                    <a:pt x="296970" y="561037"/>
                  </a:cubicBezTo>
                  <a:lnTo>
                    <a:pt x="294493" y="561227"/>
                  </a:lnTo>
                  <a:cubicBezTo>
                    <a:pt x="294493" y="561227"/>
                    <a:pt x="294113" y="561227"/>
                    <a:pt x="294017" y="561227"/>
                  </a:cubicBezTo>
                  <a:close/>
                  <a:moveTo>
                    <a:pt x="228485" y="556941"/>
                  </a:moveTo>
                  <a:cubicBezTo>
                    <a:pt x="227914" y="556941"/>
                    <a:pt x="227342" y="556941"/>
                    <a:pt x="226771" y="556751"/>
                  </a:cubicBezTo>
                  <a:lnTo>
                    <a:pt x="224294" y="556274"/>
                  </a:lnTo>
                  <a:cubicBezTo>
                    <a:pt x="219151" y="555227"/>
                    <a:pt x="215817" y="550178"/>
                    <a:pt x="216865" y="545035"/>
                  </a:cubicBezTo>
                  <a:cubicBezTo>
                    <a:pt x="217913" y="539891"/>
                    <a:pt x="222961" y="536558"/>
                    <a:pt x="228104" y="537605"/>
                  </a:cubicBezTo>
                  <a:lnTo>
                    <a:pt x="230295" y="537986"/>
                  </a:lnTo>
                  <a:cubicBezTo>
                    <a:pt x="235439" y="538939"/>
                    <a:pt x="238868" y="543892"/>
                    <a:pt x="237915" y="549131"/>
                  </a:cubicBezTo>
                  <a:cubicBezTo>
                    <a:pt x="237058" y="553703"/>
                    <a:pt x="233058" y="556941"/>
                    <a:pt x="228580" y="556941"/>
                  </a:cubicBezTo>
                  <a:close/>
                  <a:moveTo>
                    <a:pt x="360883" y="549035"/>
                  </a:moveTo>
                  <a:cubicBezTo>
                    <a:pt x="356883" y="549035"/>
                    <a:pt x="353072" y="546464"/>
                    <a:pt x="351834" y="542368"/>
                  </a:cubicBezTo>
                  <a:cubicBezTo>
                    <a:pt x="350215" y="537320"/>
                    <a:pt x="353072" y="531986"/>
                    <a:pt x="358025" y="530462"/>
                  </a:cubicBezTo>
                  <a:lnTo>
                    <a:pt x="360216" y="529795"/>
                  </a:lnTo>
                  <a:cubicBezTo>
                    <a:pt x="365265" y="528176"/>
                    <a:pt x="370599" y="530938"/>
                    <a:pt x="372218" y="535891"/>
                  </a:cubicBezTo>
                  <a:cubicBezTo>
                    <a:pt x="373837" y="540939"/>
                    <a:pt x="371075" y="546273"/>
                    <a:pt x="366121" y="547892"/>
                  </a:cubicBezTo>
                  <a:lnTo>
                    <a:pt x="363836" y="548654"/>
                  </a:lnTo>
                  <a:cubicBezTo>
                    <a:pt x="362883" y="548940"/>
                    <a:pt x="361930" y="549131"/>
                    <a:pt x="360978" y="549131"/>
                  </a:cubicBezTo>
                  <a:close/>
                  <a:moveTo>
                    <a:pt x="163715" y="535986"/>
                  </a:moveTo>
                  <a:cubicBezTo>
                    <a:pt x="162382" y="535986"/>
                    <a:pt x="160953" y="535700"/>
                    <a:pt x="159715" y="535129"/>
                  </a:cubicBezTo>
                  <a:lnTo>
                    <a:pt x="157524" y="534081"/>
                  </a:lnTo>
                  <a:cubicBezTo>
                    <a:pt x="152762" y="531795"/>
                    <a:pt x="150761" y="526080"/>
                    <a:pt x="153047" y="521413"/>
                  </a:cubicBezTo>
                  <a:cubicBezTo>
                    <a:pt x="155333" y="516650"/>
                    <a:pt x="160953" y="514650"/>
                    <a:pt x="165716" y="516936"/>
                  </a:cubicBezTo>
                  <a:lnTo>
                    <a:pt x="167716" y="517889"/>
                  </a:lnTo>
                  <a:cubicBezTo>
                    <a:pt x="172478" y="520079"/>
                    <a:pt x="174574" y="525794"/>
                    <a:pt x="172288" y="530557"/>
                  </a:cubicBezTo>
                  <a:cubicBezTo>
                    <a:pt x="170668" y="533986"/>
                    <a:pt x="167239" y="536081"/>
                    <a:pt x="163620" y="536081"/>
                  </a:cubicBezTo>
                  <a:close/>
                  <a:moveTo>
                    <a:pt x="422700" y="520556"/>
                  </a:moveTo>
                  <a:cubicBezTo>
                    <a:pt x="419557" y="520556"/>
                    <a:pt x="416414" y="518936"/>
                    <a:pt x="414604" y="516079"/>
                  </a:cubicBezTo>
                  <a:cubicBezTo>
                    <a:pt x="411841" y="511602"/>
                    <a:pt x="413175" y="505697"/>
                    <a:pt x="417652" y="502934"/>
                  </a:cubicBezTo>
                  <a:lnTo>
                    <a:pt x="419557" y="501696"/>
                  </a:lnTo>
                  <a:cubicBezTo>
                    <a:pt x="424034" y="498934"/>
                    <a:pt x="429844" y="500172"/>
                    <a:pt x="432701" y="504649"/>
                  </a:cubicBezTo>
                  <a:cubicBezTo>
                    <a:pt x="435559" y="509126"/>
                    <a:pt x="434225" y="514936"/>
                    <a:pt x="429748" y="517793"/>
                  </a:cubicBezTo>
                  <a:lnTo>
                    <a:pt x="427749" y="519032"/>
                  </a:lnTo>
                  <a:cubicBezTo>
                    <a:pt x="426224" y="519984"/>
                    <a:pt x="424414" y="520460"/>
                    <a:pt x="422700" y="520460"/>
                  </a:cubicBezTo>
                  <a:close/>
                  <a:moveTo>
                    <a:pt x="106280" y="499505"/>
                  </a:moveTo>
                  <a:cubicBezTo>
                    <a:pt x="104184" y="499505"/>
                    <a:pt x="101993" y="498839"/>
                    <a:pt x="100279" y="497315"/>
                  </a:cubicBezTo>
                  <a:lnTo>
                    <a:pt x="98374" y="495695"/>
                  </a:lnTo>
                  <a:cubicBezTo>
                    <a:pt x="94374" y="492266"/>
                    <a:pt x="93897" y="486266"/>
                    <a:pt x="97326" y="482265"/>
                  </a:cubicBezTo>
                  <a:cubicBezTo>
                    <a:pt x="100755" y="478265"/>
                    <a:pt x="106756" y="477788"/>
                    <a:pt x="110756" y="481217"/>
                  </a:cubicBezTo>
                  <a:lnTo>
                    <a:pt x="112471" y="482646"/>
                  </a:lnTo>
                  <a:cubicBezTo>
                    <a:pt x="116566" y="485980"/>
                    <a:pt x="117138" y="491981"/>
                    <a:pt x="113804" y="496076"/>
                  </a:cubicBezTo>
                  <a:cubicBezTo>
                    <a:pt x="111899" y="498362"/>
                    <a:pt x="109233" y="499505"/>
                    <a:pt x="106470" y="499505"/>
                  </a:cubicBezTo>
                  <a:close/>
                  <a:moveTo>
                    <a:pt x="475374" y="477598"/>
                  </a:moveTo>
                  <a:cubicBezTo>
                    <a:pt x="472992" y="477598"/>
                    <a:pt x="470611" y="476741"/>
                    <a:pt x="468801" y="474931"/>
                  </a:cubicBezTo>
                  <a:cubicBezTo>
                    <a:pt x="464991" y="471311"/>
                    <a:pt x="464800" y="465311"/>
                    <a:pt x="468420" y="461501"/>
                  </a:cubicBezTo>
                  <a:lnTo>
                    <a:pt x="470040" y="459786"/>
                  </a:lnTo>
                  <a:cubicBezTo>
                    <a:pt x="473659" y="455976"/>
                    <a:pt x="479659" y="455786"/>
                    <a:pt x="483470" y="459405"/>
                  </a:cubicBezTo>
                  <a:cubicBezTo>
                    <a:pt x="487280" y="463025"/>
                    <a:pt x="487470" y="469025"/>
                    <a:pt x="483850" y="472835"/>
                  </a:cubicBezTo>
                  <a:lnTo>
                    <a:pt x="482231" y="474550"/>
                  </a:lnTo>
                  <a:cubicBezTo>
                    <a:pt x="480326" y="476550"/>
                    <a:pt x="477850" y="477503"/>
                    <a:pt x="475374" y="477503"/>
                  </a:cubicBezTo>
                  <a:close/>
                  <a:moveTo>
                    <a:pt x="59607" y="450071"/>
                  </a:moveTo>
                  <a:cubicBezTo>
                    <a:pt x="56654" y="450071"/>
                    <a:pt x="53797" y="448737"/>
                    <a:pt x="51892" y="446165"/>
                  </a:cubicBezTo>
                  <a:lnTo>
                    <a:pt x="50463" y="444165"/>
                  </a:lnTo>
                  <a:cubicBezTo>
                    <a:pt x="47415" y="439879"/>
                    <a:pt x="48368" y="433973"/>
                    <a:pt x="52654" y="430830"/>
                  </a:cubicBezTo>
                  <a:cubicBezTo>
                    <a:pt x="56940" y="427782"/>
                    <a:pt x="62846" y="428735"/>
                    <a:pt x="65989" y="433021"/>
                  </a:cubicBezTo>
                  <a:lnTo>
                    <a:pt x="67322" y="434831"/>
                  </a:lnTo>
                  <a:cubicBezTo>
                    <a:pt x="70466" y="439022"/>
                    <a:pt x="69513" y="445022"/>
                    <a:pt x="65322" y="448166"/>
                  </a:cubicBezTo>
                  <a:cubicBezTo>
                    <a:pt x="63607" y="449404"/>
                    <a:pt x="61608" y="449975"/>
                    <a:pt x="59702" y="449975"/>
                  </a:cubicBezTo>
                  <a:close/>
                  <a:moveTo>
                    <a:pt x="515855" y="422924"/>
                  </a:moveTo>
                  <a:cubicBezTo>
                    <a:pt x="514235" y="422924"/>
                    <a:pt x="512711" y="422543"/>
                    <a:pt x="511187" y="421686"/>
                  </a:cubicBezTo>
                  <a:cubicBezTo>
                    <a:pt x="506615" y="419114"/>
                    <a:pt x="504901" y="413304"/>
                    <a:pt x="507473" y="408732"/>
                  </a:cubicBezTo>
                  <a:lnTo>
                    <a:pt x="508616" y="406732"/>
                  </a:lnTo>
                  <a:cubicBezTo>
                    <a:pt x="511187" y="402160"/>
                    <a:pt x="516998" y="400445"/>
                    <a:pt x="521570" y="403017"/>
                  </a:cubicBezTo>
                  <a:cubicBezTo>
                    <a:pt x="526141" y="405589"/>
                    <a:pt x="527856" y="411399"/>
                    <a:pt x="525284" y="415971"/>
                  </a:cubicBezTo>
                  <a:lnTo>
                    <a:pt x="524141" y="418067"/>
                  </a:lnTo>
                  <a:cubicBezTo>
                    <a:pt x="522427" y="421210"/>
                    <a:pt x="519188" y="422924"/>
                    <a:pt x="515855" y="422924"/>
                  </a:cubicBezTo>
                  <a:close/>
                  <a:moveTo>
                    <a:pt x="26746" y="390539"/>
                  </a:moveTo>
                  <a:cubicBezTo>
                    <a:pt x="22936" y="390539"/>
                    <a:pt x="19412" y="388253"/>
                    <a:pt x="17888" y="384539"/>
                  </a:cubicBezTo>
                  <a:lnTo>
                    <a:pt x="17031" y="382348"/>
                  </a:lnTo>
                  <a:cubicBezTo>
                    <a:pt x="15125" y="377490"/>
                    <a:pt x="17507" y="371966"/>
                    <a:pt x="22365" y="369965"/>
                  </a:cubicBezTo>
                  <a:cubicBezTo>
                    <a:pt x="27222" y="368060"/>
                    <a:pt x="32746" y="370442"/>
                    <a:pt x="34747" y="375299"/>
                  </a:cubicBezTo>
                  <a:lnTo>
                    <a:pt x="35604" y="377490"/>
                  </a:lnTo>
                  <a:cubicBezTo>
                    <a:pt x="37509" y="382348"/>
                    <a:pt x="35128" y="387872"/>
                    <a:pt x="30270" y="389873"/>
                  </a:cubicBezTo>
                  <a:cubicBezTo>
                    <a:pt x="29127" y="390349"/>
                    <a:pt x="27889" y="390539"/>
                    <a:pt x="26746" y="390539"/>
                  </a:cubicBezTo>
                  <a:close/>
                  <a:moveTo>
                    <a:pt x="541477" y="359869"/>
                  </a:moveTo>
                  <a:cubicBezTo>
                    <a:pt x="540620" y="359869"/>
                    <a:pt x="539857" y="359774"/>
                    <a:pt x="539000" y="359488"/>
                  </a:cubicBezTo>
                  <a:cubicBezTo>
                    <a:pt x="533952" y="358154"/>
                    <a:pt x="530904" y="352916"/>
                    <a:pt x="532333" y="347772"/>
                  </a:cubicBezTo>
                  <a:lnTo>
                    <a:pt x="532904" y="345581"/>
                  </a:lnTo>
                  <a:cubicBezTo>
                    <a:pt x="534238" y="340438"/>
                    <a:pt x="539381" y="337485"/>
                    <a:pt x="544525" y="338723"/>
                  </a:cubicBezTo>
                  <a:cubicBezTo>
                    <a:pt x="549573" y="340057"/>
                    <a:pt x="552717" y="345200"/>
                    <a:pt x="551383" y="350344"/>
                  </a:cubicBezTo>
                  <a:lnTo>
                    <a:pt x="550716" y="352725"/>
                  </a:lnTo>
                  <a:cubicBezTo>
                    <a:pt x="549573" y="357011"/>
                    <a:pt x="545763" y="359774"/>
                    <a:pt x="541572" y="359774"/>
                  </a:cubicBezTo>
                  <a:close/>
                  <a:moveTo>
                    <a:pt x="9791" y="324626"/>
                  </a:moveTo>
                  <a:cubicBezTo>
                    <a:pt x="5124" y="324626"/>
                    <a:pt x="1028" y="321102"/>
                    <a:pt x="362" y="316340"/>
                  </a:cubicBezTo>
                  <a:lnTo>
                    <a:pt x="76" y="313863"/>
                  </a:lnTo>
                  <a:cubicBezTo>
                    <a:pt x="-591" y="308624"/>
                    <a:pt x="3219" y="303862"/>
                    <a:pt x="8458" y="303290"/>
                  </a:cubicBezTo>
                  <a:cubicBezTo>
                    <a:pt x="13696" y="302719"/>
                    <a:pt x="18459" y="306434"/>
                    <a:pt x="19030" y="311672"/>
                  </a:cubicBezTo>
                  <a:lnTo>
                    <a:pt x="19316" y="313863"/>
                  </a:lnTo>
                  <a:cubicBezTo>
                    <a:pt x="19983" y="319102"/>
                    <a:pt x="16364" y="323864"/>
                    <a:pt x="11125" y="324531"/>
                  </a:cubicBezTo>
                  <a:cubicBezTo>
                    <a:pt x="10744" y="324531"/>
                    <a:pt x="10268" y="324531"/>
                    <a:pt x="9887" y="324531"/>
                  </a:cubicBezTo>
                  <a:close/>
                  <a:moveTo>
                    <a:pt x="550525" y="292432"/>
                  </a:moveTo>
                  <a:lnTo>
                    <a:pt x="550431" y="292432"/>
                  </a:lnTo>
                  <a:cubicBezTo>
                    <a:pt x="545191" y="292432"/>
                    <a:pt x="540906" y="288050"/>
                    <a:pt x="541000" y="282812"/>
                  </a:cubicBezTo>
                  <a:lnTo>
                    <a:pt x="541000" y="279478"/>
                  </a:lnTo>
                  <a:cubicBezTo>
                    <a:pt x="541000" y="274239"/>
                    <a:pt x="545287" y="269953"/>
                    <a:pt x="550525" y="269953"/>
                  </a:cubicBezTo>
                  <a:cubicBezTo>
                    <a:pt x="555765" y="269953"/>
                    <a:pt x="560050" y="274239"/>
                    <a:pt x="560050" y="279478"/>
                  </a:cubicBezTo>
                  <a:lnTo>
                    <a:pt x="560050" y="283002"/>
                  </a:lnTo>
                  <a:cubicBezTo>
                    <a:pt x="560050" y="288241"/>
                    <a:pt x="555765" y="292432"/>
                    <a:pt x="550525" y="292432"/>
                  </a:cubicBezTo>
                  <a:close/>
                  <a:moveTo>
                    <a:pt x="9696" y="256618"/>
                  </a:moveTo>
                  <a:cubicBezTo>
                    <a:pt x="9696" y="256618"/>
                    <a:pt x="8934" y="256618"/>
                    <a:pt x="8553" y="256618"/>
                  </a:cubicBezTo>
                  <a:cubicBezTo>
                    <a:pt x="3315" y="255951"/>
                    <a:pt x="-400" y="251284"/>
                    <a:pt x="266" y="246045"/>
                  </a:cubicBezTo>
                  <a:lnTo>
                    <a:pt x="552" y="243759"/>
                  </a:lnTo>
                  <a:cubicBezTo>
                    <a:pt x="1219" y="238520"/>
                    <a:pt x="6077" y="234806"/>
                    <a:pt x="11220" y="235472"/>
                  </a:cubicBezTo>
                  <a:cubicBezTo>
                    <a:pt x="16459" y="236139"/>
                    <a:pt x="20078" y="240902"/>
                    <a:pt x="19412" y="246045"/>
                  </a:cubicBezTo>
                  <a:lnTo>
                    <a:pt x="19126" y="248236"/>
                  </a:lnTo>
                  <a:cubicBezTo>
                    <a:pt x="18554" y="253094"/>
                    <a:pt x="14459" y="256618"/>
                    <a:pt x="9696" y="256618"/>
                  </a:cubicBezTo>
                  <a:close/>
                  <a:moveTo>
                    <a:pt x="542429" y="223852"/>
                  </a:moveTo>
                  <a:cubicBezTo>
                    <a:pt x="538143" y="223852"/>
                    <a:pt x="534333" y="220994"/>
                    <a:pt x="533190" y="216708"/>
                  </a:cubicBezTo>
                  <a:lnTo>
                    <a:pt x="532618" y="214422"/>
                  </a:lnTo>
                  <a:cubicBezTo>
                    <a:pt x="531285" y="209374"/>
                    <a:pt x="534333" y="204135"/>
                    <a:pt x="539477" y="202802"/>
                  </a:cubicBezTo>
                  <a:cubicBezTo>
                    <a:pt x="544620" y="201468"/>
                    <a:pt x="549764" y="204516"/>
                    <a:pt x="551097" y="209660"/>
                  </a:cubicBezTo>
                  <a:lnTo>
                    <a:pt x="551668" y="211946"/>
                  </a:lnTo>
                  <a:cubicBezTo>
                    <a:pt x="553002" y="217089"/>
                    <a:pt x="549859" y="222233"/>
                    <a:pt x="544811" y="223566"/>
                  </a:cubicBezTo>
                  <a:cubicBezTo>
                    <a:pt x="544048" y="223757"/>
                    <a:pt x="543192" y="223852"/>
                    <a:pt x="542429" y="223852"/>
                  </a:cubicBezTo>
                  <a:close/>
                  <a:moveTo>
                    <a:pt x="26460" y="190705"/>
                  </a:moveTo>
                  <a:cubicBezTo>
                    <a:pt x="25317" y="190705"/>
                    <a:pt x="24079" y="190514"/>
                    <a:pt x="22936" y="190038"/>
                  </a:cubicBezTo>
                  <a:cubicBezTo>
                    <a:pt x="18078" y="188133"/>
                    <a:pt x="15602" y="182609"/>
                    <a:pt x="17602" y="177656"/>
                  </a:cubicBezTo>
                  <a:lnTo>
                    <a:pt x="18554" y="175370"/>
                  </a:lnTo>
                  <a:cubicBezTo>
                    <a:pt x="20555" y="170512"/>
                    <a:pt x="26079" y="168131"/>
                    <a:pt x="30937" y="170131"/>
                  </a:cubicBezTo>
                  <a:cubicBezTo>
                    <a:pt x="35795" y="172131"/>
                    <a:pt x="38176" y="177656"/>
                    <a:pt x="36175" y="182513"/>
                  </a:cubicBezTo>
                  <a:lnTo>
                    <a:pt x="35318" y="184609"/>
                  </a:lnTo>
                  <a:cubicBezTo>
                    <a:pt x="33794" y="188324"/>
                    <a:pt x="30270" y="190610"/>
                    <a:pt x="26460" y="190610"/>
                  </a:cubicBezTo>
                  <a:close/>
                  <a:moveTo>
                    <a:pt x="517759" y="160511"/>
                  </a:moveTo>
                  <a:cubicBezTo>
                    <a:pt x="514330" y="160511"/>
                    <a:pt x="511092" y="158701"/>
                    <a:pt x="509377" y="155558"/>
                  </a:cubicBezTo>
                  <a:lnTo>
                    <a:pt x="508330" y="153653"/>
                  </a:lnTo>
                  <a:cubicBezTo>
                    <a:pt x="505758" y="149081"/>
                    <a:pt x="507377" y="143270"/>
                    <a:pt x="512045" y="140699"/>
                  </a:cubicBezTo>
                  <a:cubicBezTo>
                    <a:pt x="516616" y="138127"/>
                    <a:pt x="522427" y="139746"/>
                    <a:pt x="524998" y="144413"/>
                  </a:cubicBezTo>
                  <a:lnTo>
                    <a:pt x="526141" y="146604"/>
                  </a:lnTo>
                  <a:cubicBezTo>
                    <a:pt x="528618" y="151271"/>
                    <a:pt x="526904" y="156986"/>
                    <a:pt x="522332" y="159558"/>
                  </a:cubicBezTo>
                  <a:cubicBezTo>
                    <a:pt x="520903" y="160320"/>
                    <a:pt x="519379" y="160701"/>
                    <a:pt x="517855" y="160701"/>
                  </a:cubicBezTo>
                  <a:close/>
                  <a:moveTo>
                    <a:pt x="59131" y="131078"/>
                  </a:moveTo>
                  <a:cubicBezTo>
                    <a:pt x="57226" y="131078"/>
                    <a:pt x="55321" y="130507"/>
                    <a:pt x="53606" y="129269"/>
                  </a:cubicBezTo>
                  <a:cubicBezTo>
                    <a:pt x="49320" y="126221"/>
                    <a:pt x="48368" y="120220"/>
                    <a:pt x="51416" y="115934"/>
                  </a:cubicBezTo>
                  <a:lnTo>
                    <a:pt x="52844" y="113933"/>
                  </a:lnTo>
                  <a:cubicBezTo>
                    <a:pt x="55988" y="109647"/>
                    <a:pt x="61893" y="108790"/>
                    <a:pt x="66179" y="111933"/>
                  </a:cubicBezTo>
                  <a:cubicBezTo>
                    <a:pt x="70370" y="115076"/>
                    <a:pt x="71323" y="120982"/>
                    <a:pt x="68180" y="125268"/>
                  </a:cubicBezTo>
                  <a:lnTo>
                    <a:pt x="66846" y="127078"/>
                  </a:lnTo>
                  <a:cubicBezTo>
                    <a:pt x="64941" y="129650"/>
                    <a:pt x="62084" y="131078"/>
                    <a:pt x="59131" y="131078"/>
                  </a:cubicBezTo>
                  <a:close/>
                  <a:moveTo>
                    <a:pt x="478040" y="105361"/>
                  </a:moveTo>
                  <a:cubicBezTo>
                    <a:pt x="475468" y="105361"/>
                    <a:pt x="472897" y="104313"/>
                    <a:pt x="470992" y="102313"/>
                  </a:cubicBezTo>
                  <a:lnTo>
                    <a:pt x="469468" y="100694"/>
                  </a:lnTo>
                  <a:cubicBezTo>
                    <a:pt x="465849" y="96884"/>
                    <a:pt x="466039" y="90883"/>
                    <a:pt x="469849" y="87263"/>
                  </a:cubicBezTo>
                  <a:cubicBezTo>
                    <a:pt x="473659" y="83644"/>
                    <a:pt x="479659" y="83739"/>
                    <a:pt x="483279" y="87644"/>
                  </a:cubicBezTo>
                  <a:lnTo>
                    <a:pt x="484993" y="89454"/>
                  </a:lnTo>
                  <a:cubicBezTo>
                    <a:pt x="488518" y="93359"/>
                    <a:pt x="488327" y="99360"/>
                    <a:pt x="484422" y="102884"/>
                  </a:cubicBezTo>
                  <a:cubicBezTo>
                    <a:pt x="482612" y="104599"/>
                    <a:pt x="480326" y="105361"/>
                    <a:pt x="477945" y="105361"/>
                  </a:cubicBezTo>
                  <a:close/>
                  <a:moveTo>
                    <a:pt x="105613" y="81358"/>
                  </a:moveTo>
                  <a:cubicBezTo>
                    <a:pt x="102850" y="81358"/>
                    <a:pt x="100184" y="80215"/>
                    <a:pt x="98279" y="77929"/>
                  </a:cubicBezTo>
                  <a:cubicBezTo>
                    <a:pt x="94945" y="73928"/>
                    <a:pt x="95516" y="67832"/>
                    <a:pt x="99517" y="64499"/>
                  </a:cubicBezTo>
                  <a:lnTo>
                    <a:pt x="101422" y="62975"/>
                  </a:lnTo>
                  <a:cubicBezTo>
                    <a:pt x="105518" y="59641"/>
                    <a:pt x="111518" y="60308"/>
                    <a:pt x="114852" y="64308"/>
                  </a:cubicBezTo>
                  <a:cubicBezTo>
                    <a:pt x="118186" y="68404"/>
                    <a:pt x="117519" y="74405"/>
                    <a:pt x="113518" y="77738"/>
                  </a:cubicBezTo>
                  <a:lnTo>
                    <a:pt x="111804" y="79167"/>
                  </a:lnTo>
                  <a:cubicBezTo>
                    <a:pt x="109994" y="80691"/>
                    <a:pt x="107899" y="81358"/>
                    <a:pt x="105708" y="81358"/>
                  </a:cubicBezTo>
                  <a:close/>
                  <a:moveTo>
                    <a:pt x="425843" y="61641"/>
                  </a:moveTo>
                  <a:cubicBezTo>
                    <a:pt x="424129" y="61641"/>
                    <a:pt x="422319" y="61165"/>
                    <a:pt x="420795" y="60212"/>
                  </a:cubicBezTo>
                  <a:lnTo>
                    <a:pt x="418795" y="58974"/>
                  </a:lnTo>
                  <a:cubicBezTo>
                    <a:pt x="414318" y="56117"/>
                    <a:pt x="412984" y="50306"/>
                    <a:pt x="415842" y="45830"/>
                  </a:cubicBezTo>
                  <a:cubicBezTo>
                    <a:pt x="418700" y="41353"/>
                    <a:pt x="424510" y="40115"/>
                    <a:pt x="428987" y="42877"/>
                  </a:cubicBezTo>
                  <a:lnTo>
                    <a:pt x="430987" y="44115"/>
                  </a:lnTo>
                  <a:cubicBezTo>
                    <a:pt x="435464" y="46877"/>
                    <a:pt x="436797" y="52783"/>
                    <a:pt x="433939" y="57260"/>
                  </a:cubicBezTo>
                  <a:cubicBezTo>
                    <a:pt x="432130" y="60117"/>
                    <a:pt x="429082" y="61736"/>
                    <a:pt x="425843" y="61736"/>
                  </a:cubicBezTo>
                  <a:close/>
                  <a:moveTo>
                    <a:pt x="162858" y="44687"/>
                  </a:moveTo>
                  <a:cubicBezTo>
                    <a:pt x="159334" y="44687"/>
                    <a:pt x="155905" y="42686"/>
                    <a:pt x="154286" y="39257"/>
                  </a:cubicBezTo>
                  <a:cubicBezTo>
                    <a:pt x="152000" y="34495"/>
                    <a:pt x="154095" y="28780"/>
                    <a:pt x="158857" y="26589"/>
                  </a:cubicBezTo>
                  <a:lnTo>
                    <a:pt x="161049" y="25541"/>
                  </a:lnTo>
                  <a:cubicBezTo>
                    <a:pt x="165811" y="23351"/>
                    <a:pt x="171526" y="25351"/>
                    <a:pt x="173716" y="30113"/>
                  </a:cubicBezTo>
                  <a:cubicBezTo>
                    <a:pt x="175908" y="34876"/>
                    <a:pt x="173907" y="40591"/>
                    <a:pt x="169145" y="42782"/>
                  </a:cubicBezTo>
                  <a:lnTo>
                    <a:pt x="167049" y="43734"/>
                  </a:lnTo>
                  <a:cubicBezTo>
                    <a:pt x="165716" y="44401"/>
                    <a:pt x="164382" y="44687"/>
                    <a:pt x="162953" y="44687"/>
                  </a:cubicBezTo>
                  <a:close/>
                  <a:moveTo>
                    <a:pt x="364407" y="32304"/>
                  </a:moveTo>
                  <a:cubicBezTo>
                    <a:pt x="363455" y="32304"/>
                    <a:pt x="362407" y="32114"/>
                    <a:pt x="361454" y="31828"/>
                  </a:cubicBezTo>
                  <a:lnTo>
                    <a:pt x="359264" y="31161"/>
                  </a:lnTo>
                  <a:cubicBezTo>
                    <a:pt x="354215" y="29542"/>
                    <a:pt x="351453" y="24208"/>
                    <a:pt x="353072" y="19160"/>
                  </a:cubicBezTo>
                  <a:cubicBezTo>
                    <a:pt x="354691" y="14111"/>
                    <a:pt x="360025" y="11349"/>
                    <a:pt x="365074" y="12968"/>
                  </a:cubicBezTo>
                  <a:lnTo>
                    <a:pt x="367360" y="13730"/>
                  </a:lnTo>
                  <a:cubicBezTo>
                    <a:pt x="372313" y="15350"/>
                    <a:pt x="375075" y="20779"/>
                    <a:pt x="373361" y="25732"/>
                  </a:cubicBezTo>
                  <a:cubicBezTo>
                    <a:pt x="372027" y="29732"/>
                    <a:pt x="368312" y="32304"/>
                    <a:pt x="364312" y="32304"/>
                  </a:cubicBezTo>
                  <a:close/>
                  <a:moveTo>
                    <a:pt x="227438" y="23541"/>
                  </a:moveTo>
                  <a:cubicBezTo>
                    <a:pt x="222961" y="23541"/>
                    <a:pt x="218960" y="20398"/>
                    <a:pt x="218103" y="15826"/>
                  </a:cubicBezTo>
                  <a:cubicBezTo>
                    <a:pt x="217056" y="10682"/>
                    <a:pt x="220484" y="5634"/>
                    <a:pt x="225628" y="4682"/>
                  </a:cubicBezTo>
                  <a:lnTo>
                    <a:pt x="228009" y="4205"/>
                  </a:lnTo>
                  <a:cubicBezTo>
                    <a:pt x="233152" y="3348"/>
                    <a:pt x="238105" y="6682"/>
                    <a:pt x="239058" y="11825"/>
                  </a:cubicBezTo>
                  <a:cubicBezTo>
                    <a:pt x="240011" y="16969"/>
                    <a:pt x="236582" y="21922"/>
                    <a:pt x="231438" y="22874"/>
                  </a:cubicBezTo>
                  <a:lnTo>
                    <a:pt x="229247" y="23255"/>
                  </a:lnTo>
                  <a:cubicBezTo>
                    <a:pt x="228676" y="23351"/>
                    <a:pt x="228009" y="23446"/>
                    <a:pt x="227438" y="23446"/>
                  </a:cubicBezTo>
                  <a:close/>
                  <a:moveTo>
                    <a:pt x="297637" y="19255"/>
                  </a:moveTo>
                  <a:cubicBezTo>
                    <a:pt x="297637" y="19255"/>
                    <a:pt x="297256" y="19255"/>
                    <a:pt x="296970" y="19255"/>
                  </a:cubicBezTo>
                  <a:lnTo>
                    <a:pt x="294684" y="19064"/>
                  </a:lnTo>
                  <a:cubicBezTo>
                    <a:pt x="289445" y="18779"/>
                    <a:pt x="285445" y="14207"/>
                    <a:pt x="285730" y="8968"/>
                  </a:cubicBezTo>
                  <a:cubicBezTo>
                    <a:pt x="286016" y="3729"/>
                    <a:pt x="290493" y="-271"/>
                    <a:pt x="295827" y="14"/>
                  </a:cubicBezTo>
                  <a:lnTo>
                    <a:pt x="298208" y="205"/>
                  </a:lnTo>
                  <a:cubicBezTo>
                    <a:pt x="303447" y="586"/>
                    <a:pt x="307448" y="5063"/>
                    <a:pt x="307066" y="10301"/>
                  </a:cubicBezTo>
                  <a:cubicBezTo>
                    <a:pt x="306686" y="15350"/>
                    <a:pt x="302590" y="19160"/>
                    <a:pt x="297541" y="191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7218567-A93B-9B58-BD7E-8D98083FAEBA}"/>
                </a:ext>
              </a:extLst>
            </p:cNvPr>
            <p:cNvSpPr/>
            <p:nvPr/>
          </p:nvSpPr>
          <p:spPr>
            <a:xfrm rot="316174">
              <a:off x="11235946" y="1750780"/>
              <a:ext cx="494056" cy="494056"/>
            </a:xfrm>
            <a:custGeom>
              <a:avLst/>
              <a:gdLst>
                <a:gd name="connsiteX0" fmla="*/ 457200 w 457200"/>
                <a:gd name="connsiteY0" fmla="*/ 228600 h 457200"/>
                <a:gd name="connsiteX1" fmla="*/ 228600 w 457200"/>
                <a:gd name="connsiteY1" fmla="*/ 457200 h 457200"/>
                <a:gd name="connsiteX2" fmla="*/ 0 w 457200"/>
                <a:gd name="connsiteY2" fmla="*/ 228600 h 457200"/>
                <a:gd name="connsiteX3" fmla="*/ 228600 w 457200"/>
                <a:gd name="connsiteY3" fmla="*/ 0 h 457200"/>
                <a:gd name="connsiteX4" fmla="*/ 457200 w 457200"/>
                <a:gd name="connsiteY4" fmla="*/ 2286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200" h="457200">
                  <a:moveTo>
                    <a:pt x="457200" y="228600"/>
                  </a:moveTo>
                  <a:cubicBezTo>
                    <a:pt x="457200" y="354852"/>
                    <a:pt x="354852" y="457200"/>
                    <a:pt x="228600" y="457200"/>
                  </a:cubicBezTo>
                  <a:cubicBezTo>
                    <a:pt x="102348" y="457200"/>
                    <a:pt x="0" y="354852"/>
                    <a:pt x="0" y="228600"/>
                  </a:cubicBezTo>
                  <a:cubicBezTo>
                    <a:pt x="0" y="102348"/>
                    <a:pt x="102348" y="0"/>
                    <a:pt x="228600" y="0"/>
                  </a:cubicBezTo>
                  <a:cubicBezTo>
                    <a:pt x="354852" y="0"/>
                    <a:pt x="457200" y="102348"/>
                    <a:pt x="457200" y="2286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CA911D5B-8E63-8177-1C5C-170993D2066E}"/>
                </a:ext>
              </a:extLst>
            </p:cNvPr>
            <p:cNvSpPr/>
            <p:nvPr/>
          </p:nvSpPr>
          <p:spPr>
            <a:xfrm rot="316174">
              <a:off x="11427157" y="3160236"/>
              <a:ext cx="535227" cy="530701"/>
            </a:xfrm>
            <a:custGeom>
              <a:avLst/>
              <a:gdLst>
                <a:gd name="connsiteX0" fmla="*/ 279463 w 495300"/>
                <a:gd name="connsiteY0" fmla="*/ 491113 h 491112"/>
                <a:gd name="connsiteX1" fmla="*/ 270034 w 495300"/>
                <a:gd name="connsiteY1" fmla="*/ 482826 h 491112"/>
                <a:gd name="connsiteX2" fmla="*/ 278225 w 495300"/>
                <a:gd name="connsiteY2" fmla="*/ 472158 h 491112"/>
                <a:gd name="connsiteX3" fmla="*/ 280416 w 495300"/>
                <a:gd name="connsiteY3" fmla="*/ 471872 h 491112"/>
                <a:gd name="connsiteX4" fmla="*/ 291179 w 495300"/>
                <a:gd name="connsiteY4" fmla="*/ 479969 h 491112"/>
                <a:gd name="connsiteX5" fmla="*/ 283083 w 495300"/>
                <a:gd name="connsiteY5" fmla="*/ 490732 h 491112"/>
                <a:gd name="connsiteX6" fmla="*/ 280606 w 495300"/>
                <a:gd name="connsiteY6" fmla="*/ 491113 h 491112"/>
                <a:gd name="connsiteX7" fmla="*/ 279368 w 495300"/>
                <a:gd name="connsiteY7" fmla="*/ 491113 h 491112"/>
                <a:gd name="connsiteX8" fmla="*/ 214026 w 495300"/>
                <a:gd name="connsiteY8" fmla="*/ 490827 h 491112"/>
                <a:gd name="connsiteX9" fmla="*/ 212693 w 495300"/>
                <a:gd name="connsiteY9" fmla="*/ 490732 h 491112"/>
                <a:gd name="connsiteX10" fmla="*/ 210407 w 495300"/>
                <a:gd name="connsiteY10" fmla="*/ 490351 h 491112"/>
                <a:gd name="connsiteX11" fmla="*/ 202311 w 495300"/>
                <a:gd name="connsiteY11" fmla="*/ 479588 h 491112"/>
                <a:gd name="connsiteX12" fmla="*/ 213074 w 495300"/>
                <a:gd name="connsiteY12" fmla="*/ 471492 h 491112"/>
                <a:gd name="connsiteX13" fmla="*/ 215360 w 495300"/>
                <a:gd name="connsiteY13" fmla="*/ 471872 h 491112"/>
                <a:gd name="connsiteX14" fmla="*/ 223456 w 495300"/>
                <a:gd name="connsiteY14" fmla="*/ 482636 h 491112"/>
                <a:gd name="connsiteX15" fmla="*/ 214026 w 495300"/>
                <a:gd name="connsiteY15" fmla="*/ 490827 h 491112"/>
                <a:gd name="connsiteX16" fmla="*/ 344614 w 495300"/>
                <a:gd name="connsiteY16" fmla="*/ 472634 h 491112"/>
                <a:gd name="connsiteX17" fmla="*/ 335852 w 495300"/>
                <a:gd name="connsiteY17" fmla="*/ 466920 h 491112"/>
                <a:gd name="connsiteX18" fmla="*/ 340709 w 495300"/>
                <a:gd name="connsiteY18" fmla="*/ 454346 h 491112"/>
                <a:gd name="connsiteX19" fmla="*/ 342709 w 495300"/>
                <a:gd name="connsiteY19" fmla="*/ 453489 h 491112"/>
                <a:gd name="connsiteX20" fmla="*/ 355378 w 495300"/>
                <a:gd name="connsiteY20" fmla="*/ 458157 h 491112"/>
                <a:gd name="connsiteX21" fmla="*/ 350711 w 495300"/>
                <a:gd name="connsiteY21" fmla="*/ 470825 h 491112"/>
                <a:gd name="connsiteX22" fmla="*/ 348424 w 495300"/>
                <a:gd name="connsiteY22" fmla="*/ 471872 h 491112"/>
                <a:gd name="connsiteX23" fmla="*/ 344614 w 495300"/>
                <a:gd name="connsiteY23" fmla="*/ 472634 h 491112"/>
                <a:gd name="connsiteX24" fmla="*/ 148971 w 495300"/>
                <a:gd name="connsiteY24" fmla="*/ 471872 h 491112"/>
                <a:gd name="connsiteX25" fmla="*/ 145066 w 495300"/>
                <a:gd name="connsiteY25" fmla="*/ 471015 h 491112"/>
                <a:gd name="connsiteX26" fmla="*/ 142780 w 495300"/>
                <a:gd name="connsiteY26" fmla="*/ 469967 h 491112"/>
                <a:gd name="connsiteX27" fmla="*/ 138208 w 495300"/>
                <a:gd name="connsiteY27" fmla="*/ 457299 h 491112"/>
                <a:gd name="connsiteX28" fmla="*/ 150876 w 495300"/>
                <a:gd name="connsiteY28" fmla="*/ 452727 h 491112"/>
                <a:gd name="connsiteX29" fmla="*/ 152876 w 495300"/>
                <a:gd name="connsiteY29" fmla="*/ 453680 h 491112"/>
                <a:gd name="connsiteX30" fmla="*/ 157639 w 495300"/>
                <a:gd name="connsiteY30" fmla="*/ 466253 h 491112"/>
                <a:gd name="connsiteX31" fmla="*/ 148971 w 495300"/>
                <a:gd name="connsiteY31" fmla="*/ 471872 h 491112"/>
                <a:gd name="connsiteX32" fmla="*/ 401860 w 495300"/>
                <a:gd name="connsiteY32" fmla="*/ 436535 h 491112"/>
                <a:gd name="connsiteX33" fmla="*/ 394525 w 495300"/>
                <a:gd name="connsiteY33" fmla="*/ 433106 h 491112"/>
                <a:gd name="connsiteX34" fmla="*/ 395668 w 495300"/>
                <a:gd name="connsiteY34" fmla="*/ 419675 h 491112"/>
                <a:gd name="connsiteX35" fmla="*/ 397287 w 495300"/>
                <a:gd name="connsiteY35" fmla="*/ 418247 h 491112"/>
                <a:gd name="connsiteX36" fmla="*/ 410718 w 495300"/>
                <a:gd name="connsiteY36" fmla="*/ 419199 h 491112"/>
                <a:gd name="connsiteX37" fmla="*/ 409765 w 495300"/>
                <a:gd name="connsiteY37" fmla="*/ 432629 h 491112"/>
                <a:gd name="connsiteX38" fmla="*/ 407861 w 495300"/>
                <a:gd name="connsiteY38" fmla="*/ 434249 h 491112"/>
                <a:gd name="connsiteX39" fmla="*/ 401764 w 495300"/>
                <a:gd name="connsiteY39" fmla="*/ 436535 h 491112"/>
                <a:gd name="connsiteX40" fmla="*/ 91916 w 495300"/>
                <a:gd name="connsiteY40" fmla="*/ 435296 h 491112"/>
                <a:gd name="connsiteX41" fmla="*/ 85725 w 495300"/>
                <a:gd name="connsiteY41" fmla="*/ 433011 h 491112"/>
                <a:gd name="connsiteX42" fmla="*/ 83820 w 495300"/>
                <a:gd name="connsiteY42" fmla="*/ 431391 h 491112"/>
                <a:gd name="connsiteX43" fmla="*/ 83058 w 495300"/>
                <a:gd name="connsiteY43" fmla="*/ 417961 h 491112"/>
                <a:gd name="connsiteX44" fmla="*/ 96488 w 495300"/>
                <a:gd name="connsiteY44" fmla="*/ 417199 h 491112"/>
                <a:gd name="connsiteX45" fmla="*/ 98107 w 495300"/>
                <a:gd name="connsiteY45" fmla="*/ 418628 h 491112"/>
                <a:gd name="connsiteX46" fmla="*/ 99155 w 495300"/>
                <a:gd name="connsiteY46" fmla="*/ 432058 h 491112"/>
                <a:gd name="connsiteX47" fmla="*/ 91916 w 495300"/>
                <a:gd name="connsiteY47" fmla="*/ 435392 h 491112"/>
                <a:gd name="connsiteX48" fmla="*/ 446722 w 495300"/>
                <a:gd name="connsiteY48" fmla="*/ 385767 h 491112"/>
                <a:gd name="connsiteX49" fmla="*/ 441484 w 495300"/>
                <a:gd name="connsiteY49" fmla="*/ 384242 h 491112"/>
                <a:gd name="connsiteX50" fmla="*/ 438721 w 495300"/>
                <a:gd name="connsiteY50" fmla="*/ 371098 h 491112"/>
                <a:gd name="connsiteX51" fmla="*/ 439960 w 495300"/>
                <a:gd name="connsiteY51" fmla="*/ 369193 h 491112"/>
                <a:gd name="connsiteX52" fmla="*/ 453104 w 495300"/>
                <a:gd name="connsiteY52" fmla="*/ 366336 h 491112"/>
                <a:gd name="connsiteX53" fmla="*/ 455866 w 495300"/>
                <a:gd name="connsiteY53" fmla="*/ 379480 h 491112"/>
                <a:gd name="connsiteX54" fmla="*/ 454533 w 495300"/>
                <a:gd name="connsiteY54" fmla="*/ 381480 h 491112"/>
                <a:gd name="connsiteX55" fmla="*/ 446532 w 495300"/>
                <a:gd name="connsiteY55" fmla="*/ 385767 h 491112"/>
                <a:gd name="connsiteX56" fmla="*/ 47530 w 495300"/>
                <a:gd name="connsiteY56" fmla="*/ 384242 h 491112"/>
                <a:gd name="connsiteX57" fmla="*/ 39528 w 495300"/>
                <a:gd name="connsiteY57" fmla="*/ 379861 h 491112"/>
                <a:gd name="connsiteX58" fmla="*/ 38195 w 495300"/>
                <a:gd name="connsiteY58" fmla="*/ 377861 h 491112"/>
                <a:gd name="connsiteX59" fmla="*/ 41148 w 495300"/>
                <a:gd name="connsiteY59" fmla="*/ 364716 h 491112"/>
                <a:gd name="connsiteX60" fmla="*/ 54292 w 495300"/>
                <a:gd name="connsiteY60" fmla="*/ 367669 h 491112"/>
                <a:gd name="connsiteX61" fmla="*/ 55530 w 495300"/>
                <a:gd name="connsiteY61" fmla="*/ 369574 h 491112"/>
                <a:gd name="connsiteX62" fmla="*/ 52673 w 495300"/>
                <a:gd name="connsiteY62" fmla="*/ 382718 h 491112"/>
                <a:gd name="connsiteX63" fmla="*/ 47530 w 495300"/>
                <a:gd name="connsiteY63" fmla="*/ 384242 h 491112"/>
                <a:gd name="connsiteX64" fmla="*/ 475583 w 495300"/>
                <a:gd name="connsiteY64" fmla="*/ 324425 h 491112"/>
                <a:gd name="connsiteX65" fmla="*/ 472821 w 495300"/>
                <a:gd name="connsiteY65" fmla="*/ 324045 h 491112"/>
                <a:gd name="connsiteX66" fmla="*/ 466439 w 495300"/>
                <a:gd name="connsiteY66" fmla="*/ 312138 h 491112"/>
                <a:gd name="connsiteX67" fmla="*/ 467106 w 495300"/>
                <a:gd name="connsiteY67" fmla="*/ 309947 h 491112"/>
                <a:gd name="connsiteX68" fmla="*/ 478917 w 495300"/>
                <a:gd name="connsiteY68" fmla="*/ 303566 h 491112"/>
                <a:gd name="connsiteX69" fmla="*/ 485298 w 495300"/>
                <a:gd name="connsiteY69" fmla="*/ 315377 h 491112"/>
                <a:gd name="connsiteX70" fmla="*/ 484632 w 495300"/>
                <a:gd name="connsiteY70" fmla="*/ 317663 h 491112"/>
                <a:gd name="connsiteX71" fmla="*/ 475488 w 495300"/>
                <a:gd name="connsiteY71" fmla="*/ 324425 h 491112"/>
                <a:gd name="connsiteX72" fmla="*/ 19240 w 495300"/>
                <a:gd name="connsiteY72" fmla="*/ 322616 h 491112"/>
                <a:gd name="connsiteX73" fmla="*/ 10096 w 495300"/>
                <a:gd name="connsiteY73" fmla="*/ 315758 h 491112"/>
                <a:gd name="connsiteX74" fmla="*/ 9525 w 495300"/>
                <a:gd name="connsiteY74" fmla="*/ 313948 h 491112"/>
                <a:gd name="connsiteX75" fmla="*/ 16002 w 495300"/>
                <a:gd name="connsiteY75" fmla="*/ 301946 h 491112"/>
                <a:gd name="connsiteX76" fmla="*/ 27717 w 495300"/>
                <a:gd name="connsiteY76" fmla="*/ 308233 h 491112"/>
                <a:gd name="connsiteX77" fmla="*/ 28384 w 495300"/>
                <a:gd name="connsiteY77" fmla="*/ 310424 h 491112"/>
                <a:gd name="connsiteX78" fmla="*/ 22003 w 495300"/>
                <a:gd name="connsiteY78" fmla="*/ 322235 h 491112"/>
                <a:gd name="connsiteX79" fmla="*/ 19335 w 495300"/>
                <a:gd name="connsiteY79" fmla="*/ 322616 h 491112"/>
                <a:gd name="connsiteX80" fmla="*/ 485775 w 495300"/>
                <a:gd name="connsiteY80" fmla="*/ 257465 h 491112"/>
                <a:gd name="connsiteX81" fmla="*/ 485680 w 495300"/>
                <a:gd name="connsiteY81" fmla="*/ 257465 h 491112"/>
                <a:gd name="connsiteX82" fmla="*/ 476250 w 495300"/>
                <a:gd name="connsiteY82" fmla="*/ 247845 h 491112"/>
                <a:gd name="connsiteX83" fmla="*/ 476250 w 495300"/>
                <a:gd name="connsiteY83" fmla="*/ 244606 h 491112"/>
                <a:gd name="connsiteX84" fmla="*/ 485775 w 495300"/>
                <a:gd name="connsiteY84" fmla="*/ 235081 h 491112"/>
                <a:gd name="connsiteX85" fmla="*/ 495300 w 495300"/>
                <a:gd name="connsiteY85" fmla="*/ 244606 h 491112"/>
                <a:gd name="connsiteX86" fmla="*/ 495300 w 495300"/>
                <a:gd name="connsiteY86" fmla="*/ 248035 h 491112"/>
                <a:gd name="connsiteX87" fmla="*/ 485775 w 495300"/>
                <a:gd name="connsiteY87" fmla="*/ 257465 h 491112"/>
                <a:gd name="connsiteX88" fmla="*/ 9525 w 495300"/>
                <a:gd name="connsiteY88" fmla="*/ 255369 h 491112"/>
                <a:gd name="connsiteX89" fmla="*/ 0 w 495300"/>
                <a:gd name="connsiteY89" fmla="*/ 246130 h 491112"/>
                <a:gd name="connsiteX90" fmla="*/ 0 w 495300"/>
                <a:gd name="connsiteY90" fmla="*/ 243654 h 491112"/>
                <a:gd name="connsiteX91" fmla="*/ 9525 w 495300"/>
                <a:gd name="connsiteY91" fmla="*/ 234319 h 491112"/>
                <a:gd name="connsiteX92" fmla="*/ 9715 w 495300"/>
                <a:gd name="connsiteY92" fmla="*/ 234319 h 491112"/>
                <a:gd name="connsiteX93" fmla="*/ 19050 w 495300"/>
                <a:gd name="connsiteY93" fmla="*/ 244034 h 491112"/>
                <a:gd name="connsiteX94" fmla="*/ 19050 w 495300"/>
                <a:gd name="connsiteY94" fmla="*/ 245749 h 491112"/>
                <a:gd name="connsiteX95" fmla="*/ 9525 w 495300"/>
                <a:gd name="connsiteY95" fmla="*/ 255560 h 491112"/>
                <a:gd name="connsiteX96" fmla="*/ 476535 w 495300"/>
                <a:gd name="connsiteY96" fmla="*/ 189361 h 491112"/>
                <a:gd name="connsiteX97" fmla="*/ 467392 w 495300"/>
                <a:gd name="connsiteY97" fmla="*/ 182408 h 491112"/>
                <a:gd name="connsiteX98" fmla="*/ 466725 w 495300"/>
                <a:gd name="connsiteY98" fmla="*/ 180312 h 491112"/>
                <a:gd name="connsiteX99" fmla="*/ 473107 w 495300"/>
                <a:gd name="connsiteY99" fmla="*/ 168406 h 491112"/>
                <a:gd name="connsiteX100" fmla="*/ 485013 w 495300"/>
                <a:gd name="connsiteY100" fmla="*/ 174788 h 491112"/>
                <a:gd name="connsiteX101" fmla="*/ 485680 w 495300"/>
                <a:gd name="connsiteY101" fmla="*/ 177169 h 491112"/>
                <a:gd name="connsiteX102" fmla="*/ 479107 w 495300"/>
                <a:gd name="connsiteY102" fmla="*/ 188980 h 491112"/>
                <a:gd name="connsiteX103" fmla="*/ 476535 w 495300"/>
                <a:gd name="connsiteY103" fmla="*/ 189361 h 491112"/>
                <a:gd name="connsiteX104" fmla="*/ 18955 w 495300"/>
                <a:gd name="connsiteY104" fmla="*/ 188504 h 491112"/>
                <a:gd name="connsiteX105" fmla="*/ 16383 w 495300"/>
                <a:gd name="connsiteY105" fmla="*/ 188123 h 491112"/>
                <a:gd name="connsiteX106" fmla="*/ 9810 w 495300"/>
                <a:gd name="connsiteY106" fmla="*/ 176312 h 491112"/>
                <a:gd name="connsiteX107" fmla="*/ 10573 w 495300"/>
                <a:gd name="connsiteY107" fmla="*/ 173835 h 491112"/>
                <a:gd name="connsiteX108" fmla="*/ 22479 w 495300"/>
                <a:gd name="connsiteY108" fmla="*/ 167549 h 491112"/>
                <a:gd name="connsiteX109" fmla="*/ 28765 w 495300"/>
                <a:gd name="connsiteY109" fmla="*/ 179455 h 491112"/>
                <a:gd name="connsiteX110" fmla="*/ 28194 w 495300"/>
                <a:gd name="connsiteY110" fmla="*/ 181455 h 491112"/>
                <a:gd name="connsiteX111" fmla="*/ 19050 w 495300"/>
                <a:gd name="connsiteY111" fmla="*/ 188408 h 491112"/>
                <a:gd name="connsiteX112" fmla="*/ 448818 w 495300"/>
                <a:gd name="connsiteY112" fmla="*/ 127544 h 491112"/>
                <a:gd name="connsiteX113" fmla="*/ 440721 w 495300"/>
                <a:gd name="connsiteY113" fmla="*/ 123162 h 491112"/>
                <a:gd name="connsiteX114" fmla="*/ 439578 w 495300"/>
                <a:gd name="connsiteY114" fmla="*/ 121353 h 491112"/>
                <a:gd name="connsiteX115" fmla="*/ 442341 w 495300"/>
                <a:gd name="connsiteY115" fmla="*/ 108208 h 491112"/>
                <a:gd name="connsiteX116" fmla="*/ 455486 w 495300"/>
                <a:gd name="connsiteY116" fmla="*/ 110970 h 491112"/>
                <a:gd name="connsiteX117" fmla="*/ 456819 w 495300"/>
                <a:gd name="connsiteY117" fmla="*/ 113066 h 491112"/>
                <a:gd name="connsiteX118" fmla="*/ 453866 w 495300"/>
                <a:gd name="connsiteY118" fmla="*/ 126210 h 491112"/>
                <a:gd name="connsiteX119" fmla="*/ 448818 w 495300"/>
                <a:gd name="connsiteY119" fmla="*/ 127734 h 491112"/>
                <a:gd name="connsiteX120" fmla="*/ 46958 w 495300"/>
                <a:gd name="connsiteY120" fmla="*/ 126782 h 491112"/>
                <a:gd name="connsiteX121" fmla="*/ 41910 w 495300"/>
                <a:gd name="connsiteY121" fmla="*/ 125258 h 491112"/>
                <a:gd name="connsiteX122" fmla="*/ 38957 w 495300"/>
                <a:gd name="connsiteY122" fmla="*/ 112113 h 491112"/>
                <a:gd name="connsiteX123" fmla="*/ 40291 w 495300"/>
                <a:gd name="connsiteY123" fmla="*/ 110018 h 491112"/>
                <a:gd name="connsiteX124" fmla="*/ 53435 w 495300"/>
                <a:gd name="connsiteY124" fmla="*/ 107255 h 491112"/>
                <a:gd name="connsiteX125" fmla="*/ 56197 w 495300"/>
                <a:gd name="connsiteY125" fmla="*/ 120400 h 491112"/>
                <a:gd name="connsiteX126" fmla="*/ 55054 w 495300"/>
                <a:gd name="connsiteY126" fmla="*/ 122210 h 491112"/>
                <a:gd name="connsiteX127" fmla="*/ 46958 w 495300"/>
                <a:gd name="connsiteY127" fmla="*/ 126591 h 491112"/>
                <a:gd name="connsiteX128" fmla="*/ 404717 w 495300"/>
                <a:gd name="connsiteY128" fmla="*/ 76109 h 491112"/>
                <a:gd name="connsiteX129" fmla="*/ 398430 w 495300"/>
                <a:gd name="connsiteY129" fmla="*/ 73728 h 491112"/>
                <a:gd name="connsiteX130" fmla="*/ 396716 w 495300"/>
                <a:gd name="connsiteY130" fmla="*/ 72204 h 491112"/>
                <a:gd name="connsiteX131" fmla="*/ 395668 w 495300"/>
                <a:gd name="connsiteY131" fmla="*/ 58773 h 491112"/>
                <a:gd name="connsiteX132" fmla="*/ 409098 w 495300"/>
                <a:gd name="connsiteY132" fmla="*/ 57725 h 491112"/>
                <a:gd name="connsiteX133" fmla="*/ 410908 w 495300"/>
                <a:gd name="connsiteY133" fmla="*/ 59345 h 491112"/>
                <a:gd name="connsiteX134" fmla="*/ 411861 w 495300"/>
                <a:gd name="connsiteY134" fmla="*/ 72775 h 491112"/>
                <a:gd name="connsiteX135" fmla="*/ 404717 w 495300"/>
                <a:gd name="connsiteY135" fmla="*/ 76013 h 491112"/>
                <a:gd name="connsiteX136" fmla="*/ 91249 w 495300"/>
                <a:gd name="connsiteY136" fmla="*/ 75537 h 491112"/>
                <a:gd name="connsiteX137" fmla="*/ 84105 w 495300"/>
                <a:gd name="connsiteY137" fmla="*/ 72299 h 491112"/>
                <a:gd name="connsiteX138" fmla="*/ 85058 w 495300"/>
                <a:gd name="connsiteY138" fmla="*/ 58868 h 491112"/>
                <a:gd name="connsiteX139" fmla="*/ 86868 w 495300"/>
                <a:gd name="connsiteY139" fmla="*/ 57249 h 491112"/>
                <a:gd name="connsiteX140" fmla="*/ 100298 w 495300"/>
                <a:gd name="connsiteY140" fmla="*/ 58297 h 491112"/>
                <a:gd name="connsiteX141" fmla="*/ 99250 w 495300"/>
                <a:gd name="connsiteY141" fmla="*/ 71727 h 491112"/>
                <a:gd name="connsiteX142" fmla="*/ 97536 w 495300"/>
                <a:gd name="connsiteY142" fmla="*/ 73251 h 491112"/>
                <a:gd name="connsiteX143" fmla="*/ 91249 w 495300"/>
                <a:gd name="connsiteY143" fmla="*/ 75633 h 491112"/>
                <a:gd name="connsiteX144" fmla="*/ 347948 w 495300"/>
                <a:gd name="connsiteY144" fmla="*/ 39057 h 491112"/>
                <a:gd name="connsiteX145" fmla="*/ 343948 w 495300"/>
                <a:gd name="connsiteY145" fmla="*/ 38199 h 491112"/>
                <a:gd name="connsiteX146" fmla="*/ 341852 w 495300"/>
                <a:gd name="connsiteY146" fmla="*/ 37247 h 491112"/>
                <a:gd name="connsiteX147" fmla="*/ 337089 w 495300"/>
                <a:gd name="connsiteY147" fmla="*/ 24674 h 491112"/>
                <a:gd name="connsiteX148" fmla="*/ 349662 w 495300"/>
                <a:gd name="connsiteY148" fmla="*/ 19911 h 491112"/>
                <a:gd name="connsiteX149" fmla="*/ 351854 w 495300"/>
                <a:gd name="connsiteY149" fmla="*/ 20864 h 491112"/>
                <a:gd name="connsiteX150" fmla="*/ 356521 w 495300"/>
                <a:gd name="connsiteY150" fmla="*/ 33532 h 491112"/>
                <a:gd name="connsiteX151" fmla="*/ 347853 w 495300"/>
                <a:gd name="connsiteY151" fmla="*/ 39057 h 491112"/>
                <a:gd name="connsiteX152" fmla="*/ 148114 w 495300"/>
                <a:gd name="connsiteY152" fmla="*/ 38675 h 491112"/>
                <a:gd name="connsiteX153" fmla="*/ 139446 w 495300"/>
                <a:gd name="connsiteY153" fmla="*/ 33151 h 491112"/>
                <a:gd name="connsiteX154" fmla="*/ 144113 w 495300"/>
                <a:gd name="connsiteY154" fmla="*/ 20483 h 491112"/>
                <a:gd name="connsiteX155" fmla="*/ 146399 w 495300"/>
                <a:gd name="connsiteY155" fmla="*/ 19435 h 491112"/>
                <a:gd name="connsiteX156" fmla="*/ 158972 w 495300"/>
                <a:gd name="connsiteY156" fmla="*/ 24293 h 491112"/>
                <a:gd name="connsiteX157" fmla="*/ 154114 w 495300"/>
                <a:gd name="connsiteY157" fmla="*/ 36866 h 491112"/>
                <a:gd name="connsiteX158" fmla="*/ 152114 w 495300"/>
                <a:gd name="connsiteY158" fmla="*/ 37723 h 491112"/>
                <a:gd name="connsiteX159" fmla="*/ 148114 w 495300"/>
                <a:gd name="connsiteY159" fmla="*/ 38580 h 491112"/>
                <a:gd name="connsiteX160" fmla="*/ 283083 w 495300"/>
                <a:gd name="connsiteY160" fmla="*/ 19530 h 491112"/>
                <a:gd name="connsiteX161" fmla="*/ 281749 w 495300"/>
                <a:gd name="connsiteY161" fmla="*/ 19435 h 491112"/>
                <a:gd name="connsiteX162" fmla="*/ 279463 w 495300"/>
                <a:gd name="connsiteY162" fmla="*/ 19054 h 491112"/>
                <a:gd name="connsiteX163" fmla="*/ 271367 w 495300"/>
                <a:gd name="connsiteY163" fmla="*/ 8291 h 491112"/>
                <a:gd name="connsiteX164" fmla="*/ 282130 w 495300"/>
                <a:gd name="connsiteY164" fmla="*/ 195 h 491112"/>
                <a:gd name="connsiteX165" fmla="*/ 284416 w 495300"/>
                <a:gd name="connsiteY165" fmla="*/ 575 h 491112"/>
                <a:gd name="connsiteX166" fmla="*/ 292512 w 495300"/>
                <a:gd name="connsiteY166" fmla="*/ 11339 h 491112"/>
                <a:gd name="connsiteX167" fmla="*/ 283083 w 495300"/>
                <a:gd name="connsiteY167" fmla="*/ 19530 h 491112"/>
                <a:gd name="connsiteX168" fmla="*/ 212979 w 495300"/>
                <a:gd name="connsiteY168" fmla="*/ 19435 h 491112"/>
                <a:gd name="connsiteX169" fmla="*/ 203549 w 495300"/>
                <a:gd name="connsiteY169" fmla="*/ 11243 h 491112"/>
                <a:gd name="connsiteX170" fmla="*/ 211645 w 495300"/>
                <a:gd name="connsiteY170" fmla="*/ 480 h 491112"/>
                <a:gd name="connsiteX171" fmla="*/ 214122 w 495300"/>
                <a:gd name="connsiteY171" fmla="*/ 99 h 491112"/>
                <a:gd name="connsiteX172" fmla="*/ 224790 w 495300"/>
                <a:gd name="connsiteY172" fmla="*/ 8291 h 491112"/>
                <a:gd name="connsiteX173" fmla="*/ 216598 w 495300"/>
                <a:gd name="connsiteY173" fmla="*/ 18959 h 491112"/>
                <a:gd name="connsiteX174" fmla="*/ 214408 w 495300"/>
                <a:gd name="connsiteY174" fmla="*/ 19245 h 491112"/>
                <a:gd name="connsiteX175" fmla="*/ 213074 w 495300"/>
                <a:gd name="connsiteY175" fmla="*/ 19340 h 491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495300" h="491112">
                  <a:moveTo>
                    <a:pt x="279463" y="491113"/>
                  </a:moveTo>
                  <a:cubicBezTo>
                    <a:pt x="274701" y="491113"/>
                    <a:pt x="270700" y="487589"/>
                    <a:pt x="270034" y="482826"/>
                  </a:cubicBezTo>
                  <a:cubicBezTo>
                    <a:pt x="269367" y="477587"/>
                    <a:pt x="272986" y="472825"/>
                    <a:pt x="278225" y="472158"/>
                  </a:cubicBezTo>
                  <a:lnTo>
                    <a:pt x="280416" y="471872"/>
                  </a:lnTo>
                  <a:cubicBezTo>
                    <a:pt x="285750" y="471015"/>
                    <a:pt x="290417" y="474730"/>
                    <a:pt x="291179" y="479969"/>
                  </a:cubicBezTo>
                  <a:cubicBezTo>
                    <a:pt x="291941" y="485208"/>
                    <a:pt x="288321" y="489970"/>
                    <a:pt x="283083" y="490732"/>
                  </a:cubicBezTo>
                  <a:lnTo>
                    <a:pt x="280606" y="491113"/>
                  </a:lnTo>
                  <a:cubicBezTo>
                    <a:pt x="280606" y="491113"/>
                    <a:pt x="279749" y="491113"/>
                    <a:pt x="279368" y="491113"/>
                  </a:cubicBezTo>
                  <a:close/>
                  <a:moveTo>
                    <a:pt x="214026" y="490827"/>
                  </a:moveTo>
                  <a:cubicBezTo>
                    <a:pt x="214026" y="490827"/>
                    <a:pt x="213074" y="490827"/>
                    <a:pt x="212693" y="490732"/>
                  </a:cubicBezTo>
                  <a:lnTo>
                    <a:pt x="210407" y="490351"/>
                  </a:lnTo>
                  <a:cubicBezTo>
                    <a:pt x="205168" y="489589"/>
                    <a:pt x="201644" y="484731"/>
                    <a:pt x="202311" y="479588"/>
                  </a:cubicBezTo>
                  <a:cubicBezTo>
                    <a:pt x="203073" y="474349"/>
                    <a:pt x="207836" y="470729"/>
                    <a:pt x="213074" y="471492"/>
                  </a:cubicBezTo>
                  <a:lnTo>
                    <a:pt x="215360" y="471872"/>
                  </a:lnTo>
                  <a:cubicBezTo>
                    <a:pt x="220599" y="472634"/>
                    <a:pt x="224123" y="477492"/>
                    <a:pt x="223456" y="482636"/>
                  </a:cubicBezTo>
                  <a:cubicBezTo>
                    <a:pt x="222789" y="487398"/>
                    <a:pt x="218694" y="490827"/>
                    <a:pt x="214026" y="490827"/>
                  </a:cubicBezTo>
                  <a:close/>
                  <a:moveTo>
                    <a:pt x="344614" y="472634"/>
                  </a:moveTo>
                  <a:cubicBezTo>
                    <a:pt x="340995" y="472634"/>
                    <a:pt x="337471" y="470539"/>
                    <a:pt x="335852" y="466920"/>
                  </a:cubicBezTo>
                  <a:cubicBezTo>
                    <a:pt x="333756" y="462062"/>
                    <a:pt x="335852" y="456442"/>
                    <a:pt x="340709" y="454346"/>
                  </a:cubicBezTo>
                  <a:lnTo>
                    <a:pt x="342709" y="453489"/>
                  </a:lnTo>
                  <a:cubicBezTo>
                    <a:pt x="347472" y="451299"/>
                    <a:pt x="353092" y="453394"/>
                    <a:pt x="355378" y="458157"/>
                  </a:cubicBezTo>
                  <a:cubicBezTo>
                    <a:pt x="357568" y="462919"/>
                    <a:pt x="355473" y="468634"/>
                    <a:pt x="350711" y="470825"/>
                  </a:cubicBezTo>
                  <a:lnTo>
                    <a:pt x="348424" y="471872"/>
                  </a:lnTo>
                  <a:cubicBezTo>
                    <a:pt x="347186" y="472444"/>
                    <a:pt x="345853" y="472634"/>
                    <a:pt x="344614" y="472634"/>
                  </a:cubicBezTo>
                  <a:close/>
                  <a:moveTo>
                    <a:pt x="148971" y="471872"/>
                  </a:moveTo>
                  <a:cubicBezTo>
                    <a:pt x="147638" y="471872"/>
                    <a:pt x="146304" y="471587"/>
                    <a:pt x="145066" y="471015"/>
                  </a:cubicBezTo>
                  <a:lnTo>
                    <a:pt x="142780" y="469967"/>
                  </a:lnTo>
                  <a:cubicBezTo>
                    <a:pt x="138017" y="467682"/>
                    <a:pt x="136017" y="462062"/>
                    <a:pt x="138208" y="457299"/>
                  </a:cubicBezTo>
                  <a:cubicBezTo>
                    <a:pt x="140494" y="452537"/>
                    <a:pt x="146113" y="450537"/>
                    <a:pt x="150876" y="452727"/>
                  </a:cubicBezTo>
                  <a:lnTo>
                    <a:pt x="152876" y="453680"/>
                  </a:lnTo>
                  <a:cubicBezTo>
                    <a:pt x="157639" y="455871"/>
                    <a:pt x="159734" y="461490"/>
                    <a:pt x="157639" y="466253"/>
                  </a:cubicBezTo>
                  <a:cubicBezTo>
                    <a:pt x="156020" y="469777"/>
                    <a:pt x="152590" y="471872"/>
                    <a:pt x="148971" y="471872"/>
                  </a:cubicBezTo>
                  <a:close/>
                  <a:moveTo>
                    <a:pt x="401860" y="436535"/>
                  </a:moveTo>
                  <a:cubicBezTo>
                    <a:pt x="399097" y="436535"/>
                    <a:pt x="396430" y="435392"/>
                    <a:pt x="394525" y="433106"/>
                  </a:cubicBezTo>
                  <a:cubicBezTo>
                    <a:pt x="391096" y="429105"/>
                    <a:pt x="391668" y="423104"/>
                    <a:pt x="395668" y="419675"/>
                  </a:cubicBezTo>
                  <a:lnTo>
                    <a:pt x="397287" y="418247"/>
                  </a:lnTo>
                  <a:cubicBezTo>
                    <a:pt x="401193" y="414818"/>
                    <a:pt x="407289" y="415199"/>
                    <a:pt x="410718" y="419199"/>
                  </a:cubicBezTo>
                  <a:cubicBezTo>
                    <a:pt x="414147" y="423200"/>
                    <a:pt x="413766" y="429200"/>
                    <a:pt x="409765" y="432629"/>
                  </a:cubicBezTo>
                  <a:lnTo>
                    <a:pt x="407861" y="434249"/>
                  </a:lnTo>
                  <a:cubicBezTo>
                    <a:pt x="406051" y="435773"/>
                    <a:pt x="403860" y="436535"/>
                    <a:pt x="401764" y="436535"/>
                  </a:cubicBezTo>
                  <a:close/>
                  <a:moveTo>
                    <a:pt x="91916" y="435296"/>
                  </a:moveTo>
                  <a:cubicBezTo>
                    <a:pt x="89725" y="435296"/>
                    <a:pt x="87535" y="434534"/>
                    <a:pt x="85725" y="433011"/>
                  </a:cubicBezTo>
                  <a:lnTo>
                    <a:pt x="83820" y="431391"/>
                  </a:lnTo>
                  <a:cubicBezTo>
                    <a:pt x="79914" y="427867"/>
                    <a:pt x="79534" y="421866"/>
                    <a:pt x="83058" y="417961"/>
                  </a:cubicBezTo>
                  <a:cubicBezTo>
                    <a:pt x="86582" y="414056"/>
                    <a:pt x="92583" y="413675"/>
                    <a:pt x="96488" y="417199"/>
                  </a:cubicBezTo>
                  <a:lnTo>
                    <a:pt x="98107" y="418628"/>
                  </a:lnTo>
                  <a:cubicBezTo>
                    <a:pt x="102108" y="422057"/>
                    <a:pt x="102584" y="428058"/>
                    <a:pt x="99155" y="432058"/>
                  </a:cubicBezTo>
                  <a:cubicBezTo>
                    <a:pt x="97250" y="434249"/>
                    <a:pt x="94583" y="435392"/>
                    <a:pt x="91916" y="435392"/>
                  </a:cubicBezTo>
                  <a:close/>
                  <a:moveTo>
                    <a:pt x="446722" y="385767"/>
                  </a:moveTo>
                  <a:cubicBezTo>
                    <a:pt x="444912" y="385767"/>
                    <a:pt x="443103" y="385290"/>
                    <a:pt x="441484" y="384242"/>
                  </a:cubicBezTo>
                  <a:cubicBezTo>
                    <a:pt x="437102" y="381385"/>
                    <a:pt x="435864" y="375479"/>
                    <a:pt x="438721" y="371098"/>
                  </a:cubicBezTo>
                  <a:lnTo>
                    <a:pt x="439960" y="369193"/>
                  </a:lnTo>
                  <a:cubicBezTo>
                    <a:pt x="442817" y="364812"/>
                    <a:pt x="448723" y="363478"/>
                    <a:pt x="453104" y="366336"/>
                  </a:cubicBezTo>
                  <a:cubicBezTo>
                    <a:pt x="457485" y="369193"/>
                    <a:pt x="458819" y="375099"/>
                    <a:pt x="455866" y="379480"/>
                  </a:cubicBezTo>
                  <a:lnTo>
                    <a:pt x="454533" y="381480"/>
                  </a:lnTo>
                  <a:cubicBezTo>
                    <a:pt x="452723" y="384242"/>
                    <a:pt x="449675" y="385767"/>
                    <a:pt x="446532" y="385767"/>
                  </a:cubicBezTo>
                  <a:close/>
                  <a:moveTo>
                    <a:pt x="47530" y="384242"/>
                  </a:moveTo>
                  <a:cubicBezTo>
                    <a:pt x="44386" y="384242"/>
                    <a:pt x="41338" y="382718"/>
                    <a:pt x="39528" y="379861"/>
                  </a:cubicBezTo>
                  <a:lnTo>
                    <a:pt x="38195" y="377861"/>
                  </a:lnTo>
                  <a:cubicBezTo>
                    <a:pt x="35337" y="373384"/>
                    <a:pt x="36671" y="367574"/>
                    <a:pt x="41148" y="364716"/>
                  </a:cubicBezTo>
                  <a:cubicBezTo>
                    <a:pt x="45625" y="361859"/>
                    <a:pt x="51435" y="363192"/>
                    <a:pt x="54292" y="367669"/>
                  </a:cubicBezTo>
                  <a:lnTo>
                    <a:pt x="55530" y="369574"/>
                  </a:lnTo>
                  <a:cubicBezTo>
                    <a:pt x="58388" y="373955"/>
                    <a:pt x="57055" y="379861"/>
                    <a:pt x="52673" y="382718"/>
                  </a:cubicBezTo>
                  <a:cubicBezTo>
                    <a:pt x="51054" y="383766"/>
                    <a:pt x="49339" y="384242"/>
                    <a:pt x="47530" y="384242"/>
                  </a:cubicBezTo>
                  <a:close/>
                  <a:moveTo>
                    <a:pt x="475583" y="324425"/>
                  </a:moveTo>
                  <a:cubicBezTo>
                    <a:pt x="474726" y="324425"/>
                    <a:pt x="473773" y="324330"/>
                    <a:pt x="472821" y="324045"/>
                  </a:cubicBezTo>
                  <a:cubicBezTo>
                    <a:pt x="467773" y="322521"/>
                    <a:pt x="464915" y="317187"/>
                    <a:pt x="466439" y="312138"/>
                  </a:cubicBezTo>
                  <a:lnTo>
                    <a:pt x="467106" y="309947"/>
                  </a:lnTo>
                  <a:cubicBezTo>
                    <a:pt x="468630" y="304899"/>
                    <a:pt x="473869" y="302042"/>
                    <a:pt x="478917" y="303566"/>
                  </a:cubicBezTo>
                  <a:cubicBezTo>
                    <a:pt x="483965" y="305090"/>
                    <a:pt x="486823" y="310329"/>
                    <a:pt x="485298" y="315377"/>
                  </a:cubicBezTo>
                  <a:lnTo>
                    <a:pt x="484632" y="317663"/>
                  </a:lnTo>
                  <a:cubicBezTo>
                    <a:pt x="483394" y="321758"/>
                    <a:pt x="479584" y="324425"/>
                    <a:pt x="475488" y="324425"/>
                  </a:cubicBezTo>
                  <a:close/>
                  <a:moveTo>
                    <a:pt x="19240" y="322616"/>
                  </a:moveTo>
                  <a:cubicBezTo>
                    <a:pt x="15144" y="322616"/>
                    <a:pt x="11335" y="319949"/>
                    <a:pt x="10096" y="315758"/>
                  </a:cubicBezTo>
                  <a:lnTo>
                    <a:pt x="9525" y="313948"/>
                  </a:lnTo>
                  <a:cubicBezTo>
                    <a:pt x="8096" y="308900"/>
                    <a:pt x="10953" y="303375"/>
                    <a:pt x="16002" y="301946"/>
                  </a:cubicBezTo>
                  <a:cubicBezTo>
                    <a:pt x="21050" y="300518"/>
                    <a:pt x="26289" y="303185"/>
                    <a:pt x="27717" y="308233"/>
                  </a:cubicBezTo>
                  <a:lnTo>
                    <a:pt x="28384" y="310424"/>
                  </a:lnTo>
                  <a:cubicBezTo>
                    <a:pt x="29908" y="315472"/>
                    <a:pt x="26955" y="320806"/>
                    <a:pt x="22003" y="322235"/>
                  </a:cubicBezTo>
                  <a:cubicBezTo>
                    <a:pt x="21145" y="322521"/>
                    <a:pt x="20193" y="322616"/>
                    <a:pt x="19335" y="322616"/>
                  </a:cubicBezTo>
                  <a:close/>
                  <a:moveTo>
                    <a:pt x="485775" y="257465"/>
                  </a:moveTo>
                  <a:lnTo>
                    <a:pt x="485680" y="257465"/>
                  </a:lnTo>
                  <a:cubicBezTo>
                    <a:pt x="480441" y="257465"/>
                    <a:pt x="476155" y="253083"/>
                    <a:pt x="476250" y="247845"/>
                  </a:cubicBezTo>
                  <a:lnTo>
                    <a:pt x="476250" y="244606"/>
                  </a:lnTo>
                  <a:cubicBezTo>
                    <a:pt x="476250" y="239367"/>
                    <a:pt x="480536" y="235081"/>
                    <a:pt x="485775" y="235081"/>
                  </a:cubicBezTo>
                  <a:cubicBezTo>
                    <a:pt x="491014" y="235081"/>
                    <a:pt x="495300" y="239367"/>
                    <a:pt x="495300" y="244606"/>
                  </a:cubicBezTo>
                  <a:lnTo>
                    <a:pt x="495300" y="248035"/>
                  </a:lnTo>
                  <a:cubicBezTo>
                    <a:pt x="495300" y="253274"/>
                    <a:pt x="491014" y="257465"/>
                    <a:pt x="485775" y="257465"/>
                  </a:cubicBezTo>
                  <a:close/>
                  <a:moveTo>
                    <a:pt x="9525" y="255369"/>
                  </a:moveTo>
                  <a:cubicBezTo>
                    <a:pt x="4286" y="255369"/>
                    <a:pt x="0" y="251369"/>
                    <a:pt x="0" y="246130"/>
                  </a:cubicBezTo>
                  <a:lnTo>
                    <a:pt x="0" y="243654"/>
                  </a:lnTo>
                  <a:cubicBezTo>
                    <a:pt x="0" y="238415"/>
                    <a:pt x="4381" y="234319"/>
                    <a:pt x="9525" y="234319"/>
                  </a:cubicBezTo>
                  <a:lnTo>
                    <a:pt x="9715" y="234319"/>
                  </a:lnTo>
                  <a:cubicBezTo>
                    <a:pt x="14954" y="234319"/>
                    <a:pt x="19145" y="238700"/>
                    <a:pt x="19050" y="244034"/>
                  </a:cubicBezTo>
                  <a:lnTo>
                    <a:pt x="19050" y="245749"/>
                  </a:lnTo>
                  <a:cubicBezTo>
                    <a:pt x="19050" y="250988"/>
                    <a:pt x="14764" y="255560"/>
                    <a:pt x="9525" y="255560"/>
                  </a:cubicBezTo>
                  <a:close/>
                  <a:moveTo>
                    <a:pt x="476535" y="189361"/>
                  </a:moveTo>
                  <a:cubicBezTo>
                    <a:pt x="472344" y="189361"/>
                    <a:pt x="468535" y="186599"/>
                    <a:pt x="467392" y="182408"/>
                  </a:cubicBezTo>
                  <a:lnTo>
                    <a:pt x="466725" y="180312"/>
                  </a:lnTo>
                  <a:cubicBezTo>
                    <a:pt x="465201" y="175264"/>
                    <a:pt x="468058" y="169930"/>
                    <a:pt x="473107" y="168406"/>
                  </a:cubicBezTo>
                  <a:cubicBezTo>
                    <a:pt x="478155" y="166882"/>
                    <a:pt x="483489" y="169739"/>
                    <a:pt x="485013" y="174788"/>
                  </a:cubicBezTo>
                  <a:lnTo>
                    <a:pt x="485680" y="177169"/>
                  </a:lnTo>
                  <a:cubicBezTo>
                    <a:pt x="487108" y="182217"/>
                    <a:pt x="484155" y="187456"/>
                    <a:pt x="479107" y="188980"/>
                  </a:cubicBezTo>
                  <a:cubicBezTo>
                    <a:pt x="478250" y="189266"/>
                    <a:pt x="477393" y="189361"/>
                    <a:pt x="476535" y="189361"/>
                  </a:cubicBezTo>
                  <a:close/>
                  <a:moveTo>
                    <a:pt x="18955" y="188504"/>
                  </a:moveTo>
                  <a:cubicBezTo>
                    <a:pt x="18097" y="188504"/>
                    <a:pt x="17240" y="188408"/>
                    <a:pt x="16383" y="188123"/>
                  </a:cubicBezTo>
                  <a:cubicBezTo>
                    <a:pt x="11335" y="186694"/>
                    <a:pt x="8382" y="181455"/>
                    <a:pt x="9810" y="176312"/>
                  </a:cubicBezTo>
                  <a:lnTo>
                    <a:pt x="10573" y="173835"/>
                  </a:lnTo>
                  <a:cubicBezTo>
                    <a:pt x="12096" y="168787"/>
                    <a:pt x="17526" y="166025"/>
                    <a:pt x="22479" y="167549"/>
                  </a:cubicBezTo>
                  <a:cubicBezTo>
                    <a:pt x="27527" y="169073"/>
                    <a:pt x="30289" y="174502"/>
                    <a:pt x="28765" y="179455"/>
                  </a:cubicBezTo>
                  <a:lnTo>
                    <a:pt x="28194" y="181455"/>
                  </a:lnTo>
                  <a:cubicBezTo>
                    <a:pt x="27051" y="185646"/>
                    <a:pt x="23146" y="188408"/>
                    <a:pt x="19050" y="188408"/>
                  </a:cubicBezTo>
                  <a:close/>
                  <a:moveTo>
                    <a:pt x="448818" y="127544"/>
                  </a:moveTo>
                  <a:cubicBezTo>
                    <a:pt x="445675" y="127544"/>
                    <a:pt x="442531" y="126020"/>
                    <a:pt x="440721" y="123162"/>
                  </a:cubicBezTo>
                  <a:lnTo>
                    <a:pt x="439578" y="121353"/>
                  </a:lnTo>
                  <a:cubicBezTo>
                    <a:pt x="436721" y="116971"/>
                    <a:pt x="437959" y="111066"/>
                    <a:pt x="442341" y="108208"/>
                  </a:cubicBezTo>
                  <a:cubicBezTo>
                    <a:pt x="446722" y="105350"/>
                    <a:pt x="452628" y="106589"/>
                    <a:pt x="455486" y="110970"/>
                  </a:cubicBezTo>
                  <a:lnTo>
                    <a:pt x="456819" y="113066"/>
                  </a:lnTo>
                  <a:cubicBezTo>
                    <a:pt x="459677" y="117542"/>
                    <a:pt x="458343" y="123353"/>
                    <a:pt x="453866" y="126210"/>
                  </a:cubicBezTo>
                  <a:cubicBezTo>
                    <a:pt x="452247" y="127258"/>
                    <a:pt x="450532" y="127734"/>
                    <a:pt x="448818" y="127734"/>
                  </a:cubicBezTo>
                  <a:close/>
                  <a:moveTo>
                    <a:pt x="46958" y="126782"/>
                  </a:moveTo>
                  <a:cubicBezTo>
                    <a:pt x="45244" y="126782"/>
                    <a:pt x="43434" y="126305"/>
                    <a:pt x="41910" y="125258"/>
                  </a:cubicBezTo>
                  <a:cubicBezTo>
                    <a:pt x="37433" y="122400"/>
                    <a:pt x="36100" y="116590"/>
                    <a:pt x="38957" y="112113"/>
                  </a:cubicBezTo>
                  <a:lnTo>
                    <a:pt x="40291" y="110018"/>
                  </a:lnTo>
                  <a:cubicBezTo>
                    <a:pt x="43148" y="105636"/>
                    <a:pt x="49053" y="104398"/>
                    <a:pt x="53435" y="107255"/>
                  </a:cubicBezTo>
                  <a:cubicBezTo>
                    <a:pt x="57817" y="110113"/>
                    <a:pt x="59055" y="116018"/>
                    <a:pt x="56197" y="120400"/>
                  </a:cubicBezTo>
                  <a:lnTo>
                    <a:pt x="55054" y="122210"/>
                  </a:lnTo>
                  <a:cubicBezTo>
                    <a:pt x="53244" y="125067"/>
                    <a:pt x="50196" y="126591"/>
                    <a:pt x="46958" y="126591"/>
                  </a:cubicBezTo>
                  <a:close/>
                  <a:moveTo>
                    <a:pt x="404717" y="76109"/>
                  </a:moveTo>
                  <a:cubicBezTo>
                    <a:pt x="402527" y="76109"/>
                    <a:pt x="400240" y="75347"/>
                    <a:pt x="398430" y="73728"/>
                  </a:cubicBezTo>
                  <a:lnTo>
                    <a:pt x="396716" y="72204"/>
                  </a:lnTo>
                  <a:cubicBezTo>
                    <a:pt x="392716" y="68775"/>
                    <a:pt x="392239" y="62774"/>
                    <a:pt x="395668" y="58773"/>
                  </a:cubicBezTo>
                  <a:cubicBezTo>
                    <a:pt x="399097" y="54773"/>
                    <a:pt x="405098" y="54296"/>
                    <a:pt x="409098" y="57725"/>
                  </a:cubicBezTo>
                  <a:lnTo>
                    <a:pt x="410908" y="59345"/>
                  </a:lnTo>
                  <a:cubicBezTo>
                    <a:pt x="414909" y="62774"/>
                    <a:pt x="415290" y="68775"/>
                    <a:pt x="411861" y="72775"/>
                  </a:cubicBezTo>
                  <a:cubicBezTo>
                    <a:pt x="409956" y="74966"/>
                    <a:pt x="407384" y="76013"/>
                    <a:pt x="404717" y="76013"/>
                  </a:cubicBezTo>
                  <a:close/>
                  <a:moveTo>
                    <a:pt x="91249" y="75537"/>
                  </a:moveTo>
                  <a:cubicBezTo>
                    <a:pt x="88582" y="75537"/>
                    <a:pt x="85915" y="74394"/>
                    <a:pt x="84105" y="72299"/>
                  </a:cubicBezTo>
                  <a:cubicBezTo>
                    <a:pt x="80676" y="68298"/>
                    <a:pt x="81058" y="62297"/>
                    <a:pt x="85058" y="58868"/>
                  </a:cubicBezTo>
                  <a:lnTo>
                    <a:pt x="86868" y="57249"/>
                  </a:lnTo>
                  <a:cubicBezTo>
                    <a:pt x="90868" y="53820"/>
                    <a:pt x="96869" y="54296"/>
                    <a:pt x="100298" y="58297"/>
                  </a:cubicBezTo>
                  <a:cubicBezTo>
                    <a:pt x="103727" y="62297"/>
                    <a:pt x="103251" y="68298"/>
                    <a:pt x="99250" y="71727"/>
                  </a:cubicBezTo>
                  <a:lnTo>
                    <a:pt x="97536" y="73251"/>
                  </a:lnTo>
                  <a:cubicBezTo>
                    <a:pt x="95726" y="74870"/>
                    <a:pt x="93536" y="75633"/>
                    <a:pt x="91249" y="75633"/>
                  </a:cubicBezTo>
                  <a:close/>
                  <a:moveTo>
                    <a:pt x="347948" y="39057"/>
                  </a:moveTo>
                  <a:cubicBezTo>
                    <a:pt x="346614" y="39057"/>
                    <a:pt x="345281" y="38771"/>
                    <a:pt x="343948" y="38199"/>
                  </a:cubicBezTo>
                  <a:lnTo>
                    <a:pt x="341852" y="37247"/>
                  </a:lnTo>
                  <a:cubicBezTo>
                    <a:pt x="337089" y="35056"/>
                    <a:pt x="334994" y="29436"/>
                    <a:pt x="337089" y="24674"/>
                  </a:cubicBezTo>
                  <a:cubicBezTo>
                    <a:pt x="339280" y="19911"/>
                    <a:pt x="344900" y="17720"/>
                    <a:pt x="349662" y="19911"/>
                  </a:cubicBezTo>
                  <a:lnTo>
                    <a:pt x="351854" y="20864"/>
                  </a:lnTo>
                  <a:cubicBezTo>
                    <a:pt x="356616" y="23054"/>
                    <a:pt x="358711" y="28770"/>
                    <a:pt x="356521" y="33532"/>
                  </a:cubicBezTo>
                  <a:cubicBezTo>
                    <a:pt x="354902" y="37056"/>
                    <a:pt x="351472" y="39057"/>
                    <a:pt x="347853" y="39057"/>
                  </a:cubicBezTo>
                  <a:close/>
                  <a:moveTo>
                    <a:pt x="148114" y="38675"/>
                  </a:moveTo>
                  <a:cubicBezTo>
                    <a:pt x="144494" y="38675"/>
                    <a:pt x="141065" y="36580"/>
                    <a:pt x="139446" y="33151"/>
                  </a:cubicBezTo>
                  <a:cubicBezTo>
                    <a:pt x="137255" y="28388"/>
                    <a:pt x="139351" y="22674"/>
                    <a:pt x="144113" y="20483"/>
                  </a:cubicBezTo>
                  <a:lnTo>
                    <a:pt x="146399" y="19435"/>
                  </a:lnTo>
                  <a:cubicBezTo>
                    <a:pt x="151257" y="17339"/>
                    <a:pt x="156876" y="19435"/>
                    <a:pt x="158972" y="24293"/>
                  </a:cubicBezTo>
                  <a:cubicBezTo>
                    <a:pt x="161068" y="29150"/>
                    <a:pt x="158972" y="34770"/>
                    <a:pt x="154114" y="36866"/>
                  </a:cubicBezTo>
                  <a:lnTo>
                    <a:pt x="152114" y="37723"/>
                  </a:lnTo>
                  <a:cubicBezTo>
                    <a:pt x="150876" y="38295"/>
                    <a:pt x="149447" y="38580"/>
                    <a:pt x="148114" y="38580"/>
                  </a:cubicBezTo>
                  <a:close/>
                  <a:moveTo>
                    <a:pt x="283083" y="19530"/>
                  </a:moveTo>
                  <a:cubicBezTo>
                    <a:pt x="283083" y="19530"/>
                    <a:pt x="282130" y="19530"/>
                    <a:pt x="281749" y="19435"/>
                  </a:cubicBezTo>
                  <a:lnTo>
                    <a:pt x="279463" y="19054"/>
                  </a:lnTo>
                  <a:cubicBezTo>
                    <a:pt x="274225" y="18292"/>
                    <a:pt x="270700" y="13434"/>
                    <a:pt x="271367" y="8291"/>
                  </a:cubicBezTo>
                  <a:cubicBezTo>
                    <a:pt x="272129" y="3052"/>
                    <a:pt x="276892" y="-663"/>
                    <a:pt x="282130" y="195"/>
                  </a:cubicBezTo>
                  <a:lnTo>
                    <a:pt x="284416" y="575"/>
                  </a:lnTo>
                  <a:cubicBezTo>
                    <a:pt x="289655" y="1337"/>
                    <a:pt x="293179" y="6195"/>
                    <a:pt x="292512" y="11339"/>
                  </a:cubicBezTo>
                  <a:cubicBezTo>
                    <a:pt x="291846" y="16101"/>
                    <a:pt x="287750" y="19530"/>
                    <a:pt x="283083" y="19530"/>
                  </a:cubicBezTo>
                  <a:close/>
                  <a:moveTo>
                    <a:pt x="212979" y="19435"/>
                  </a:moveTo>
                  <a:cubicBezTo>
                    <a:pt x="208312" y="19435"/>
                    <a:pt x="204216" y="16006"/>
                    <a:pt x="203549" y="11243"/>
                  </a:cubicBezTo>
                  <a:cubicBezTo>
                    <a:pt x="202787" y="6005"/>
                    <a:pt x="206407" y="1242"/>
                    <a:pt x="211645" y="480"/>
                  </a:cubicBezTo>
                  <a:lnTo>
                    <a:pt x="214122" y="99"/>
                  </a:lnTo>
                  <a:cubicBezTo>
                    <a:pt x="219360" y="-663"/>
                    <a:pt x="224123" y="3052"/>
                    <a:pt x="224790" y="8291"/>
                  </a:cubicBezTo>
                  <a:cubicBezTo>
                    <a:pt x="225457" y="13529"/>
                    <a:pt x="221837" y="18292"/>
                    <a:pt x="216598" y="18959"/>
                  </a:cubicBezTo>
                  <a:lnTo>
                    <a:pt x="214408" y="19245"/>
                  </a:lnTo>
                  <a:cubicBezTo>
                    <a:pt x="214408" y="19245"/>
                    <a:pt x="213455" y="19340"/>
                    <a:pt x="213074" y="193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C9ED5A6B-4194-DDBD-343C-5B4B9DD9A1FD}"/>
              </a:ext>
            </a:extLst>
          </p:cNvPr>
          <p:cNvGrpSpPr/>
          <p:nvPr/>
        </p:nvGrpSpPr>
        <p:grpSpPr>
          <a:xfrm>
            <a:off x="360572" y="1616390"/>
            <a:ext cx="11225146" cy="1759747"/>
            <a:chOff x="206127" y="3411828"/>
            <a:chExt cx="11225146" cy="1759747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4216ED2-2E20-67FB-3F97-EBB763C8AF06}"/>
                </a:ext>
              </a:extLst>
            </p:cNvPr>
            <p:cNvGrpSpPr/>
            <p:nvPr/>
          </p:nvGrpSpPr>
          <p:grpSpPr>
            <a:xfrm>
              <a:off x="263277" y="3984676"/>
              <a:ext cx="8897649" cy="1186537"/>
              <a:chOff x="611886" y="3921214"/>
              <a:chExt cx="8897649" cy="1186537"/>
            </a:xfrm>
          </p:grpSpPr>
          <p:sp>
            <p:nvSpPr>
              <p:cNvPr id="46" name="TextBox 34">
                <a:extLst>
                  <a:ext uri="{FF2B5EF4-FFF2-40B4-BE49-F238E27FC236}">
                    <a16:creationId xmlns:a16="http://schemas.microsoft.com/office/drawing/2014/main" id="{832DC709-D7D8-387A-D7B9-47A8214A66F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11886" y="3922811"/>
                <a:ext cx="2103090" cy="754053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600"/>
                  </a:spcBef>
                  <a:spcAft>
                    <a:spcPts val="0"/>
                  </a:spcAft>
                  <a:buClr>
                    <a:srgbClr val="000000"/>
                  </a:buClr>
                  <a:buNone/>
                  <a:defRPr/>
                </a:pPr>
                <a:r>
                  <a:rPr lang="en-US" sz="1600" b="1">
                    <a:solidFill>
                      <a:schemeClr val="accent1"/>
                    </a:solidFill>
                    <a:latin typeface="Aptos"/>
                    <a:cs typeface="Arial"/>
                  </a:rPr>
                  <a:t>Landing page</a:t>
                </a:r>
              </a:p>
              <a:p>
                <a:pPr>
                  <a:spcBef>
                    <a:spcPts val="60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r>
                  <a:rPr lang="en-US" sz="1400">
                    <a:solidFill>
                      <a:srgbClr val="000000"/>
                    </a:solidFill>
                    <a:latin typeface="Aptos"/>
                    <a:cs typeface="Arial"/>
                  </a:rPr>
                  <a:t>Simplified navigation with easy to find information</a:t>
                </a:r>
              </a:p>
            </p:txBody>
          </p:sp>
          <p:sp>
            <p:nvSpPr>
              <p:cNvPr id="47" name="TextBox 42">
                <a:extLst>
                  <a:ext uri="{FF2B5EF4-FFF2-40B4-BE49-F238E27FC236}">
                    <a16:creationId xmlns:a16="http://schemas.microsoft.com/office/drawing/2014/main" id="{266DFCA9-A17A-CB7D-20B4-1792F7E4417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871393" y="3922811"/>
                <a:ext cx="2103091" cy="100027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600"/>
                  </a:spcBef>
                  <a:defRPr/>
                </a:pPr>
                <a:r>
                  <a:rPr lang="en-US" sz="1600" b="1">
                    <a:solidFill>
                      <a:schemeClr val="accent1"/>
                    </a:solidFill>
                    <a:latin typeface="Aptos"/>
                    <a:cs typeface="Arial"/>
                  </a:rPr>
                  <a:t>Interactive guidance</a:t>
                </a:r>
                <a:endParaRPr kumimoji="0" lang="en-US" sz="1600" b="1" i="0" u="none" strike="noStrike" kern="1200" cap="none" spc="0" normalizeH="0" baseline="0" noProof="0" err="1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ptos" panose="020B0004020202020204" pitchFamily="34" charset="0"/>
                  <a:cs typeface="Arial"/>
                </a:endParaRPr>
              </a:p>
              <a:p>
                <a:pPr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defRPr/>
                </a:pPr>
                <a:r>
                  <a:rPr lang="en-US" sz="1400">
                    <a:solidFill>
                      <a:srgbClr val="000000"/>
                    </a:solidFill>
                    <a:latin typeface="Aptos"/>
                    <a:cs typeface="Arial"/>
                  </a:rPr>
                  <a:t>A map with interactive features to guide clients through their journey</a:t>
                </a:r>
              </a:p>
            </p:txBody>
          </p:sp>
          <p:sp>
            <p:nvSpPr>
              <p:cNvPr id="48" name="TextBox 48">
                <a:extLst>
                  <a:ext uri="{FF2B5EF4-FFF2-40B4-BE49-F238E27FC236}">
                    <a16:creationId xmlns:a16="http://schemas.microsoft.com/office/drawing/2014/main" id="{76C98FB0-E118-A8FC-BB3A-2E19D37FA83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130901" y="3921214"/>
                <a:ext cx="2097614" cy="100027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000000"/>
                  </a:buClr>
                  <a:buSzPct val="100000"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ptos" panose="020B0004020202020204" pitchFamily="34" charset="0"/>
                    <a:cs typeface="Arial"/>
                  </a:rPr>
                  <a:t>Personalized quiz</a:t>
                </a:r>
              </a:p>
              <a:p>
                <a:pPr>
                  <a:spcBef>
                    <a:spcPts val="60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r>
                  <a:rPr lang="en-US" sz="1400">
                    <a:solidFill>
                      <a:srgbClr val="000000"/>
                    </a:solidFill>
                    <a:latin typeface="Aptos"/>
                    <a:cs typeface="Arial"/>
                  </a:rPr>
                  <a:t>Unique checklist broken into curated tasks for clients to follow </a:t>
                </a:r>
              </a:p>
            </p:txBody>
          </p:sp>
          <p:sp>
            <p:nvSpPr>
              <p:cNvPr id="49" name="TextBox 54">
                <a:extLst>
                  <a:ext uri="{FF2B5EF4-FFF2-40B4-BE49-F238E27FC236}">
                    <a16:creationId xmlns:a16="http://schemas.microsoft.com/office/drawing/2014/main" id="{5E29BA18-3974-9E11-D684-160B95D6940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11921" y="3922811"/>
                <a:ext cx="2097614" cy="118494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000000"/>
                  </a:buClr>
                  <a:buSzPct val="100000"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ptos" panose="020B0004020202020204" pitchFamily="34" charset="0"/>
                    <a:cs typeface="Arial"/>
                  </a:rPr>
                  <a:t>Print &amp; share checklist</a:t>
                </a:r>
              </a:p>
              <a:p>
                <a:pPr>
                  <a:spcBef>
                    <a:spcPts val="60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r>
                  <a:rPr lang="en-US" sz="1400">
                    <a:solidFill>
                      <a:srgbClr val="000000"/>
                    </a:solidFill>
                    <a:latin typeface="Aptos"/>
                    <a:cs typeface="Arial"/>
                  </a:rPr>
                  <a:t>A new print dialog button will make it simpler for clients to access physical copies</a:t>
                </a:r>
              </a:p>
            </p:txBody>
          </p:sp>
        </p:grp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40E8718F-328F-F653-A96A-D6EB96E602FC}"/>
                </a:ext>
              </a:extLst>
            </p:cNvPr>
            <p:cNvSpPr/>
            <p:nvPr/>
          </p:nvSpPr>
          <p:spPr>
            <a:xfrm>
              <a:off x="206127" y="3411828"/>
              <a:ext cx="11225146" cy="311760"/>
            </a:xfrm>
            <a:prstGeom prst="roundRect">
              <a:avLst/>
            </a:prstGeom>
            <a:solidFill>
              <a:srgbClr val="A38CC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CA" b="1">
                  <a:latin typeface="Aptos"/>
                </a:rPr>
                <a:t>User experience</a:t>
              </a:r>
              <a:endParaRPr lang="en-CA" b="1">
                <a:latin typeface="Aptos" panose="020B0004020202020204" pitchFamily="34" charset="0"/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8BF89AC7-3CC7-4479-87E0-3B7046D12169}"/>
                </a:ext>
              </a:extLst>
            </p:cNvPr>
            <p:cNvGrpSpPr/>
            <p:nvPr/>
          </p:nvGrpSpPr>
          <p:grpSpPr>
            <a:xfrm>
              <a:off x="7006162" y="3803945"/>
              <a:ext cx="2160240" cy="114300"/>
              <a:chOff x="554736" y="3831072"/>
              <a:chExt cx="2160240" cy="114300"/>
            </a:xfrm>
          </p:grpSpPr>
          <p:cxnSp>
            <p:nvCxnSpPr>
              <p:cNvPr id="73" name="LineBasicStrong 19">
                <a:extLst>
                  <a:ext uri="{FF2B5EF4-FFF2-40B4-BE49-F238E27FC236}">
                    <a16:creationId xmlns:a16="http://schemas.microsoft.com/office/drawing/2014/main" id="{AE588709-E571-5DF2-3030-5912BBAFB0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1886" y="3895151"/>
                <a:ext cx="2103090" cy="0"/>
              </a:xfrm>
              <a:prstGeom prst="straightConnector1">
                <a:avLst/>
              </a:prstGeom>
              <a:ln w="28575" cap="flat">
                <a:solidFill>
                  <a:schemeClr val="accent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7DC563B4-3380-6D0C-B45C-0FDCF1AF18DB}"/>
                  </a:ext>
                </a:extLst>
              </p:cNvPr>
              <p:cNvSpPr>
                <a:spLocks/>
              </p:cNvSpPr>
              <p:nvPr/>
            </p:nvSpPr>
            <p:spPr>
              <a:xfrm rot="16200000" flipH="1">
                <a:off x="554736" y="3831072"/>
                <a:ext cx="114300" cy="1143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8" name="TextBox 54">
              <a:extLst>
                <a:ext uri="{FF2B5EF4-FFF2-40B4-BE49-F238E27FC236}">
                  <a16:creationId xmlns:a16="http://schemas.microsoft.com/office/drawing/2014/main" id="{C6B07CB1-CFB6-4787-42DD-27735AE9A3E8}"/>
                </a:ext>
              </a:extLst>
            </p:cNvPr>
            <p:cNvSpPr txBox="1">
              <a:spLocks/>
            </p:cNvSpPr>
            <p:nvPr/>
          </p:nvSpPr>
          <p:spPr>
            <a:xfrm>
              <a:off x="9317343" y="3986635"/>
              <a:ext cx="2113930" cy="118494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ptos" panose="020B0004020202020204" pitchFamily="34" charset="0"/>
                  <a:cs typeface="Arial"/>
                </a:rPr>
                <a:t>Curated links</a:t>
              </a:r>
            </a:p>
            <a:p>
              <a:pPr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400">
                  <a:solidFill>
                    <a:srgbClr val="000000"/>
                  </a:solidFill>
                  <a:latin typeface="Aptos"/>
                  <a:cs typeface="Arial"/>
                </a:rPr>
                <a:t>Embedded links throughout the Hub to guide clients to the most relevant pages</a:t>
              </a: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0DBD6666-F80A-91A9-BE40-6DE785126C68}"/>
                </a:ext>
              </a:extLst>
            </p:cNvPr>
            <p:cNvGrpSpPr/>
            <p:nvPr/>
          </p:nvGrpSpPr>
          <p:grpSpPr>
            <a:xfrm>
              <a:off x="206127" y="3803945"/>
              <a:ext cx="2160240" cy="114300"/>
              <a:chOff x="554736" y="3831072"/>
              <a:chExt cx="2160240" cy="114300"/>
            </a:xfrm>
          </p:grpSpPr>
          <p:cxnSp>
            <p:nvCxnSpPr>
              <p:cNvPr id="81" name="LineBasicStrong 19">
                <a:extLst>
                  <a:ext uri="{FF2B5EF4-FFF2-40B4-BE49-F238E27FC236}">
                    <a16:creationId xmlns:a16="http://schemas.microsoft.com/office/drawing/2014/main" id="{2F79CDA3-3FDD-EEC5-6440-5F095FA3FF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1886" y="3895151"/>
                <a:ext cx="2103090" cy="0"/>
              </a:xfrm>
              <a:prstGeom prst="straightConnector1">
                <a:avLst/>
              </a:prstGeom>
              <a:ln w="28575" cap="flat">
                <a:solidFill>
                  <a:schemeClr val="accent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16E48B86-CDC0-1279-B5BB-438343E3E04C}"/>
                  </a:ext>
                </a:extLst>
              </p:cNvPr>
              <p:cNvSpPr>
                <a:spLocks/>
              </p:cNvSpPr>
              <p:nvPr/>
            </p:nvSpPr>
            <p:spPr>
              <a:xfrm rot="16200000" flipH="1">
                <a:off x="554736" y="3831072"/>
                <a:ext cx="114300" cy="1143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4439C10C-2516-D4A6-66EC-FB6EE20B406D}"/>
                </a:ext>
              </a:extLst>
            </p:cNvPr>
            <p:cNvGrpSpPr/>
            <p:nvPr/>
          </p:nvGrpSpPr>
          <p:grpSpPr>
            <a:xfrm>
              <a:off x="2470998" y="3813382"/>
              <a:ext cx="2160240" cy="114300"/>
              <a:chOff x="554736" y="3831072"/>
              <a:chExt cx="2160240" cy="114300"/>
            </a:xfrm>
          </p:grpSpPr>
          <p:cxnSp>
            <p:nvCxnSpPr>
              <p:cNvPr id="84" name="LineBasicStrong 19">
                <a:extLst>
                  <a:ext uri="{FF2B5EF4-FFF2-40B4-BE49-F238E27FC236}">
                    <a16:creationId xmlns:a16="http://schemas.microsoft.com/office/drawing/2014/main" id="{A022144D-E2AA-01C8-E7F9-E19584392F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1886" y="3895151"/>
                <a:ext cx="2103090" cy="0"/>
              </a:xfrm>
              <a:prstGeom prst="straightConnector1">
                <a:avLst/>
              </a:prstGeom>
              <a:ln w="28575" cap="flat">
                <a:solidFill>
                  <a:schemeClr val="accent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9858CD02-78D4-DAFD-0EC6-93B5367D8E59}"/>
                  </a:ext>
                </a:extLst>
              </p:cNvPr>
              <p:cNvSpPr>
                <a:spLocks/>
              </p:cNvSpPr>
              <p:nvPr/>
            </p:nvSpPr>
            <p:spPr>
              <a:xfrm rot="16200000" flipH="1">
                <a:off x="554736" y="3831072"/>
                <a:ext cx="114300" cy="1143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F293CA40-F1B3-331B-0783-092DE2349979}"/>
                </a:ext>
              </a:extLst>
            </p:cNvPr>
            <p:cNvGrpSpPr/>
            <p:nvPr/>
          </p:nvGrpSpPr>
          <p:grpSpPr>
            <a:xfrm>
              <a:off x="4735869" y="3822563"/>
              <a:ext cx="2160240" cy="114300"/>
              <a:chOff x="554736" y="3831072"/>
              <a:chExt cx="2160240" cy="114300"/>
            </a:xfrm>
          </p:grpSpPr>
          <p:cxnSp>
            <p:nvCxnSpPr>
              <p:cNvPr id="87" name="LineBasicStrong 19">
                <a:extLst>
                  <a:ext uri="{FF2B5EF4-FFF2-40B4-BE49-F238E27FC236}">
                    <a16:creationId xmlns:a16="http://schemas.microsoft.com/office/drawing/2014/main" id="{8CCC7026-D59B-5DF7-7A77-3AEB8CFB2E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1886" y="3895151"/>
                <a:ext cx="2103090" cy="0"/>
              </a:xfrm>
              <a:prstGeom prst="straightConnector1">
                <a:avLst/>
              </a:prstGeom>
              <a:ln w="28575" cap="flat">
                <a:solidFill>
                  <a:schemeClr val="accent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40D1673F-4520-FA17-56C0-14F9923BEFBE}"/>
                  </a:ext>
                </a:extLst>
              </p:cNvPr>
              <p:cNvSpPr>
                <a:spLocks/>
              </p:cNvSpPr>
              <p:nvPr/>
            </p:nvSpPr>
            <p:spPr>
              <a:xfrm rot="16200000" flipH="1">
                <a:off x="554736" y="3831072"/>
                <a:ext cx="114300" cy="1143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A69F4F54-FD72-9990-0553-0B5C18A3814C}"/>
                </a:ext>
              </a:extLst>
            </p:cNvPr>
            <p:cNvGrpSpPr/>
            <p:nvPr/>
          </p:nvGrpSpPr>
          <p:grpSpPr>
            <a:xfrm>
              <a:off x="9271033" y="3803945"/>
              <a:ext cx="2160240" cy="114300"/>
              <a:chOff x="554736" y="3831072"/>
              <a:chExt cx="2160240" cy="114300"/>
            </a:xfrm>
          </p:grpSpPr>
          <p:cxnSp>
            <p:nvCxnSpPr>
              <p:cNvPr id="90" name="LineBasicStrong 19">
                <a:extLst>
                  <a:ext uri="{FF2B5EF4-FFF2-40B4-BE49-F238E27FC236}">
                    <a16:creationId xmlns:a16="http://schemas.microsoft.com/office/drawing/2014/main" id="{C353EF48-427B-EBEE-0573-8E725451C6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1886" y="3895151"/>
                <a:ext cx="2103090" cy="0"/>
              </a:xfrm>
              <a:prstGeom prst="straightConnector1">
                <a:avLst/>
              </a:prstGeom>
              <a:ln w="28575" cap="flat">
                <a:solidFill>
                  <a:schemeClr val="accent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2769CFA0-F40D-59E3-6659-228E4AC24BDD}"/>
                  </a:ext>
                </a:extLst>
              </p:cNvPr>
              <p:cNvSpPr>
                <a:spLocks/>
              </p:cNvSpPr>
              <p:nvPr/>
            </p:nvSpPr>
            <p:spPr>
              <a:xfrm rot="16200000" flipH="1">
                <a:off x="554736" y="3831072"/>
                <a:ext cx="114300" cy="1143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93" name="Picture 92" descr="A screenshot of a computer&#10;&#10;Description automatically generated">
            <a:extLst>
              <a:ext uri="{FF2B5EF4-FFF2-40B4-BE49-F238E27FC236}">
                <a16:creationId xmlns:a16="http://schemas.microsoft.com/office/drawing/2014/main" id="{AB8F61D0-E819-FDD0-96FE-F1C563F4F9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902" y="3080441"/>
            <a:ext cx="2195976" cy="198173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94" name="Picture 93" descr="A screenshot of a web page&#10;&#10;Description automatically generated">
            <a:extLst>
              <a:ext uri="{FF2B5EF4-FFF2-40B4-BE49-F238E27FC236}">
                <a16:creationId xmlns:a16="http://schemas.microsoft.com/office/drawing/2014/main" id="{3ACA60AC-A543-8DB3-1B63-0B29A93AD0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9036" y="3291085"/>
            <a:ext cx="2067080" cy="215442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95" name="Picture 94" descr="A screenshot of a checklist&#10;&#10;Description automatically generated">
            <a:extLst>
              <a:ext uri="{FF2B5EF4-FFF2-40B4-BE49-F238E27FC236}">
                <a16:creationId xmlns:a16="http://schemas.microsoft.com/office/drawing/2014/main" id="{43C710B1-D2C1-2961-97BD-C94362712E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2532" y="3290305"/>
            <a:ext cx="2113929" cy="251029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97" name="Picture 96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BFC896B5-149A-CCD3-F378-DE4DE395AB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70600" y="3480029"/>
            <a:ext cx="2113929" cy="2164260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ED86CBCD-405A-4D4B-E808-AF2A25F2FB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25346" y="3509134"/>
            <a:ext cx="2089427" cy="93303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615714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87C7CF6-AE78-6554-C069-FD4979F91F58}"/>
              </a:ext>
            </a:extLst>
          </p:cNvPr>
          <p:cNvSpPr txBox="1"/>
          <p:nvPr/>
        </p:nvSpPr>
        <p:spPr>
          <a:xfrm>
            <a:off x="1442435" y="346597"/>
            <a:ext cx="8800522" cy="130805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3200" b="1" dirty="0">
                <a:solidFill>
                  <a:schemeClr val="accent1"/>
                </a:solidFill>
                <a:latin typeface="Aptos"/>
                <a:cs typeface="Arial"/>
              </a:rPr>
              <a:t>Post Rollout</a:t>
            </a:r>
            <a:r>
              <a:rPr lang="en-US" sz="3200" b="1">
                <a:solidFill>
                  <a:schemeClr val="accent1"/>
                </a:solidFill>
                <a:latin typeface="Aptos"/>
                <a:cs typeface="Arial"/>
              </a:rPr>
              <a:t> Stabilization</a:t>
            </a:r>
            <a:endParaRPr lang="en-US" sz="3200" b="1" dirty="0">
              <a:solidFill>
                <a:schemeClr val="accent1"/>
              </a:solidFill>
              <a:latin typeface="Aptos"/>
              <a:cs typeface="Arial"/>
            </a:endParaRPr>
          </a:p>
          <a:p>
            <a:r>
              <a:rPr lang="en-US" sz="2000" dirty="0">
                <a:solidFill>
                  <a:schemeClr val="accent1"/>
                </a:solidFill>
                <a:latin typeface="Aptos"/>
                <a:ea typeface="+mn-lt"/>
                <a:cs typeface="+mn-lt"/>
              </a:rPr>
              <a:t>To maintain product while in production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2800" b="1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8C841F-D946-10FB-1407-08B204073BD3}"/>
              </a:ext>
            </a:extLst>
          </p:cNvPr>
          <p:cNvSpPr/>
          <p:nvPr/>
        </p:nvSpPr>
        <p:spPr>
          <a:xfrm>
            <a:off x="740229" y="4016828"/>
            <a:ext cx="2068285" cy="59871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 cap="sq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rgbClr val="975DA5"/>
                </a:solidFill>
                <a:cs typeface="Arial"/>
              </a:rPr>
              <a:t>Consistenc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8DE4D5-7C08-F5FF-C30B-80768CC782C5}"/>
              </a:ext>
            </a:extLst>
          </p:cNvPr>
          <p:cNvSpPr/>
          <p:nvPr/>
        </p:nvSpPr>
        <p:spPr>
          <a:xfrm>
            <a:off x="740229" y="4615542"/>
            <a:ext cx="2068285" cy="16219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tx1"/>
                </a:solidFill>
                <a:cs typeface="Arial"/>
              </a:rPr>
              <a:t>One Consistent Landing Page as home for the Hub. Key for maintaining client bookmarks to the Hub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C4CF2F4-64DA-7EF9-6B34-1395B3679D4B}"/>
              </a:ext>
            </a:extLst>
          </p:cNvPr>
          <p:cNvSpPr/>
          <p:nvPr/>
        </p:nvSpPr>
        <p:spPr>
          <a:xfrm>
            <a:off x="2841171" y="3428999"/>
            <a:ext cx="2068285" cy="59871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 cap="sq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rgbClr val="975DA5"/>
                </a:solidFill>
                <a:cs typeface="Arial"/>
              </a:rPr>
              <a:t>Correctness</a:t>
            </a:r>
            <a:endParaRPr lang="en-US" b="1">
              <a:solidFill>
                <a:srgbClr val="975DA5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149F19-1F27-FF47-D6C0-2F337BE775C2}"/>
              </a:ext>
            </a:extLst>
          </p:cNvPr>
          <p:cNvSpPr/>
          <p:nvPr/>
        </p:nvSpPr>
        <p:spPr>
          <a:xfrm>
            <a:off x="2838450" y="4027713"/>
            <a:ext cx="2068285" cy="22097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rgbClr val="000000"/>
                </a:solidFill>
                <a:cs typeface="Arial"/>
              </a:rPr>
              <a:t>GC Portfolio Web as only organization to make any edits, Corrections, or changes to the content based on direction received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446F65-B6BA-65A2-FEC5-9B9D3C46601A}"/>
              </a:ext>
            </a:extLst>
          </p:cNvPr>
          <p:cNvSpPr/>
          <p:nvPr/>
        </p:nvSpPr>
        <p:spPr>
          <a:xfrm>
            <a:off x="4931228" y="2830284"/>
            <a:ext cx="2068285" cy="59871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6350" cap="sq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chemeClr val="accent5"/>
                </a:solidFill>
                <a:cs typeface="Arial"/>
              </a:rPr>
              <a:t>Credibility</a:t>
            </a:r>
            <a:endParaRPr lang="en-US" b="1">
              <a:solidFill>
                <a:schemeClr val="accent5"/>
              </a:solidFill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86708B-38F5-D573-DAE6-1F9E4C8CCC42}"/>
              </a:ext>
            </a:extLst>
          </p:cNvPr>
          <p:cNvSpPr/>
          <p:nvPr/>
        </p:nvSpPr>
        <p:spPr>
          <a:xfrm>
            <a:off x="4936671" y="3428998"/>
            <a:ext cx="2068285" cy="279762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rgbClr val="000000"/>
                </a:solidFill>
                <a:cs typeface="Arial"/>
              </a:rPr>
              <a:t>Conduct routine checks of all links to ensure content has not moved or was dropped. Key to maintain Credibility with clients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D50AE0-5159-843D-77AF-D15BC8E4307A}"/>
              </a:ext>
            </a:extLst>
          </p:cNvPr>
          <p:cNvSpPr/>
          <p:nvPr/>
        </p:nvSpPr>
        <p:spPr>
          <a:xfrm>
            <a:off x="7021285" y="2198913"/>
            <a:ext cx="2068285" cy="59871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cap="sq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rgbClr val="975DA5"/>
                </a:solidFill>
                <a:cs typeface="Arial"/>
              </a:rPr>
              <a:t>Currency</a:t>
            </a:r>
            <a:endParaRPr lang="en-US" b="1">
              <a:solidFill>
                <a:srgbClr val="975DA5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004962-F6EB-FFD7-A789-3CEFBD219E39}"/>
              </a:ext>
            </a:extLst>
          </p:cNvPr>
          <p:cNvSpPr/>
          <p:nvPr/>
        </p:nvSpPr>
        <p:spPr>
          <a:xfrm>
            <a:off x="7034892" y="2797627"/>
            <a:ext cx="2057399" cy="34181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rgbClr val="000000"/>
                </a:solidFill>
                <a:cs typeface="Arial"/>
              </a:rPr>
              <a:t>As programs evolve, the content of this site and its embedded program links to reflect the changes to ensure Currency with the program information and links being provided to clients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008B96A-059B-3E06-1E02-EEB1ADD26545}"/>
              </a:ext>
            </a:extLst>
          </p:cNvPr>
          <p:cNvSpPr/>
          <p:nvPr/>
        </p:nvSpPr>
        <p:spPr>
          <a:xfrm>
            <a:off x="9100457" y="1578428"/>
            <a:ext cx="2068285" cy="59871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6350" cap="sq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1">
                <a:solidFill>
                  <a:srgbClr val="000000"/>
                </a:solidFill>
                <a:cs typeface="Arial"/>
              </a:rPr>
              <a:t>Collaboration</a:t>
            </a: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8992D3E-1F9E-4469-2C58-ED774AEB9587}"/>
              </a:ext>
            </a:extLst>
          </p:cNvPr>
          <p:cNvSpPr/>
          <p:nvPr/>
        </p:nvSpPr>
        <p:spPr>
          <a:xfrm>
            <a:off x="9122228" y="2188027"/>
            <a:ext cx="2046514" cy="402771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rgbClr val="000000"/>
                </a:solidFill>
                <a:cs typeface="Arial"/>
              </a:rPr>
              <a:t>When an OGD is identified as having relevant information or initiates a new program site related to the Hub's content, a Collaborative effort is made to include that OGD's information/links as part of the overall objective of providing clients with a single point to search for information.</a:t>
            </a:r>
          </a:p>
        </p:txBody>
      </p:sp>
      <p:pic>
        <p:nvPicPr>
          <p:cNvPr id="19" name="Picture 18" descr="A cloud with a lock&#10;&#10;Description automatically generated">
            <a:extLst>
              <a:ext uri="{FF2B5EF4-FFF2-40B4-BE49-F238E27FC236}">
                <a16:creationId xmlns:a16="http://schemas.microsoft.com/office/drawing/2014/main" id="{BCD1BB89-3ABC-A273-C250-4B5F5C8D6D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4413" y="1355272"/>
            <a:ext cx="1378404" cy="1077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3674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E0F270-42E2-F508-78C0-9D504D722FF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77956FF-E7B4-49D0-9902-94DC5F69C5C1}" type="slidenum">
              <a:rPr lang="en-CA" smtClean="0"/>
              <a:t>14</a:t>
            </a:fld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6805353-CCAB-C42D-306E-0C1436B0C0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9356" y="1692382"/>
            <a:ext cx="7673288" cy="882406"/>
          </a:xfrm>
        </p:spPr>
        <p:txBody>
          <a:bodyPr/>
          <a:lstStyle/>
          <a:p>
            <a:r>
              <a:rPr lang="en-CA"/>
              <a:t>Questions</a:t>
            </a:r>
          </a:p>
        </p:txBody>
      </p:sp>
      <p:pic>
        <p:nvPicPr>
          <p:cNvPr id="6" name="Picture 5" descr="A group of hands holding magnifying glass and question mark&#10;&#10;Description automatically generated">
            <a:extLst>
              <a:ext uri="{FF2B5EF4-FFF2-40B4-BE49-F238E27FC236}">
                <a16:creationId xmlns:a16="http://schemas.microsoft.com/office/drawing/2014/main" id="{3E6FAB4F-3647-8F05-74C7-E6AA2AB3A2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56" t="22175" r="5105" b="21824"/>
          <a:stretch/>
        </p:blipFill>
        <p:spPr>
          <a:xfrm>
            <a:off x="582833" y="3106838"/>
            <a:ext cx="11026334" cy="384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7548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80E103-4F45-C201-0239-B770500E086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3F618-7EE1-0849-8880-CB07A584216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A66E426-9C57-E411-0EF6-18B99098326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CA"/>
              <a:t>Topic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5E7F6F8-4B73-699F-FB9B-B97EDF1E235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60796" y="1067957"/>
            <a:ext cx="5790600" cy="5092787"/>
          </a:xfrm>
        </p:spPr>
        <p:txBody>
          <a:bodyPr lIns="91440" tIns="45720" rIns="91440" bIns="45720" anchor="t"/>
          <a:lstStyle/>
          <a:p>
            <a:pPr marL="285750" indent="-28575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altLang="en-US" sz="1600" dirty="0">
                <a:latin typeface="Aptos"/>
                <a:ea typeface="Segoe UI Historic"/>
                <a:cs typeface="Calibri"/>
              </a:rPr>
              <a:t>Where we started:</a:t>
            </a:r>
          </a:p>
          <a:p>
            <a:pPr marL="515620" lvl="1" indent="-28575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Courier New" panose="020B0604020202020204" pitchFamily="34" charset="0"/>
              <a:buChar char="o"/>
            </a:pPr>
            <a:r>
              <a:rPr lang="en-US" altLang="en-US" sz="1600" dirty="0">
                <a:latin typeface="Aptos"/>
                <a:ea typeface="Segoe UI Historic"/>
                <a:cs typeface="Calibri"/>
              </a:rPr>
              <a:t>Client and employee experience</a:t>
            </a:r>
          </a:p>
          <a:p>
            <a:pPr marL="515620" lvl="1" indent="-28575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Courier New" panose="020B0604020202020204" pitchFamily="34" charset="0"/>
              <a:buChar char="o"/>
            </a:pPr>
            <a:r>
              <a:rPr lang="en-US" altLang="en-US" sz="1600" dirty="0">
                <a:latin typeface="Aptos"/>
                <a:ea typeface="Segoe UI Historic"/>
                <a:cs typeface="Calibri"/>
              </a:rPr>
              <a:t>Baseline business statistics</a:t>
            </a: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altLang="en-US" sz="1600" dirty="0">
                <a:latin typeface="Aptos"/>
                <a:ea typeface="Segoe UI Historic"/>
                <a:cs typeface="+mn-cs"/>
              </a:rPr>
              <a:t>Design of Losing a Loved One (LLO) Journey Lab </a:t>
            </a:r>
            <a:endParaRPr lang="en-US" altLang="en-US" sz="1600" dirty="0">
              <a:latin typeface="Aptos"/>
              <a:ea typeface="Segoe UI Historic"/>
              <a:cs typeface="Calibri"/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latin typeface="Aptos"/>
                <a:ea typeface="Segoe UI Historic"/>
                <a:cs typeface="Calibri"/>
              </a:rPr>
              <a:t>Goals of LLO Journey Lab</a:t>
            </a: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latin typeface="Aptos"/>
                <a:ea typeface="Segoe UI Historic"/>
                <a:cs typeface="Calibri"/>
              </a:rPr>
              <a:t>LLO Journey Lab:  </a:t>
            </a:r>
            <a:endParaRPr lang="en-US" altLang="en-US" sz="1600" dirty="0">
              <a:latin typeface="Aptos"/>
              <a:cs typeface="Calibri"/>
            </a:endParaRPr>
          </a:p>
          <a:p>
            <a:pPr marL="515620" lvl="1" indent="-28575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Courier New" panose="020B0604020202020204" pitchFamily="34" charset="0"/>
              <a:buChar char="o"/>
            </a:pPr>
            <a:r>
              <a:rPr lang="en-US" altLang="en-US" sz="1600" dirty="0">
                <a:latin typeface="Aptos"/>
                <a:ea typeface="Segoe UI Historic"/>
                <a:cs typeface="Calibri"/>
              </a:rPr>
              <a:t>Milestones and work plan</a:t>
            </a:r>
            <a:endParaRPr lang="en-US" sz="1600" dirty="0">
              <a:ea typeface="Segoe UI Historic"/>
              <a:cs typeface="Arial" panose="020B0604020202020204" pitchFamily="34" charset="0"/>
            </a:endParaRPr>
          </a:p>
          <a:p>
            <a:pPr marL="515620" lvl="1" indent="-28575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Courier New" panose="020B0604020202020204" pitchFamily="34" charset="0"/>
              <a:buChar char="o"/>
            </a:pPr>
            <a:r>
              <a:rPr lang="en-US" altLang="en-US" sz="1600" dirty="0">
                <a:latin typeface="Aptos"/>
                <a:ea typeface="Segoe UI Historic"/>
                <a:cs typeface="Calibri"/>
              </a:rPr>
              <a:t>ZBD and MVP workshop results</a:t>
            </a: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latin typeface="Aptos"/>
                <a:ea typeface="Segoe UI Historic"/>
                <a:cs typeface="Calibri"/>
              </a:rPr>
              <a:t>Canada.ca information on "death" related information</a:t>
            </a: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latin typeface="Aptos"/>
                <a:ea typeface="Segoe UI Historic"/>
                <a:cs typeface="Calibri"/>
              </a:rPr>
              <a:t>LLO Journey Lab MVP</a:t>
            </a: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latin typeface="Aptos"/>
                <a:ea typeface="Segoe UI Historic"/>
                <a:cs typeface="Calibri"/>
              </a:rPr>
              <a:t>Demo</a:t>
            </a: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latin typeface="Aptos"/>
                <a:ea typeface="Segoe UI Historic"/>
                <a:cs typeface="Calibri"/>
              </a:rPr>
              <a:t>Stabilization</a:t>
            </a:r>
            <a:endParaRPr lang="en-US" altLang="en-US" sz="1600" dirty="0">
              <a:latin typeface="Aptos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89117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5D967D-4B2F-B90E-7A0E-851B31E6AEB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614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1">
            <a:extLst>
              <a:ext uri="{FF2B5EF4-FFF2-40B4-BE49-F238E27FC236}">
                <a16:creationId xmlns:a16="http://schemas.microsoft.com/office/drawing/2014/main" id="{C4C907EE-3FDB-963E-FDAE-5DDA46FAC56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C6B7DB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9BEA273-FCAC-1784-1C47-A45A0BB00EF8}"/>
              </a:ext>
            </a:extLst>
          </p:cNvPr>
          <p:cNvSpPr txBox="1">
            <a:spLocks/>
          </p:cNvSpPr>
          <p:nvPr/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AC3F618-7EE1-0849-8880-CB07A5842168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algn="r">
                <a:defRPr/>
              </a:pPr>
              <a:t>3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566ABCA-A80E-B1E4-519C-AEF5A2C87999}"/>
              </a:ext>
            </a:extLst>
          </p:cNvPr>
          <p:cNvSpPr txBox="1">
            <a:spLocks/>
          </p:cNvSpPr>
          <p:nvPr/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/>
              <a:t>Where we started</a:t>
            </a:r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F0514AD4-B04B-4E0E-CE77-751170314A06}"/>
              </a:ext>
            </a:extLst>
          </p:cNvPr>
          <p:cNvSpPr txBox="1">
            <a:spLocks/>
          </p:cNvSpPr>
          <p:nvPr/>
        </p:nvSpPr>
        <p:spPr>
          <a:xfrm>
            <a:off x="477677" y="1537512"/>
            <a:ext cx="11015663" cy="52962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600">
                <a:latin typeface="Aptos"/>
                <a:ea typeface="Segoe UI Historic"/>
                <a:cs typeface="Segoe UI"/>
              </a:rPr>
              <a:t>The following common pain point themes were identified via the Service Canada Client Experience 2020-2021 survey results and observations gathered from front-line staff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579D11F-6D73-DD6A-73E3-03706F77E198}"/>
              </a:ext>
            </a:extLst>
          </p:cNvPr>
          <p:cNvGrpSpPr/>
          <p:nvPr/>
        </p:nvGrpSpPr>
        <p:grpSpPr>
          <a:xfrm>
            <a:off x="486864" y="2230314"/>
            <a:ext cx="11218271" cy="3923566"/>
            <a:chOff x="451641" y="1604285"/>
            <a:chExt cx="11218271" cy="3923566"/>
          </a:xfrm>
        </p:grpSpPr>
        <p:sp>
          <p:nvSpPr>
            <p:cNvPr id="6" name="TextBox 9">
              <a:extLst>
                <a:ext uri="{FF2B5EF4-FFF2-40B4-BE49-F238E27FC236}">
                  <a16:creationId xmlns:a16="http://schemas.microsoft.com/office/drawing/2014/main" id="{6129FC1B-FCAE-FF58-D10F-CB6F52CE3437}"/>
                </a:ext>
              </a:extLst>
            </p:cNvPr>
            <p:cNvSpPr txBox="1"/>
            <p:nvPr/>
          </p:nvSpPr>
          <p:spPr>
            <a:xfrm>
              <a:off x="9581553" y="1604285"/>
              <a:ext cx="2088359" cy="3923566"/>
            </a:xfrm>
            <a:prstGeom prst="roundRect">
              <a:avLst/>
            </a:prstGeom>
            <a:gradFill>
              <a:gsLst>
                <a:gs pos="0">
                  <a:srgbClr val="DDEFF4"/>
                </a:gs>
                <a:gs pos="100000">
                  <a:srgbClr val="FEEDD2"/>
                </a:gs>
              </a:gsLst>
              <a:lin ang="5400000" scaled="1"/>
            </a:gradFill>
            <a:ln w="38100">
              <a:solidFill>
                <a:schemeClr val="bg1">
                  <a:lumMod val="65000"/>
                </a:schemeClr>
              </a:solidFill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>
                <a:latin typeface="Aptos" panose="020B0004020202020204" pitchFamily="34" charset="0"/>
              </a:endParaRPr>
            </a:p>
          </p:txBody>
        </p:sp>
        <p:sp>
          <p:nvSpPr>
            <p:cNvPr id="7" name="TextBox 11">
              <a:extLst>
                <a:ext uri="{FF2B5EF4-FFF2-40B4-BE49-F238E27FC236}">
                  <a16:creationId xmlns:a16="http://schemas.microsoft.com/office/drawing/2014/main" id="{438B4BF6-A9BE-4883-1EB9-EA648F03B03C}"/>
                </a:ext>
              </a:extLst>
            </p:cNvPr>
            <p:cNvSpPr txBox="1"/>
            <p:nvPr/>
          </p:nvSpPr>
          <p:spPr>
            <a:xfrm>
              <a:off x="7299075" y="1604285"/>
              <a:ext cx="2088359" cy="3923566"/>
            </a:xfrm>
            <a:prstGeom prst="roundRect">
              <a:avLst/>
            </a:prstGeom>
            <a:gradFill>
              <a:gsLst>
                <a:gs pos="0">
                  <a:srgbClr val="DDEFF4"/>
                </a:gs>
                <a:gs pos="100000">
                  <a:srgbClr val="FEEDD2"/>
                </a:gs>
              </a:gsLst>
              <a:lin ang="5400000" scaled="1"/>
            </a:gradFill>
            <a:ln w="38100">
              <a:solidFill>
                <a:schemeClr val="bg1">
                  <a:lumMod val="65000"/>
                </a:schemeClr>
              </a:solidFill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>
                <a:latin typeface="Aptos" panose="020B0004020202020204" pitchFamily="34" charset="0"/>
              </a:endParaRPr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AD91A16F-EBE0-5FE4-A225-0EA35C7ED976}"/>
                </a:ext>
              </a:extLst>
            </p:cNvPr>
            <p:cNvSpPr txBox="1"/>
            <p:nvPr/>
          </p:nvSpPr>
          <p:spPr>
            <a:xfrm>
              <a:off x="5016597" y="1604285"/>
              <a:ext cx="2088359" cy="3923566"/>
            </a:xfrm>
            <a:prstGeom prst="roundRect">
              <a:avLst/>
            </a:prstGeom>
            <a:gradFill>
              <a:gsLst>
                <a:gs pos="0">
                  <a:srgbClr val="DDEFF4"/>
                </a:gs>
                <a:gs pos="100000">
                  <a:srgbClr val="FEEDD2"/>
                </a:gs>
              </a:gsLst>
              <a:lin ang="5400000" scaled="1"/>
            </a:gradFill>
            <a:ln w="38100">
              <a:solidFill>
                <a:schemeClr val="bg1">
                  <a:lumMod val="65000"/>
                </a:schemeClr>
              </a:solidFill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>
                <a:latin typeface="Aptos" panose="020B0004020202020204" pitchFamily="34" charset="0"/>
              </a:endParaRPr>
            </a:p>
          </p:txBody>
        </p:sp>
        <p:sp>
          <p:nvSpPr>
            <p:cNvPr id="21" name="TextBox 15">
              <a:extLst>
                <a:ext uri="{FF2B5EF4-FFF2-40B4-BE49-F238E27FC236}">
                  <a16:creationId xmlns:a16="http://schemas.microsoft.com/office/drawing/2014/main" id="{A87412B7-50CE-E420-ADB5-18E0B90D7999}"/>
                </a:ext>
              </a:extLst>
            </p:cNvPr>
            <p:cNvSpPr txBox="1"/>
            <p:nvPr/>
          </p:nvSpPr>
          <p:spPr>
            <a:xfrm>
              <a:off x="2734119" y="1604285"/>
              <a:ext cx="2088359" cy="3923566"/>
            </a:xfrm>
            <a:prstGeom prst="roundRect">
              <a:avLst/>
            </a:prstGeom>
            <a:gradFill>
              <a:gsLst>
                <a:gs pos="0">
                  <a:srgbClr val="DDEFF4"/>
                </a:gs>
                <a:gs pos="100000">
                  <a:srgbClr val="FEEDD2"/>
                </a:gs>
              </a:gsLst>
              <a:lin ang="5400000" scaled="1"/>
            </a:gradFill>
            <a:ln w="38100">
              <a:solidFill>
                <a:schemeClr val="bg1">
                  <a:lumMod val="65000"/>
                </a:schemeClr>
              </a:solidFill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600">
                <a:latin typeface="Aptos" panose="020B0004020202020204" pitchFamily="34" charset="0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DDD68FA0-790D-E024-15A3-E31BBDFA1B94}"/>
                </a:ext>
              </a:extLst>
            </p:cNvPr>
            <p:cNvGrpSpPr/>
            <p:nvPr/>
          </p:nvGrpSpPr>
          <p:grpSpPr>
            <a:xfrm>
              <a:off x="5131745" y="1874954"/>
              <a:ext cx="1858062" cy="3418491"/>
              <a:chOff x="5131745" y="1874954"/>
              <a:chExt cx="1858062" cy="3418491"/>
            </a:xfrm>
          </p:grpSpPr>
          <p:sp>
            <p:nvSpPr>
              <p:cNvPr id="36" name="TextBox 22">
                <a:extLst>
                  <a:ext uri="{FF2B5EF4-FFF2-40B4-BE49-F238E27FC236}">
                    <a16:creationId xmlns:a16="http://schemas.microsoft.com/office/drawing/2014/main" id="{C79B4C9D-9CA9-6253-4EAC-31E734215DFD}"/>
                  </a:ext>
                </a:extLst>
              </p:cNvPr>
              <p:cNvSpPr txBox="1"/>
              <p:nvPr/>
            </p:nvSpPr>
            <p:spPr>
              <a:xfrm>
                <a:off x="5131745" y="2877399"/>
                <a:ext cx="1858062" cy="241604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en-CA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A5676"/>
                    </a:solidFill>
                    <a:effectLst/>
                    <a:uLnTx/>
                    <a:uFillTx/>
                    <a:latin typeface="Aptos" panose="020B0004020202020204" pitchFamily="34" charset="0"/>
                  </a:rPr>
                  <a:t>Service delivery limitations</a:t>
                </a:r>
              </a:p>
              <a:p>
                <a:pPr algn="ctr">
                  <a:buClr>
                    <a:srgbClr val="000000"/>
                  </a:buClr>
                  <a:defRPr/>
                </a:pPr>
                <a:r>
                  <a:rPr kumimoji="0" lang="en-CA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0B0004020202020204" pitchFamily="34" charset="0"/>
                    <a:cs typeface="Arial"/>
                  </a:rPr>
                  <a:t>Clients struggle to complete their tasks both across and within service delivery options (e.g., online, call centres, etc.)</a:t>
                </a:r>
                <a:r>
                  <a:rPr lang="en-CA" sz="1600">
                    <a:solidFill>
                      <a:srgbClr val="000000"/>
                    </a:solidFill>
                    <a:latin typeface="Aptos" panose="020B0004020202020204" pitchFamily="34" charset="0"/>
                    <a:cs typeface="Arial"/>
                  </a:rPr>
                  <a:t>.</a:t>
                </a:r>
                <a:endParaRPr kumimoji="0" lang="en-CA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</a:endParaRPr>
              </a:p>
            </p:txBody>
          </p:sp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C549009B-3175-CF65-FE7F-37C498EBA7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47865" y="1874954"/>
                <a:ext cx="877898" cy="882728"/>
              </a:xfrm>
              <a:prstGeom prst="rect">
                <a:avLst/>
              </a:prstGeom>
            </p:spPr>
          </p:pic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CF40FA1-4FCD-8BEF-94A7-FE7C77004D42}"/>
                </a:ext>
              </a:extLst>
            </p:cNvPr>
            <p:cNvGrpSpPr/>
            <p:nvPr/>
          </p:nvGrpSpPr>
          <p:grpSpPr>
            <a:xfrm>
              <a:off x="2853082" y="1910297"/>
              <a:ext cx="1850431" cy="3383148"/>
              <a:chOff x="2853082" y="1910297"/>
              <a:chExt cx="1850431" cy="3383148"/>
            </a:xfrm>
          </p:grpSpPr>
          <p:sp>
            <p:nvSpPr>
              <p:cNvPr id="34" name="TextBox 21">
                <a:extLst>
                  <a:ext uri="{FF2B5EF4-FFF2-40B4-BE49-F238E27FC236}">
                    <a16:creationId xmlns:a16="http://schemas.microsoft.com/office/drawing/2014/main" id="{6AF3851D-CA9B-F883-4FF5-2E4E15473507}"/>
                  </a:ext>
                </a:extLst>
              </p:cNvPr>
              <p:cNvSpPr txBox="1"/>
              <p:nvPr/>
            </p:nvSpPr>
            <p:spPr>
              <a:xfrm>
                <a:off x="2853082" y="2877399"/>
                <a:ext cx="1850431" cy="241604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en-CA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A5676"/>
                    </a:solidFill>
                    <a:effectLst/>
                    <a:uLnTx/>
                    <a:uFillTx/>
                    <a:latin typeface="Aptos" panose="020B0004020202020204" pitchFamily="34" charset="0"/>
                  </a:rPr>
                  <a:t>No single source of truth</a:t>
                </a:r>
              </a:p>
              <a:p>
                <a:pPr algn="ctr">
                  <a:buClr>
                    <a:srgbClr val="000000"/>
                  </a:buClr>
                  <a:defRPr/>
                </a:pPr>
                <a:r>
                  <a:rPr kumimoji="0" lang="en-CA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0B0004020202020204" pitchFamily="34" charset="0"/>
                    <a:cs typeface="Arial"/>
                  </a:rPr>
                  <a:t>The burden often falls on clients to make sense of incomplete and inaccurate information from many sources</a:t>
                </a:r>
                <a:r>
                  <a:rPr lang="en-CA" sz="1600">
                    <a:solidFill>
                      <a:srgbClr val="000000"/>
                    </a:solidFill>
                    <a:latin typeface="Aptos" panose="020B0004020202020204" pitchFamily="34" charset="0"/>
                    <a:cs typeface="Arial"/>
                  </a:rPr>
                  <a:t>.</a:t>
                </a:r>
                <a:endParaRPr kumimoji="0" lang="en-CA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</a:endParaRPr>
              </a:p>
            </p:txBody>
          </p: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4ABF3E54-3AB4-F912-C48C-C8E29D4052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35937" y="1910297"/>
                <a:ext cx="930709" cy="935830"/>
              </a:xfrm>
              <a:prstGeom prst="rect">
                <a:avLst/>
              </a:prstGeom>
            </p:spPr>
          </p:pic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A2CC252-1A37-EF75-8EF7-9542589632A2}"/>
                </a:ext>
              </a:extLst>
            </p:cNvPr>
            <p:cNvGrpSpPr/>
            <p:nvPr/>
          </p:nvGrpSpPr>
          <p:grpSpPr>
            <a:xfrm>
              <a:off x="451641" y="1604285"/>
              <a:ext cx="2088359" cy="3923566"/>
              <a:chOff x="451641" y="1604285"/>
              <a:chExt cx="2088359" cy="3923566"/>
            </a:xfrm>
          </p:grpSpPr>
          <p:sp>
            <p:nvSpPr>
              <p:cNvPr id="31" name="TextBox 18">
                <a:extLst>
                  <a:ext uri="{FF2B5EF4-FFF2-40B4-BE49-F238E27FC236}">
                    <a16:creationId xmlns:a16="http://schemas.microsoft.com/office/drawing/2014/main" id="{9FCB5359-4AB7-83FE-2AE5-FEB9CE9D1063}"/>
                  </a:ext>
                </a:extLst>
              </p:cNvPr>
              <p:cNvSpPr txBox="1"/>
              <p:nvPr/>
            </p:nvSpPr>
            <p:spPr>
              <a:xfrm>
                <a:off x="451641" y="1604285"/>
                <a:ext cx="2088359" cy="3923566"/>
              </a:xfrm>
              <a:prstGeom prst="roundRect">
                <a:avLst/>
              </a:prstGeom>
              <a:gradFill flip="none" rotWithShape="1">
                <a:gsLst>
                  <a:gs pos="0">
                    <a:srgbClr val="DDEFF4"/>
                  </a:gs>
                  <a:gs pos="100000">
                    <a:srgbClr val="FEEDD2"/>
                  </a:gs>
                </a:gsLst>
                <a:lin ang="5400000" scaled="1"/>
                <a:tileRect/>
              </a:gradFill>
              <a:ln w="38100">
                <a:solidFill>
                  <a:schemeClr val="bg1">
                    <a:lumMod val="65000"/>
                  </a:schemeClr>
                </a:solidFill>
              </a:ln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600">
                  <a:latin typeface="Aptos" panose="020B0004020202020204" pitchFamily="34" charset="0"/>
                </a:endParaRPr>
              </a:p>
            </p:txBody>
          </p:sp>
          <p:sp>
            <p:nvSpPr>
              <p:cNvPr id="32" name="TextBox 20">
                <a:extLst>
                  <a:ext uri="{FF2B5EF4-FFF2-40B4-BE49-F238E27FC236}">
                    <a16:creationId xmlns:a16="http://schemas.microsoft.com/office/drawing/2014/main" id="{709C602F-F16F-B6BD-D328-FA46E5B5B18A}"/>
                  </a:ext>
                </a:extLst>
              </p:cNvPr>
              <p:cNvSpPr txBox="1"/>
              <p:nvPr/>
            </p:nvSpPr>
            <p:spPr>
              <a:xfrm>
                <a:off x="564816" y="2877399"/>
                <a:ext cx="1850431" cy="192360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en-CA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A5676"/>
                    </a:solidFill>
                    <a:effectLst/>
                    <a:uLnTx/>
                    <a:uFillTx/>
                    <a:latin typeface="Aptos"/>
                  </a:rPr>
                  <a:t>Worries start early</a:t>
                </a:r>
                <a:endParaRPr lang="en-CA">
                  <a:latin typeface="Apto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lang="en-CA" sz="1600">
                    <a:latin typeface="Aptos"/>
                  </a:rPr>
                  <a:t>Many clients begin feeling concerned well before government officials connect with them.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0AB55314-9782-601E-11D0-F535BBD569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53087" y="2029891"/>
                <a:ext cx="673891" cy="654943"/>
              </a:xfrm>
              <a:prstGeom prst="rect">
                <a:avLst/>
              </a:prstGeom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17DC1D70-B3EF-A251-42BD-46EA984E9D20}"/>
                </a:ext>
              </a:extLst>
            </p:cNvPr>
            <p:cNvGrpSpPr/>
            <p:nvPr/>
          </p:nvGrpSpPr>
          <p:grpSpPr>
            <a:xfrm>
              <a:off x="7402187" y="1889291"/>
              <a:ext cx="1882133" cy="3219488"/>
              <a:chOff x="7402187" y="1889291"/>
              <a:chExt cx="1882133" cy="3219488"/>
            </a:xfrm>
          </p:grpSpPr>
          <p:sp>
            <p:nvSpPr>
              <p:cNvPr id="29" name="TextBox 23">
                <a:extLst>
                  <a:ext uri="{FF2B5EF4-FFF2-40B4-BE49-F238E27FC236}">
                    <a16:creationId xmlns:a16="http://schemas.microsoft.com/office/drawing/2014/main" id="{B4C779F0-1C27-2467-5CF4-0BB79E643AF2}"/>
                  </a:ext>
                </a:extLst>
              </p:cNvPr>
              <p:cNvSpPr txBox="1"/>
              <p:nvPr/>
            </p:nvSpPr>
            <p:spPr>
              <a:xfrm>
                <a:off x="7402187" y="2877399"/>
                <a:ext cx="1882133" cy="223138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en-CA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A5676"/>
                    </a:solidFill>
                    <a:effectLst/>
                    <a:uLnTx/>
                    <a:uFillTx/>
                    <a:latin typeface="Aptos" panose="020B0004020202020204" pitchFamily="34" charset="0"/>
                  </a:rPr>
                  <a:t>Applications can be overwhelming</a:t>
                </a:r>
              </a:p>
              <a:p>
                <a:pPr algn="ctr">
                  <a:buClr>
                    <a:srgbClr val="000000"/>
                  </a:buClr>
                  <a:defRPr/>
                </a:pPr>
                <a:r>
                  <a:rPr kumimoji="0" lang="en-CA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 panose="020B0004020202020204" pitchFamily="34" charset="0"/>
                    <a:cs typeface="Arial"/>
                  </a:rPr>
                  <a:t>Clients encounter barriers both with understanding applications and the information required</a:t>
                </a:r>
                <a:r>
                  <a:rPr lang="en-CA" sz="1600">
                    <a:solidFill>
                      <a:srgbClr val="000000"/>
                    </a:solidFill>
                    <a:latin typeface="Aptos" panose="020B0004020202020204" pitchFamily="34" charset="0"/>
                    <a:cs typeface="Arial"/>
                  </a:rPr>
                  <a:t>.</a:t>
                </a:r>
                <a:endParaRPr kumimoji="0" lang="en-CA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 panose="020B0004020202020204" pitchFamily="34" charset="0"/>
                </a:endParaRP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7A6E9DFA-1A4A-BC0F-F987-83B3F0CF0F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993931" y="1889291"/>
                <a:ext cx="722034" cy="868391"/>
              </a:xfrm>
              <a:prstGeom prst="rect">
                <a:avLst/>
              </a:prstGeom>
            </p:spPr>
          </p:pic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84F60D0-5D31-3E24-C057-01F9DF680EF4}"/>
                </a:ext>
              </a:extLst>
            </p:cNvPr>
            <p:cNvGrpSpPr/>
            <p:nvPr/>
          </p:nvGrpSpPr>
          <p:grpSpPr>
            <a:xfrm>
              <a:off x="9710176" y="1834427"/>
              <a:ext cx="1831112" cy="3212797"/>
              <a:chOff x="9710176" y="1834427"/>
              <a:chExt cx="1831112" cy="3212797"/>
            </a:xfrm>
          </p:grpSpPr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67570A3F-538A-2B12-885F-9878733C3D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183589" y="1834427"/>
                <a:ext cx="884286" cy="963781"/>
              </a:xfrm>
              <a:prstGeom prst="rect">
                <a:avLst/>
              </a:prstGeom>
            </p:spPr>
          </p:pic>
          <p:sp>
            <p:nvSpPr>
              <p:cNvPr id="28" name="TextBox 10">
                <a:extLst>
                  <a:ext uri="{FF2B5EF4-FFF2-40B4-BE49-F238E27FC236}">
                    <a16:creationId xmlns:a16="http://schemas.microsoft.com/office/drawing/2014/main" id="{04FD95B5-88A0-9C6A-0EF5-91E6B29ADDB4}"/>
                  </a:ext>
                </a:extLst>
              </p:cNvPr>
              <p:cNvSpPr txBox="1"/>
              <p:nvPr/>
            </p:nvSpPr>
            <p:spPr>
              <a:xfrm>
                <a:off x="9710176" y="2877399"/>
                <a:ext cx="1831112" cy="216982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en-CA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A5676"/>
                    </a:solidFill>
                    <a:effectLst/>
                    <a:uLnTx/>
                    <a:uFillTx/>
                    <a:latin typeface="Aptos"/>
                    <a:cs typeface="Arial"/>
                  </a:rPr>
                  <a:t>No </a:t>
                </a:r>
                <a:r>
                  <a:rPr lang="en-CA" sz="2000" b="1">
                    <a:solidFill>
                      <a:srgbClr val="1A5676"/>
                    </a:solidFill>
                    <a:latin typeface="Aptos"/>
                    <a:cs typeface="Arial"/>
                  </a:rPr>
                  <a:t>news</a:t>
                </a:r>
                <a:r>
                  <a:rPr kumimoji="0" lang="en-CA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1A5676"/>
                    </a:solidFill>
                    <a:effectLst/>
                    <a:uLnTx/>
                    <a:uFillTx/>
                    <a:latin typeface="Aptos"/>
                    <a:cs typeface="Arial"/>
                  </a:rPr>
                  <a:t> is bad news</a:t>
                </a:r>
              </a:p>
              <a:p>
                <a:pPr algn="ctr">
                  <a:buClr>
                    <a:srgbClr val="000000"/>
                  </a:buClr>
                  <a:defRPr/>
                </a:pPr>
                <a:r>
                  <a:rPr kumimoji="0" lang="en-CA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/>
                    <a:cs typeface="Arial"/>
                  </a:rPr>
                  <a:t>Lack of meaningful updates drives both anxious responses and late detection of moments needing action.</a:t>
                </a:r>
                <a:endParaRPr kumimoji="0" lang="en-CA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</a:endParaRPr>
              </a:p>
            </p:txBody>
          </p:sp>
        </p:grpSp>
      </p:grpSp>
      <p:sp>
        <p:nvSpPr>
          <p:cNvPr id="38" name="Title 10">
            <a:extLst>
              <a:ext uri="{FF2B5EF4-FFF2-40B4-BE49-F238E27FC236}">
                <a16:creationId xmlns:a16="http://schemas.microsoft.com/office/drawing/2014/main" id="{B68F84EB-B9C4-D839-877E-84C04D52AFC1}"/>
              </a:ext>
            </a:extLst>
          </p:cNvPr>
          <p:cNvSpPr txBox="1">
            <a:spLocks/>
          </p:cNvSpPr>
          <p:nvPr/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i="0" kern="1200">
                <a:solidFill>
                  <a:srgbClr val="175676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ent and employee experienc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063049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5D967D-4B2F-B90E-7A0E-851B31E6AEB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614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1">
            <a:extLst>
              <a:ext uri="{FF2B5EF4-FFF2-40B4-BE49-F238E27FC236}">
                <a16:creationId xmlns:a16="http://schemas.microsoft.com/office/drawing/2014/main" id="{C4C907EE-3FDB-963E-FDAE-5DDA46FAC56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C6B7DB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9BEA273-FCAC-1784-1C47-A45A0BB00EF8}"/>
              </a:ext>
            </a:extLst>
          </p:cNvPr>
          <p:cNvSpPr txBox="1">
            <a:spLocks/>
          </p:cNvSpPr>
          <p:nvPr/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AC3F618-7EE1-0849-8880-CB07A5842168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algn="r">
                <a:defRPr/>
              </a:pPr>
              <a:t>4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566ABCA-A80E-B1E4-519C-AEF5A2C87999}"/>
              </a:ext>
            </a:extLst>
          </p:cNvPr>
          <p:cNvSpPr txBox="1">
            <a:spLocks/>
          </p:cNvSpPr>
          <p:nvPr/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Where we started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E6E2CD5A-FED3-0A04-1C76-E9B73D59F422}"/>
              </a:ext>
            </a:extLst>
          </p:cNvPr>
          <p:cNvSpPr txBox="1">
            <a:spLocks/>
          </p:cNvSpPr>
          <p:nvPr/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i="0" kern="1200">
                <a:solidFill>
                  <a:srgbClr val="175676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Baseline business statistics</a:t>
            </a:r>
            <a:endParaRPr lang="en-CA"/>
          </a:p>
        </p:txBody>
      </p:sp>
      <p:sp>
        <p:nvSpPr>
          <p:cNvPr id="5" name="Subtitle 28">
            <a:extLst>
              <a:ext uri="{FF2B5EF4-FFF2-40B4-BE49-F238E27FC236}">
                <a16:creationId xmlns:a16="http://schemas.microsoft.com/office/drawing/2014/main" id="{2FE30139-58EC-AA02-0FAD-E728A2ABF72D}"/>
              </a:ext>
            </a:extLst>
          </p:cNvPr>
          <p:cNvSpPr txBox="1">
            <a:spLocks/>
          </p:cNvSpPr>
          <p:nvPr/>
        </p:nvSpPr>
        <p:spPr>
          <a:xfrm>
            <a:off x="503168" y="6306537"/>
            <a:ext cx="7006437" cy="276999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egoe UI" panose="020B0502040204020203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egoe UI" panose="020B0502040204020203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egoe UI" panose="020B0502040204020203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egoe UI" panose="020B0502040204020203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egoe UI" panose="020B0502040204020203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CA" sz="1200" b="1">
                <a:latin typeface="Aptos"/>
              </a:rPr>
              <a:t>Note: </a:t>
            </a:r>
            <a:r>
              <a:rPr lang="en-CA" sz="1200">
                <a:latin typeface="Aptos"/>
              </a:rPr>
              <a:t>Baseline operational insights were gathered from program input as baseline data is limited.</a:t>
            </a:r>
            <a:endParaRPr lang="en-CA" sz="1200">
              <a:latin typeface="Aptos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34106E-E2F3-819F-A3AF-7D8250704FF3}"/>
              </a:ext>
            </a:extLst>
          </p:cNvPr>
          <p:cNvSpPr txBox="1"/>
          <p:nvPr/>
        </p:nvSpPr>
        <p:spPr>
          <a:xfrm>
            <a:off x="1700143" y="1493506"/>
            <a:ext cx="3735555" cy="175432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</a:rPr>
              <a:t>Call Centres annually </a:t>
            </a: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</a:rPr>
              <a:t>receive upwards of </a:t>
            </a:r>
            <a:r>
              <a:rPr lang="en-CA" sz="1400" b="1" dirty="0">
                <a:solidFill>
                  <a:srgbClr val="000000"/>
                </a:solidFill>
                <a:latin typeface="Aptos"/>
              </a:rPr>
              <a:t>300,000</a:t>
            </a: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</a:rPr>
              <a:t> calls for death-related requests or benefits</a:t>
            </a: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</a:rPr>
              <a:t>.</a:t>
            </a:r>
            <a:r>
              <a:rPr lang="en-CA" sz="1400" dirty="0">
                <a:solidFill>
                  <a:srgbClr val="000000"/>
                </a:solidFill>
                <a:latin typeface="Aptos"/>
              </a:rPr>
              <a:t> </a:t>
            </a:r>
            <a:endParaRPr lang="en-CA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</a:endParaRPr>
          </a:p>
          <a:p>
            <a:pPr>
              <a:spcAft>
                <a:spcPts val="600"/>
              </a:spcAft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</a:rPr>
              <a:t>Average </a:t>
            </a: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</a:rPr>
              <a:t>handle time is approximately 14 minutes.</a:t>
            </a:r>
            <a:r>
              <a:rPr lang="en-CA" sz="1400" dirty="0">
                <a:solidFill>
                  <a:srgbClr val="000000"/>
                </a:solidFill>
                <a:latin typeface="Aptos"/>
              </a:rPr>
              <a:t> </a:t>
            </a:r>
            <a:endParaRPr lang="en-CA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</a:rPr>
              <a:t>Notice of Death calls are </a:t>
            </a: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</a:rPr>
              <a:t>generally 1 to 2 minutes longer than the average in duration.</a:t>
            </a:r>
            <a:endParaRPr lang="en-CA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EF4C079-B60A-2D0E-3C9E-3FF03DF88C2C}"/>
              </a:ext>
            </a:extLst>
          </p:cNvPr>
          <p:cNvGrpSpPr/>
          <p:nvPr/>
        </p:nvGrpSpPr>
        <p:grpSpPr>
          <a:xfrm>
            <a:off x="608611" y="1493730"/>
            <a:ext cx="968711" cy="991801"/>
            <a:chOff x="2446315" y="2425933"/>
            <a:chExt cx="567848" cy="567848"/>
          </a:xfrm>
        </p:grpSpPr>
        <p:sp>
          <p:nvSpPr>
            <p:cNvPr id="13" name="Google Shape;27925;p1791">
              <a:extLst>
                <a:ext uri="{FF2B5EF4-FFF2-40B4-BE49-F238E27FC236}">
                  <a16:creationId xmlns:a16="http://schemas.microsoft.com/office/drawing/2014/main" id="{86F91CD4-F59C-E658-6B92-4C0BB1CB627B}"/>
                </a:ext>
              </a:extLst>
            </p:cNvPr>
            <p:cNvSpPr/>
            <p:nvPr/>
          </p:nvSpPr>
          <p:spPr>
            <a:xfrm>
              <a:off x="2446315" y="2425933"/>
              <a:ext cx="567848" cy="567848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solidFill>
                <a:srgbClr val="0098DC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Tx/>
                <a:buNone/>
                <a:tabLst/>
                <a:defRPr/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 Nova Cond" panose="020B050602020202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Freeform 83">
              <a:extLst>
                <a:ext uri="{FF2B5EF4-FFF2-40B4-BE49-F238E27FC236}">
                  <a16:creationId xmlns:a16="http://schemas.microsoft.com/office/drawing/2014/main" id="{19B8614F-7BD8-B51E-3C55-993A295828BA}"/>
                </a:ext>
              </a:extLst>
            </p:cNvPr>
            <p:cNvSpPr/>
            <p:nvPr/>
          </p:nvSpPr>
          <p:spPr>
            <a:xfrm>
              <a:off x="2576783" y="2553764"/>
              <a:ext cx="306910" cy="323924"/>
            </a:xfrm>
            <a:custGeom>
              <a:avLst/>
              <a:gdLst>
                <a:gd name="connsiteX0" fmla="*/ 1880087 w 2423441"/>
                <a:gd name="connsiteY0" fmla="*/ 1778374 h 2557780"/>
                <a:gd name="connsiteX1" fmla="*/ 1684293 w 2423441"/>
                <a:gd name="connsiteY1" fmla="*/ 1865569 h 2557780"/>
                <a:gd name="connsiteX2" fmla="*/ 1619636 w 2423441"/>
                <a:gd name="connsiteY2" fmla="*/ 2108036 h 2557780"/>
                <a:gd name="connsiteX3" fmla="*/ 1862103 w 2423441"/>
                <a:gd name="connsiteY3" fmla="*/ 2043379 h 2557780"/>
                <a:gd name="connsiteX4" fmla="*/ 1926760 w 2423441"/>
                <a:gd name="connsiteY4" fmla="*/ 1800912 h 2557780"/>
                <a:gd name="connsiteX5" fmla="*/ 1880087 w 2423441"/>
                <a:gd name="connsiteY5" fmla="*/ 1778374 h 2557780"/>
                <a:gd name="connsiteX6" fmla="*/ 519903 w 2423441"/>
                <a:gd name="connsiteY6" fmla="*/ 220076 h 2557780"/>
                <a:gd name="connsiteX7" fmla="*/ 357145 w 2423441"/>
                <a:gd name="connsiteY7" fmla="*/ 376492 h 2557780"/>
                <a:gd name="connsiteX8" fmla="*/ 273438 w 2423441"/>
                <a:gd name="connsiteY8" fmla="*/ 614198 h 2557780"/>
                <a:gd name="connsiteX9" fmla="*/ 515905 w 2423441"/>
                <a:gd name="connsiteY9" fmla="*/ 549540 h 2557780"/>
                <a:gd name="connsiteX10" fmla="*/ 549607 w 2423441"/>
                <a:gd name="connsiteY10" fmla="*/ 230873 h 2557780"/>
                <a:gd name="connsiteX11" fmla="*/ 519903 w 2423441"/>
                <a:gd name="connsiteY11" fmla="*/ 220076 h 2557780"/>
                <a:gd name="connsiteX12" fmla="*/ 541752 w 2423441"/>
                <a:gd name="connsiteY12" fmla="*/ 299 h 2557780"/>
                <a:gd name="connsiteX13" fmla="*/ 947249 w 2423441"/>
                <a:gd name="connsiteY13" fmla="*/ 790292 h 2557780"/>
                <a:gd name="connsiteX14" fmla="*/ 669214 w 2423441"/>
                <a:gd name="connsiteY14" fmla="*/ 1129121 h 2557780"/>
                <a:gd name="connsiteX15" fmla="*/ 1364278 w 2423441"/>
                <a:gd name="connsiteY15" fmla="*/ 1893688 h 2557780"/>
                <a:gd name="connsiteX16" fmla="*/ 1708697 w 2423441"/>
                <a:gd name="connsiteY16" fmla="*/ 1643834 h 2557780"/>
                <a:gd name="connsiteX17" fmla="*/ 2403758 w 2423441"/>
                <a:gd name="connsiteY17" fmla="*/ 2181925 h 2557780"/>
                <a:gd name="connsiteX18" fmla="*/ 406036 w 2423441"/>
                <a:gd name="connsiteY18" fmla="*/ 36503 h 2557780"/>
                <a:gd name="connsiteX19" fmla="*/ 541752 w 2423441"/>
                <a:gd name="connsiteY19" fmla="*/ 299 h 2557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423441" h="2557780">
                  <a:moveTo>
                    <a:pt x="1880087" y="1778374"/>
                  </a:moveTo>
                  <a:cubicBezTo>
                    <a:pt x="1824866" y="1769776"/>
                    <a:pt x="1747901" y="1801962"/>
                    <a:pt x="1684293" y="1865569"/>
                  </a:cubicBezTo>
                  <a:cubicBezTo>
                    <a:pt x="1599483" y="1950380"/>
                    <a:pt x="1570535" y="2058936"/>
                    <a:pt x="1619636" y="2108036"/>
                  </a:cubicBezTo>
                  <a:cubicBezTo>
                    <a:pt x="1668736" y="2157137"/>
                    <a:pt x="1777292" y="2128189"/>
                    <a:pt x="1862103" y="2043379"/>
                  </a:cubicBezTo>
                  <a:cubicBezTo>
                    <a:pt x="1946913" y="1958568"/>
                    <a:pt x="1975861" y="1850012"/>
                    <a:pt x="1926760" y="1800912"/>
                  </a:cubicBezTo>
                  <a:cubicBezTo>
                    <a:pt x="1914485" y="1788637"/>
                    <a:pt x="1898494" y="1781240"/>
                    <a:pt x="1880087" y="1778374"/>
                  </a:cubicBezTo>
                  <a:close/>
                  <a:moveTo>
                    <a:pt x="519903" y="220076"/>
                  </a:moveTo>
                  <a:cubicBezTo>
                    <a:pt x="452376" y="212537"/>
                    <a:pt x="397420" y="320591"/>
                    <a:pt x="357145" y="376492"/>
                  </a:cubicBezTo>
                  <a:cubicBezTo>
                    <a:pt x="311116" y="440379"/>
                    <a:pt x="246978" y="585356"/>
                    <a:pt x="273438" y="614198"/>
                  </a:cubicBezTo>
                  <a:cubicBezTo>
                    <a:pt x="299898" y="643039"/>
                    <a:pt x="431095" y="634350"/>
                    <a:pt x="515905" y="549540"/>
                  </a:cubicBezTo>
                  <a:cubicBezTo>
                    <a:pt x="600715" y="464730"/>
                    <a:pt x="630837" y="281145"/>
                    <a:pt x="549607" y="230873"/>
                  </a:cubicBezTo>
                  <a:cubicBezTo>
                    <a:pt x="539453" y="224589"/>
                    <a:pt x="529550" y="221153"/>
                    <a:pt x="519903" y="220076"/>
                  </a:cubicBezTo>
                  <a:close/>
                  <a:moveTo>
                    <a:pt x="541752" y="299"/>
                  </a:moveTo>
                  <a:cubicBezTo>
                    <a:pt x="852640" y="16397"/>
                    <a:pt x="1106154" y="679402"/>
                    <a:pt x="947249" y="790292"/>
                  </a:cubicBezTo>
                  <a:cubicBezTo>
                    <a:pt x="744945" y="997015"/>
                    <a:pt x="666321" y="1023420"/>
                    <a:pt x="669214" y="1129121"/>
                  </a:cubicBezTo>
                  <a:cubicBezTo>
                    <a:pt x="706860" y="1434652"/>
                    <a:pt x="1196825" y="1858588"/>
                    <a:pt x="1364278" y="1893688"/>
                  </a:cubicBezTo>
                  <a:cubicBezTo>
                    <a:pt x="1493906" y="1920859"/>
                    <a:pt x="1560070" y="1805764"/>
                    <a:pt x="1708697" y="1643834"/>
                  </a:cubicBezTo>
                  <a:cubicBezTo>
                    <a:pt x="1879568" y="1440917"/>
                    <a:pt x="2545663" y="2011250"/>
                    <a:pt x="2403758" y="2181925"/>
                  </a:cubicBezTo>
                  <a:cubicBezTo>
                    <a:pt x="1390319" y="3525904"/>
                    <a:pt x="-935041" y="899342"/>
                    <a:pt x="406036" y="36503"/>
                  </a:cubicBezTo>
                  <a:cubicBezTo>
                    <a:pt x="451755" y="8902"/>
                    <a:pt x="497339" y="-2001"/>
                    <a:pt x="541752" y="299"/>
                  </a:cubicBez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8B6EBED6-F45D-8AB9-DC9B-D3B2689BFEE5}"/>
              </a:ext>
            </a:extLst>
          </p:cNvPr>
          <p:cNvSpPr txBox="1"/>
          <p:nvPr/>
        </p:nvSpPr>
        <p:spPr>
          <a:xfrm>
            <a:off x="1700144" y="3867142"/>
            <a:ext cx="3731088" cy="116955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n-US" sz="1400">
                <a:latin typeface="Aptos"/>
                <a:cs typeface="Arial"/>
              </a:rPr>
              <a:t>Between March 2023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Arial"/>
              </a:rPr>
              <a:t>to </a:t>
            </a:r>
            <a:r>
              <a:rPr lang="en-US" sz="1400">
                <a:latin typeface="Aptos"/>
                <a:cs typeface="Arial"/>
              </a:rPr>
              <a:t>March 2024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Arial"/>
              </a:rPr>
              <a:t>, </a:t>
            </a:r>
            <a:r>
              <a:rPr lang="en-US" sz="1400">
                <a:latin typeface="Aptos"/>
                <a:cs typeface="Arial"/>
              </a:rPr>
              <a:t>there were </a:t>
            </a:r>
            <a:r>
              <a:rPr lang="en-US" sz="1400" b="1">
                <a:latin typeface="Aptos"/>
                <a:cs typeface="Arial"/>
              </a:rPr>
              <a:t>more than 480,000 visits to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Arial"/>
              </a:rPr>
              <a:t>Canada.ca web pages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Arial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Arial"/>
              </a:rPr>
              <a:t>offering information on </a:t>
            </a:r>
            <a:r>
              <a:rPr lang="en-US" sz="1400">
                <a:latin typeface="Aptos"/>
                <a:cs typeface="Arial"/>
              </a:rPr>
              <a:t>Canada Pension Plan (CPP)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Arial"/>
              </a:rPr>
              <a:t>death benefits and </a:t>
            </a:r>
            <a:r>
              <a:rPr lang="en-US" sz="1400">
                <a:latin typeface="Aptos"/>
                <a:cs typeface="Arial"/>
              </a:rPr>
              <a:t>federal governmen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Arial"/>
              </a:rPr>
              <a:t>death notifications</a:t>
            </a:r>
            <a:r>
              <a:rPr lang="en-US" sz="1400">
                <a:latin typeface="Aptos"/>
                <a:cs typeface="Arial"/>
              </a:rPr>
              <a:t>. </a:t>
            </a:r>
            <a:endParaRPr lang="en-CA" sz="14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os"/>
              <a:cs typeface="Arial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097B6AE-F87A-0186-1341-AD4E5A4FAEE7}"/>
              </a:ext>
            </a:extLst>
          </p:cNvPr>
          <p:cNvGrpSpPr/>
          <p:nvPr/>
        </p:nvGrpSpPr>
        <p:grpSpPr>
          <a:xfrm>
            <a:off x="596151" y="3914935"/>
            <a:ext cx="993629" cy="1017313"/>
            <a:chOff x="654914" y="5092090"/>
            <a:chExt cx="567848" cy="567848"/>
          </a:xfrm>
        </p:grpSpPr>
        <p:sp>
          <p:nvSpPr>
            <p:cNvPr id="24" name="Google Shape;27925;p1791">
              <a:extLst>
                <a:ext uri="{FF2B5EF4-FFF2-40B4-BE49-F238E27FC236}">
                  <a16:creationId xmlns:a16="http://schemas.microsoft.com/office/drawing/2014/main" id="{894A2A7E-6DC3-C42A-6F43-E866F3B5E3D2}"/>
                </a:ext>
              </a:extLst>
            </p:cNvPr>
            <p:cNvSpPr/>
            <p:nvPr/>
          </p:nvSpPr>
          <p:spPr>
            <a:xfrm>
              <a:off x="654914" y="5092090"/>
              <a:ext cx="567848" cy="567848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solidFill>
                <a:srgbClr val="0098DC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Tx/>
                <a:buNone/>
                <a:tabLst/>
                <a:defRPr/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 Nova Cond" panose="020B050602020202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7E4F293-4D4C-3283-89EE-B7AF95680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231" y="5203889"/>
              <a:ext cx="299214" cy="323855"/>
            </a:xfrm>
            <a:custGeom>
              <a:avLst/>
              <a:gdLst>
                <a:gd name="connsiteX0" fmla="*/ 292825 w 299881"/>
                <a:gd name="connsiteY0" fmla="*/ 294000 h 324576"/>
                <a:gd name="connsiteX1" fmla="*/ 292825 w 299881"/>
                <a:gd name="connsiteY1" fmla="*/ 324576 h 324576"/>
                <a:gd name="connsiteX2" fmla="*/ 239904 w 299881"/>
                <a:gd name="connsiteY2" fmla="*/ 324576 h 324576"/>
                <a:gd name="connsiteX3" fmla="*/ 134064 w 299881"/>
                <a:gd name="connsiteY3" fmla="*/ 294000 h 324576"/>
                <a:gd name="connsiteX4" fmla="*/ 134064 w 299881"/>
                <a:gd name="connsiteY4" fmla="*/ 324576 h 324576"/>
                <a:gd name="connsiteX5" fmla="*/ 79968 w 299881"/>
                <a:gd name="connsiteY5" fmla="*/ 324576 h 324576"/>
                <a:gd name="connsiteX6" fmla="*/ 0 w 299881"/>
                <a:gd name="connsiteY6" fmla="*/ 262248 h 324576"/>
                <a:gd name="connsiteX7" fmla="*/ 54096 w 299881"/>
                <a:gd name="connsiteY7" fmla="*/ 262248 h 324576"/>
                <a:gd name="connsiteX8" fmla="*/ 54096 w 299881"/>
                <a:gd name="connsiteY8" fmla="*/ 324576 h 324576"/>
                <a:gd name="connsiteX9" fmla="*/ 0 w 299881"/>
                <a:gd name="connsiteY9" fmla="*/ 324576 h 324576"/>
                <a:gd name="connsiteX10" fmla="*/ 292825 w 299881"/>
                <a:gd name="connsiteY10" fmla="*/ 246960 h 324576"/>
                <a:gd name="connsiteX11" fmla="*/ 292825 w 299881"/>
                <a:gd name="connsiteY11" fmla="*/ 279888 h 324576"/>
                <a:gd name="connsiteX12" fmla="*/ 239904 w 299881"/>
                <a:gd name="connsiteY12" fmla="*/ 309288 h 324576"/>
                <a:gd name="connsiteX13" fmla="*/ 239904 w 299881"/>
                <a:gd name="connsiteY13" fmla="*/ 276360 h 324576"/>
                <a:gd name="connsiteX14" fmla="*/ 134064 w 299881"/>
                <a:gd name="connsiteY14" fmla="*/ 246960 h 324576"/>
                <a:gd name="connsiteX15" fmla="*/ 134064 w 299881"/>
                <a:gd name="connsiteY15" fmla="*/ 279888 h 324576"/>
                <a:gd name="connsiteX16" fmla="*/ 79968 w 299881"/>
                <a:gd name="connsiteY16" fmla="*/ 309288 h 324576"/>
                <a:gd name="connsiteX17" fmla="*/ 79968 w 299881"/>
                <a:gd name="connsiteY17" fmla="*/ 276360 h 324576"/>
                <a:gd name="connsiteX18" fmla="*/ 79968 w 299881"/>
                <a:gd name="connsiteY18" fmla="*/ 218736 h 324576"/>
                <a:gd name="connsiteX19" fmla="*/ 134064 w 299881"/>
                <a:gd name="connsiteY19" fmla="*/ 218736 h 324576"/>
                <a:gd name="connsiteX20" fmla="*/ 134064 w 299881"/>
                <a:gd name="connsiteY20" fmla="*/ 230496 h 324576"/>
                <a:gd name="connsiteX21" fmla="*/ 79968 w 299881"/>
                <a:gd name="connsiteY21" fmla="*/ 262248 h 324576"/>
                <a:gd name="connsiteX22" fmla="*/ 292825 w 299881"/>
                <a:gd name="connsiteY22" fmla="*/ 197568 h 324576"/>
                <a:gd name="connsiteX23" fmla="*/ 292825 w 299881"/>
                <a:gd name="connsiteY23" fmla="*/ 230496 h 324576"/>
                <a:gd name="connsiteX24" fmla="*/ 239904 w 299881"/>
                <a:gd name="connsiteY24" fmla="*/ 262248 h 324576"/>
                <a:gd name="connsiteX25" fmla="*/ 239904 w 299881"/>
                <a:gd name="connsiteY25" fmla="*/ 229320 h 324576"/>
                <a:gd name="connsiteX26" fmla="*/ 159936 w 299881"/>
                <a:gd name="connsiteY26" fmla="*/ 182279 h 324576"/>
                <a:gd name="connsiteX27" fmla="*/ 214032 w 299881"/>
                <a:gd name="connsiteY27" fmla="*/ 182279 h 324576"/>
                <a:gd name="connsiteX28" fmla="*/ 214032 w 299881"/>
                <a:gd name="connsiteY28" fmla="*/ 324575 h 324576"/>
                <a:gd name="connsiteX29" fmla="*/ 159936 w 299881"/>
                <a:gd name="connsiteY29" fmla="*/ 324575 h 324576"/>
                <a:gd name="connsiteX30" fmla="*/ 292825 w 299881"/>
                <a:gd name="connsiteY30" fmla="*/ 150527 h 324576"/>
                <a:gd name="connsiteX31" fmla="*/ 292825 w 299881"/>
                <a:gd name="connsiteY31" fmla="*/ 184631 h 324576"/>
                <a:gd name="connsiteX32" fmla="*/ 239904 w 299881"/>
                <a:gd name="connsiteY32" fmla="*/ 215207 h 324576"/>
                <a:gd name="connsiteX33" fmla="*/ 239904 w 299881"/>
                <a:gd name="connsiteY33" fmla="*/ 182279 h 324576"/>
                <a:gd name="connsiteX34" fmla="*/ 239904 w 299881"/>
                <a:gd name="connsiteY34" fmla="*/ 114072 h 324576"/>
                <a:gd name="connsiteX35" fmla="*/ 292825 w 299881"/>
                <a:gd name="connsiteY35" fmla="*/ 114072 h 324576"/>
                <a:gd name="connsiteX36" fmla="*/ 292825 w 299881"/>
                <a:gd name="connsiteY36" fmla="*/ 137592 h 324576"/>
                <a:gd name="connsiteX37" fmla="*/ 239904 w 299881"/>
                <a:gd name="connsiteY37" fmla="*/ 166993 h 324576"/>
                <a:gd name="connsiteX38" fmla="*/ 256368 w 299881"/>
                <a:gd name="connsiteY38" fmla="*/ 0 h 324576"/>
                <a:gd name="connsiteX39" fmla="*/ 299881 w 299881"/>
                <a:gd name="connsiteY39" fmla="*/ 90552 h 324576"/>
                <a:gd name="connsiteX40" fmla="*/ 258707 w 299881"/>
                <a:gd name="connsiteY40" fmla="*/ 81134 h 324576"/>
                <a:gd name="connsiteX41" fmla="*/ 0 w 299881"/>
                <a:gd name="connsiteY41" fmla="*/ 209046 h 324576"/>
                <a:gd name="connsiteX42" fmla="*/ 0 w 299881"/>
                <a:gd name="connsiteY42" fmla="*/ 185802 h 324576"/>
                <a:gd name="connsiteX43" fmla="*/ 197562 w 299881"/>
                <a:gd name="connsiteY43" fmla="*/ 65860 h 324576"/>
                <a:gd name="connsiteX44" fmla="*/ 174321 w 299881"/>
                <a:gd name="connsiteY44" fmla="*/ 61161 h 324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99881" h="324576">
                  <a:moveTo>
                    <a:pt x="292825" y="294000"/>
                  </a:moveTo>
                  <a:lnTo>
                    <a:pt x="292825" y="324576"/>
                  </a:lnTo>
                  <a:lnTo>
                    <a:pt x="239904" y="324576"/>
                  </a:lnTo>
                  <a:close/>
                  <a:moveTo>
                    <a:pt x="134064" y="294000"/>
                  </a:moveTo>
                  <a:lnTo>
                    <a:pt x="134064" y="324576"/>
                  </a:lnTo>
                  <a:lnTo>
                    <a:pt x="79968" y="324576"/>
                  </a:lnTo>
                  <a:close/>
                  <a:moveTo>
                    <a:pt x="0" y="262248"/>
                  </a:moveTo>
                  <a:lnTo>
                    <a:pt x="54096" y="262248"/>
                  </a:lnTo>
                  <a:lnTo>
                    <a:pt x="54096" y="324576"/>
                  </a:lnTo>
                  <a:lnTo>
                    <a:pt x="0" y="324576"/>
                  </a:lnTo>
                  <a:close/>
                  <a:moveTo>
                    <a:pt x="292825" y="246960"/>
                  </a:moveTo>
                  <a:lnTo>
                    <a:pt x="292825" y="279888"/>
                  </a:lnTo>
                  <a:lnTo>
                    <a:pt x="239904" y="309288"/>
                  </a:lnTo>
                  <a:lnTo>
                    <a:pt x="239904" y="276360"/>
                  </a:lnTo>
                  <a:close/>
                  <a:moveTo>
                    <a:pt x="134064" y="246960"/>
                  </a:moveTo>
                  <a:lnTo>
                    <a:pt x="134064" y="279888"/>
                  </a:lnTo>
                  <a:lnTo>
                    <a:pt x="79968" y="309288"/>
                  </a:lnTo>
                  <a:lnTo>
                    <a:pt x="79968" y="276360"/>
                  </a:lnTo>
                  <a:close/>
                  <a:moveTo>
                    <a:pt x="79968" y="218736"/>
                  </a:moveTo>
                  <a:lnTo>
                    <a:pt x="134064" y="218736"/>
                  </a:lnTo>
                  <a:lnTo>
                    <a:pt x="134064" y="230496"/>
                  </a:lnTo>
                  <a:lnTo>
                    <a:pt x="79968" y="262248"/>
                  </a:lnTo>
                  <a:close/>
                  <a:moveTo>
                    <a:pt x="292825" y="197568"/>
                  </a:moveTo>
                  <a:lnTo>
                    <a:pt x="292825" y="230496"/>
                  </a:lnTo>
                  <a:lnTo>
                    <a:pt x="239904" y="262248"/>
                  </a:lnTo>
                  <a:lnTo>
                    <a:pt x="239904" y="229320"/>
                  </a:lnTo>
                  <a:close/>
                  <a:moveTo>
                    <a:pt x="159936" y="182279"/>
                  </a:moveTo>
                  <a:lnTo>
                    <a:pt x="214032" y="182279"/>
                  </a:lnTo>
                  <a:lnTo>
                    <a:pt x="214032" y="324575"/>
                  </a:lnTo>
                  <a:lnTo>
                    <a:pt x="159936" y="324575"/>
                  </a:lnTo>
                  <a:close/>
                  <a:moveTo>
                    <a:pt x="292825" y="150527"/>
                  </a:moveTo>
                  <a:lnTo>
                    <a:pt x="292825" y="184631"/>
                  </a:lnTo>
                  <a:lnTo>
                    <a:pt x="239904" y="215207"/>
                  </a:lnTo>
                  <a:lnTo>
                    <a:pt x="239904" y="182279"/>
                  </a:lnTo>
                  <a:close/>
                  <a:moveTo>
                    <a:pt x="239904" y="114072"/>
                  </a:moveTo>
                  <a:lnTo>
                    <a:pt x="292825" y="114072"/>
                  </a:lnTo>
                  <a:lnTo>
                    <a:pt x="292825" y="137592"/>
                  </a:lnTo>
                  <a:lnTo>
                    <a:pt x="239904" y="166993"/>
                  </a:lnTo>
                  <a:close/>
                  <a:moveTo>
                    <a:pt x="256368" y="0"/>
                  </a:moveTo>
                  <a:lnTo>
                    <a:pt x="299881" y="90552"/>
                  </a:lnTo>
                  <a:lnTo>
                    <a:pt x="258707" y="81134"/>
                  </a:lnTo>
                  <a:cubicBezTo>
                    <a:pt x="192464" y="163097"/>
                    <a:pt x="69782" y="215172"/>
                    <a:pt x="0" y="209046"/>
                  </a:cubicBezTo>
                  <a:lnTo>
                    <a:pt x="0" y="185802"/>
                  </a:lnTo>
                  <a:cubicBezTo>
                    <a:pt x="70682" y="174087"/>
                    <a:pt x="162056" y="135528"/>
                    <a:pt x="197562" y="65860"/>
                  </a:cubicBezTo>
                  <a:lnTo>
                    <a:pt x="174321" y="61161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20B7FA6A-0D5C-EAAD-66B0-F4DDD5793957}"/>
              </a:ext>
            </a:extLst>
          </p:cNvPr>
          <p:cNvSpPr txBox="1"/>
          <p:nvPr/>
        </p:nvSpPr>
        <p:spPr>
          <a:xfrm>
            <a:off x="6900218" y="1707806"/>
            <a:ext cx="4377382" cy="52322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en-CA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Arial"/>
              </a:rPr>
              <a:t>Statistics Canada reported </a:t>
            </a:r>
            <a:r>
              <a:rPr lang="en-CA" sz="1400" b="1">
                <a:latin typeface="Aptos"/>
                <a:cs typeface="Arial"/>
              </a:rPr>
              <a:t>330,379</a:t>
            </a:r>
            <a:r>
              <a:rPr kumimoji="0" lang="en-CA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Arial"/>
              </a:rPr>
              <a:t> deaths </a:t>
            </a:r>
            <a:r>
              <a:rPr lang="en-CA" sz="1400" b="1">
                <a:latin typeface="Aptos"/>
                <a:cs typeface="Arial"/>
              </a:rPr>
              <a:t>across Canada between 2022 to 2023</a:t>
            </a:r>
            <a:r>
              <a:rPr lang="en-CA" sz="1400">
                <a:latin typeface="Aptos"/>
                <a:cs typeface="Arial"/>
              </a:rPr>
              <a:t>.</a:t>
            </a:r>
            <a:endParaRPr lang="en-US" sz="1400">
              <a:latin typeface="Aptos"/>
              <a:cs typeface="Arial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39EF47B-95CF-1839-12E2-62F0824F5A7F}"/>
              </a:ext>
            </a:extLst>
          </p:cNvPr>
          <p:cNvGrpSpPr/>
          <p:nvPr/>
        </p:nvGrpSpPr>
        <p:grpSpPr>
          <a:xfrm>
            <a:off x="5705802" y="1493730"/>
            <a:ext cx="968711" cy="991801"/>
            <a:chOff x="5705802" y="1493730"/>
            <a:chExt cx="968711" cy="991801"/>
          </a:xfrm>
        </p:grpSpPr>
        <p:sp>
          <p:nvSpPr>
            <p:cNvPr id="28" name="Google Shape;27925;p1791">
              <a:extLst>
                <a:ext uri="{FF2B5EF4-FFF2-40B4-BE49-F238E27FC236}">
                  <a16:creationId xmlns:a16="http://schemas.microsoft.com/office/drawing/2014/main" id="{D995E72E-0CDC-4CB8-DC93-AF581FE65CE7}"/>
                </a:ext>
              </a:extLst>
            </p:cNvPr>
            <p:cNvSpPr/>
            <p:nvPr/>
          </p:nvSpPr>
          <p:spPr>
            <a:xfrm>
              <a:off x="5705802" y="1493730"/>
              <a:ext cx="968711" cy="991801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solidFill>
                <a:srgbClr val="0098DC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Tx/>
                <a:buNone/>
                <a:tabLst/>
                <a:defRPr/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 Nova Cond" panose="020B050602020202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9C4BF23-E8BF-8918-5423-D1F64E76559C}"/>
                </a:ext>
              </a:extLst>
            </p:cNvPr>
            <p:cNvSpPr/>
            <p:nvPr/>
          </p:nvSpPr>
          <p:spPr>
            <a:xfrm>
              <a:off x="5930895" y="1764481"/>
              <a:ext cx="563307" cy="508078"/>
            </a:xfrm>
            <a:custGeom>
              <a:avLst/>
              <a:gdLst>
                <a:gd name="connsiteX0" fmla="*/ 173692 w 463792"/>
                <a:gd name="connsiteY0" fmla="*/ 340563 h 408583"/>
                <a:gd name="connsiteX1" fmla="*/ 148932 w 463792"/>
                <a:gd name="connsiteY1" fmla="*/ 373311 h 408583"/>
                <a:gd name="connsiteX2" fmla="*/ 131341 w 463792"/>
                <a:gd name="connsiteY2" fmla="*/ 388176 h 408583"/>
                <a:gd name="connsiteX3" fmla="*/ 164761 w 463792"/>
                <a:gd name="connsiteY3" fmla="*/ 398434 h 408583"/>
                <a:gd name="connsiteX4" fmla="*/ 301791 w 463792"/>
                <a:gd name="connsiteY4" fmla="*/ 398434 h 408583"/>
                <a:gd name="connsiteX5" fmla="*/ 332014 w 463792"/>
                <a:gd name="connsiteY5" fmla="*/ 385181 h 408583"/>
                <a:gd name="connsiteX6" fmla="*/ 310347 w 463792"/>
                <a:gd name="connsiteY6" fmla="*/ 372028 h 408583"/>
                <a:gd name="connsiteX7" fmla="*/ 294925 w 463792"/>
                <a:gd name="connsiteY7" fmla="*/ 340907 h 408583"/>
                <a:gd name="connsiteX8" fmla="*/ 231896 w 463792"/>
                <a:gd name="connsiteY8" fmla="*/ 292792 h 408583"/>
                <a:gd name="connsiteX9" fmla="*/ 213542 w 463792"/>
                <a:gd name="connsiteY9" fmla="*/ 311146 h 408583"/>
                <a:gd name="connsiteX10" fmla="*/ 231896 w 463792"/>
                <a:gd name="connsiteY10" fmla="*/ 329500 h 408583"/>
                <a:gd name="connsiteX11" fmla="*/ 250250 w 463792"/>
                <a:gd name="connsiteY11" fmla="*/ 311146 h 408583"/>
                <a:gd name="connsiteX12" fmla="*/ 231896 w 463792"/>
                <a:gd name="connsiteY12" fmla="*/ 292792 h 408583"/>
                <a:gd name="connsiteX13" fmla="*/ 68690 w 463792"/>
                <a:gd name="connsiteY13" fmla="*/ 142438 h 408583"/>
                <a:gd name="connsiteX14" fmla="*/ 68691 w 463792"/>
                <a:gd name="connsiteY14" fmla="*/ 142438 h 408583"/>
                <a:gd name="connsiteX15" fmla="*/ 68691 w 463792"/>
                <a:gd name="connsiteY15" fmla="*/ 142439 h 408583"/>
                <a:gd name="connsiteX16" fmla="*/ 41337 w 463792"/>
                <a:gd name="connsiteY16" fmla="*/ 110538 h 408583"/>
                <a:gd name="connsiteX17" fmla="*/ 41337 w 463792"/>
                <a:gd name="connsiteY17" fmla="*/ 110540 h 408583"/>
                <a:gd name="connsiteX18" fmla="*/ 41336 w 463792"/>
                <a:gd name="connsiteY18" fmla="*/ 110539 h 408583"/>
                <a:gd name="connsiteX19" fmla="*/ 116165 w 463792"/>
                <a:gd name="connsiteY19" fmla="*/ 87736 h 408583"/>
                <a:gd name="connsiteX20" fmla="*/ 123393 w 463792"/>
                <a:gd name="connsiteY20" fmla="*/ 87736 h 408583"/>
                <a:gd name="connsiteX21" fmla="*/ 123392 w 463792"/>
                <a:gd name="connsiteY21" fmla="*/ 87737 h 408583"/>
                <a:gd name="connsiteX22" fmla="*/ 123392 w 463792"/>
                <a:gd name="connsiteY22" fmla="*/ 94965 h 408583"/>
                <a:gd name="connsiteX23" fmla="*/ 75918 w 463792"/>
                <a:gd name="connsiteY23" fmla="*/ 142438 h 408583"/>
                <a:gd name="connsiteX24" fmla="*/ 68691 w 463792"/>
                <a:gd name="connsiteY24" fmla="*/ 142438 h 408583"/>
                <a:gd name="connsiteX25" fmla="*/ 68691 w 463792"/>
                <a:gd name="connsiteY25" fmla="*/ 135210 h 408583"/>
                <a:gd name="connsiteX26" fmla="*/ 88811 w 463792"/>
                <a:gd name="connsiteY26" fmla="*/ 55837 h 408583"/>
                <a:gd name="connsiteX27" fmla="*/ 96039 w 463792"/>
                <a:gd name="connsiteY27" fmla="*/ 55837 h 408583"/>
                <a:gd name="connsiteX28" fmla="*/ 96039 w 463792"/>
                <a:gd name="connsiteY28" fmla="*/ 55838 h 408583"/>
                <a:gd name="connsiteX29" fmla="*/ 96039 w 463792"/>
                <a:gd name="connsiteY29" fmla="*/ 63066 h 408583"/>
                <a:gd name="connsiteX30" fmla="*/ 48564 w 463792"/>
                <a:gd name="connsiteY30" fmla="*/ 110539 h 408583"/>
                <a:gd name="connsiteX31" fmla="*/ 41337 w 463792"/>
                <a:gd name="connsiteY31" fmla="*/ 110538 h 408583"/>
                <a:gd name="connsiteX32" fmla="*/ 41337 w 463792"/>
                <a:gd name="connsiteY32" fmla="*/ 103311 h 408583"/>
                <a:gd name="connsiteX33" fmla="*/ 120008 w 463792"/>
                <a:gd name="connsiteY33" fmla="*/ 55194 h 408583"/>
                <a:gd name="connsiteX34" fmla="*/ 127680 w 463792"/>
                <a:gd name="connsiteY34" fmla="*/ 55194 h 408583"/>
                <a:gd name="connsiteX35" fmla="*/ 127680 w 463792"/>
                <a:gd name="connsiteY35" fmla="*/ 62866 h 408583"/>
                <a:gd name="connsiteX36" fmla="*/ 50601 w 463792"/>
                <a:gd name="connsiteY36" fmla="*/ 139944 h 408583"/>
                <a:gd name="connsiteX37" fmla="*/ 42929 w 463792"/>
                <a:gd name="connsiteY37" fmla="*/ 139944 h 408583"/>
                <a:gd name="connsiteX38" fmla="*/ 42929 w 463792"/>
                <a:gd name="connsiteY38" fmla="*/ 132272 h 408583"/>
                <a:gd name="connsiteX39" fmla="*/ 22088 w 463792"/>
                <a:gd name="connsiteY39" fmla="*/ 29109 h 408583"/>
                <a:gd name="connsiteX40" fmla="*/ 22088 w 463792"/>
                <a:gd name="connsiteY40" fmla="*/ 284642 h 408583"/>
                <a:gd name="connsiteX41" fmla="*/ 441703 w 463792"/>
                <a:gd name="connsiteY41" fmla="*/ 284642 h 408583"/>
                <a:gd name="connsiteX42" fmla="*/ 441703 w 463792"/>
                <a:gd name="connsiteY42" fmla="*/ 29109 h 408583"/>
                <a:gd name="connsiteX43" fmla="*/ 50494 w 463792"/>
                <a:gd name="connsiteY43" fmla="*/ 0 h 408583"/>
                <a:gd name="connsiteX44" fmla="*/ 413299 w 463792"/>
                <a:gd name="connsiteY44" fmla="*/ 0 h 408583"/>
                <a:gd name="connsiteX45" fmla="*/ 463792 w 463792"/>
                <a:gd name="connsiteY45" fmla="*/ 50494 h 408583"/>
                <a:gd name="connsiteX46" fmla="*/ 463792 w 463792"/>
                <a:gd name="connsiteY46" fmla="*/ 289484 h 408583"/>
                <a:gd name="connsiteX47" fmla="*/ 413299 w 463792"/>
                <a:gd name="connsiteY47" fmla="*/ 339977 h 408583"/>
                <a:gd name="connsiteX48" fmla="*/ 303147 w 463792"/>
                <a:gd name="connsiteY48" fmla="*/ 339977 h 408583"/>
                <a:gd name="connsiteX49" fmla="*/ 306651 w 463792"/>
                <a:gd name="connsiteY49" fmla="*/ 355291 h 408583"/>
                <a:gd name="connsiteX50" fmla="*/ 322211 w 463792"/>
                <a:gd name="connsiteY50" fmla="*/ 366269 h 408583"/>
                <a:gd name="connsiteX51" fmla="*/ 341871 w 463792"/>
                <a:gd name="connsiteY51" fmla="*/ 385929 h 408583"/>
                <a:gd name="connsiteX52" fmla="*/ 322211 w 463792"/>
                <a:gd name="connsiteY52" fmla="*/ 408155 h 408583"/>
                <a:gd name="connsiteX53" fmla="*/ 141583 w 463792"/>
                <a:gd name="connsiteY53" fmla="*/ 408583 h 408583"/>
                <a:gd name="connsiteX54" fmla="*/ 121924 w 463792"/>
                <a:gd name="connsiteY54" fmla="*/ 385929 h 408583"/>
                <a:gd name="connsiteX55" fmla="*/ 141583 w 463792"/>
                <a:gd name="connsiteY55" fmla="*/ 366269 h 408583"/>
                <a:gd name="connsiteX56" fmla="*/ 157961 w 463792"/>
                <a:gd name="connsiteY56" fmla="*/ 357507 h 408583"/>
                <a:gd name="connsiteX57" fmla="*/ 162959 w 463792"/>
                <a:gd name="connsiteY57" fmla="*/ 339977 h 408583"/>
                <a:gd name="connsiteX58" fmla="*/ 50494 w 463792"/>
                <a:gd name="connsiteY58" fmla="*/ 339977 h 408583"/>
                <a:gd name="connsiteX59" fmla="*/ 0 w 463792"/>
                <a:gd name="connsiteY59" fmla="*/ 289484 h 408583"/>
                <a:gd name="connsiteX60" fmla="*/ 0 w 463792"/>
                <a:gd name="connsiteY60" fmla="*/ 50494 h 408583"/>
                <a:gd name="connsiteX61" fmla="*/ 50494 w 463792"/>
                <a:gd name="connsiteY61" fmla="*/ 0 h 40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463792" h="408583">
                  <a:moveTo>
                    <a:pt x="173692" y="340563"/>
                  </a:moveTo>
                  <a:cubicBezTo>
                    <a:pt x="175286" y="358443"/>
                    <a:pt x="160863" y="370957"/>
                    <a:pt x="148932" y="373311"/>
                  </a:cubicBezTo>
                  <a:cubicBezTo>
                    <a:pt x="141552" y="374594"/>
                    <a:pt x="130841" y="375860"/>
                    <a:pt x="131341" y="388176"/>
                  </a:cubicBezTo>
                  <a:cubicBezTo>
                    <a:pt x="131840" y="400492"/>
                    <a:pt x="156524" y="398433"/>
                    <a:pt x="164761" y="398434"/>
                  </a:cubicBezTo>
                  <a:lnTo>
                    <a:pt x="301791" y="398434"/>
                  </a:lnTo>
                  <a:cubicBezTo>
                    <a:pt x="310028" y="398434"/>
                    <a:pt x="332891" y="399571"/>
                    <a:pt x="332014" y="385181"/>
                  </a:cubicBezTo>
                  <a:cubicBezTo>
                    <a:pt x="331268" y="372934"/>
                    <a:pt x="316673" y="376092"/>
                    <a:pt x="310347" y="372028"/>
                  </a:cubicBezTo>
                  <a:cubicBezTo>
                    <a:pt x="298145" y="364884"/>
                    <a:pt x="292744" y="352063"/>
                    <a:pt x="294925" y="340907"/>
                  </a:cubicBezTo>
                  <a:close/>
                  <a:moveTo>
                    <a:pt x="231896" y="292792"/>
                  </a:moveTo>
                  <a:cubicBezTo>
                    <a:pt x="221759" y="292792"/>
                    <a:pt x="213542" y="301009"/>
                    <a:pt x="213542" y="311146"/>
                  </a:cubicBezTo>
                  <a:cubicBezTo>
                    <a:pt x="213542" y="321282"/>
                    <a:pt x="221759" y="329500"/>
                    <a:pt x="231896" y="329500"/>
                  </a:cubicBezTo>
                  <a:cubicBezTo>
                    <a:pt x="242033" y="329500"/>
                    <a:pt x="250250" y="321282"/>
                    <a:pt x="250250" y="311146"/>
                  </a:cubicBezTo>
                  <a:cubicBezTo>
                    <a:pt x="250250" y="301009"/>
                    <a:pt x="242033" y="292792"/>
                    <a:pt x="231896" y="292792"/>
                  </a:cubicBezTo>
                  <a:close/>
                  <a:moveTo>
                    <a:pt x="68690" y="142438"/>
                  </a:moveTo>
                  <a:lnTo>
                    <a:pt x="68691" y="142438"/>
                  </a:lnTo>
                  <a:lnTo>
                    <a:pt x="68691" y="142439"/>
                  </a:lnTo>
                  <a:close/>
                  <a:moveTo>
                    <a:pt x="41337" y="110538"/>
                  </a:moveTo>
                  <a:lnTo>
                    <a:pt x="41337" y="110540"/>
                  </a:lnTo>
                  <a:lnTo>
                    <a:pt x="41336" y="110539"/>
                  </a:lnTo>
                  <a:close/>
                  <a:moveTo>
                    <a:pt x="116165" y="87736"/>
                  </a:moveTo>
                  <a:cubicBezTo>
                    <a:pt x="118161" y="85740"/>
                    <a:pt x="121397" y="85740"/>
                    <a:pt x="123393" y="87736"/>
                  </a:cubicBezTo>
                  <a:lnTo>
                    <a:pt x="123392" y="87737"/>
                  </a:lnTo>
                  <a:cubicBezTo>
                    <a:pt x="125389" y="89733"/>
                    <a:pt x="125389" y="92969"/>
                    <a:pt x="123392" y="94965"/>
                  </a:cubicBezTo>
                  <a:lnTo>
                    <a:pt x="75918" y="142438"/>
                  </a:lnTo>
                  <a:lnTo>
                    <a:pt x="68691" y="142438"/>
                  </a:lnTo>
                  <a:lnTo>
                    <a:pt x="68691" y="135210"/>
                  </a:lnTo>
                  <a:close/>
                  <a:moveTo>
                    <a:pt x="88811" y="55837"/>
                  </a:moveTo>
                  <a:cubicBezTo>
                    <a:pt x="90808" y="53841"/>
                    <a:pt x="94043" y="53841"/>
                    <a:pt x="96039" y="55837"/>
                  </a:cubicBezTo>
                  <a:lnTo>
                    <a:pt x="96039" y="55838"/>
                  </a:lnTo>
                  <a:cubicBezTo>
                    <a:pt x="98035" y="57834"/>
                    <a:pt x="98035" y="61070"/>
                    <a:pt x="96039" y="63066"/>
                  </a:cubicBezTo>
                  <a:lnTo>
                    <a:pt x="48564" y="110539"/>
                  </a:lnTo>
                  <a:lnTo>
                    <a:pt x="41337" y="110538"/>
                  </a:lnTo>
                  <a:lnTo>
                    <a:pt x="41337" y="103311"/>
                  </a:lnTo>
                  <a:close/>
                  <a:moveTo>
                    <a:pt x="120008" y="55194"/>
                  </a:moveTo>
                  <a:cubicBezTo>
                    <a:pt x="122126" y="53075"/>
                    <a:pt x="125561" y="53075"/>
                    <a:pt x="127680" y="55194"/>
                  </a:cubicBezTo>
                  <a:cubicBezTo>
                    <a:pt x="129798" y="57312"/>
                    <a:pt x="129798" y="60747"/>
                    <a:pt x="127680" y="62866"/>
                  </a:cubicBezTo>
                  <a:lnTo>
                    <a:pt x="50601" y="139944"/>
                  </a:lnTo>
                  <a:cubicBezTo>
                    <a:pt x="48483" y="142062"/>
                    <a:pt x="45048" y="142062"/>
                    <a:pt x="42929" y="139944"/>
                  </a:cubicBezTo>
                  <a:cubicBezTo>
                    <a:pt x="40811" y="137825"/>
                    <a:pt x="40811" y="134390"/>
                    <a:pt x="42929" y="132272"/>
                  </a:cubicBezTo>
                  <a:close/>
                  <a:moveTo>
                    <a:pt x="22088" y="29109"/>
                  </a:moveTo>
                  <a:lnTo>
                    <a:pt x="22088" y="284642"/>
                  </a:lnTo>
                  <a:lnTo>
                    <a:pt x="441703" y="284642"/>
                  </a:lnTo>
                  <a:lnTo>
                    <a:pt x="441703" y="29109"/>
                  </a:lnTo>
                  <a:close/>
                  <a:moveTo>
                    <a:pt x="50494" y="0"/>
                  </a:moveTo>
                  <a:lnTo>
                    <a:pt x="413299" y="0"/>
                  </a:lnTo>
                  <a:cubicBezTo>
                    <a:pt x="441185" y="0"/>
                    <a:pt x="463792" y="22607"/>
                    <a:pt x="463792" y="50494"/>
                  </a:cubicBezTo>
                  <a:lnTo>
                    <a:pt x="463792" y="289484"/>
                  </a:lnTo>
                  <a:cubicBezTo>
                    <a:pt x="463792" y="317370"/>
                    <a:pt x="441185" y="339977"/>
                    <a:pt x="413299" y="339977"/>
                  </a:cubicBezTo>
                  <a:lnTo>
                    <a:pt x="303147" y="339977"/>
                  </a:lnTo>
                  <a:lnTo>
                    <a:pt x="306651" y="355291"/>
                  </a:lnTo>
                  <a:cubicBezTo>
                    <a:pt x="310822" y="361951"/>
                    <a:pt x="316724" y="366673"/>
                    <a:pt x="322211" y="366269"/>
                  </a:cubicBezTo>
                  <a:cubicBezTo>
                    <a:pt x="333069" y="366270"/>
                    <a:pt x="341871" y="373815"/>
                    <a:pt x="341871" y="385929"/>
                  </a:cubicBezTo>
                  <a:cubicBezTo>
                    <a:pt x="341870" y="398044"/>
                    <a:pt x="333069" y="408155"/>
                    <a:pt x="322211" y="408155"/>
                  </a:cubicBezTo>
                  <a:lnTo>
                    <a:pt x="141583" y="408583"/>
                  </a:lnTo>
                  <a:cubicBezTo>
                    <a:pt x="130726" y="408583"/>
                    <a:pt x="122351" y="403203"/>
                    <a:pt x="121924" y="385929"/>
                  </a:cubicBezTo>
                  <a:cubicBezTo>
                    <a:pt x="121923" y="375071"/>
                    <a:pt x="130725" y="366269"/>
                    <a:pt x="141583" y="366269"/>
                  </a:cubicBezTo>
                  <a:cubicBezTo>
                    <a:pt x="146627" y="365564"/>
                    <a:pt x="153056" y="362920"/>
                    <a:pt x="157961" y="357507"/>
                  </a:cubicBezTo>
                  <a:lnTo>
                    <a:pt x="162959" y="339977"/>
                  </a:lnTo>
                  <a:lnTo>
                    <a:pt x="50494" y="339977"/>
                  </a:lnTo>
                  <a:cubicBezTo>
                    <a:pt x="22607" y="339977"/>
                    <a:pt x="0" y="317370"/>
                    <a:pt x="0" y="289484"/>
                  </a:cubicBezTo>
                  <a:lnTo>
                    <a:pt x="0" y="50494"/>
                  </a:lnTo>
                  <a:cubicBezTo>
                    <a:pt x="0" y="22607"/>
                    <a:pt x="22607" y="0"/>
                    <a:pt x="50494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CCF038F-6717-E614-B3E0-00BC7875233B}"/>
              </a:ext>
            </a:extLst>
          </p:cNvPr>
          <p:cNvGrpSpPr/>
          <p:nvPr/>
        </p:nvGrpSpPr>
        <p:grpSpPr>
          <a:xfrm>
            <a:off x="5705801" y="2798357"/>
            <a:ext cx="968711" cy="991801"/>
            <a:chOff x="654914" y="2425933"/>
            <a:chExt cx="567848" cy="567848"/>
          </a:xfrm>
        </p:grpSpPr>
        <p:sp>
          <p:nvSpPr>
            <p:cNvPr id="31" name="Google Shape;27925;p1791">
              <a:extLst>
                <a:ext uri="{FF2B5EF4-FFF2-40B4-BE49-F238E27FC236}">
                  <a16:creationId xmlns:a16="http://schemas.microsoft.com/office/drawing/2014/main" id="{7E65B397-9143-D3FF-DC43-7DF33EC86015}"/>
                </a:ext>
              </a:extLst>
            </p:cNvPr>
            <p:cNvSpPr/>
            <p:nvPr/>
          </p:nvSpPr>
          <p:spPr>
            <a:xfrm>
              <a:off x="654914" y="2425933"/>
              <a:ext cx="567848" cy="567848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solidFill>
                <a:srgbClr val="0098DC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Tx/>
                <a:buNone/>
                <a:tabLst/>
                <a:defRPr/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 Nova Cond" panose="020B050602020202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A8DCF78-B11F-7315-442A-A000F7B7851A}"/>
                </a:ext>
              </a:extLst>
            </p:cNvPr>
            <p:cNvSpPr/>
            <p:nvPr/>
          </p:nvSpPr>
          <p:spPr>
            <a:xfrm>
              <a:off x="813723" y="2544415"/>
              <a:ext cx="288667" cy="328437"/>
            </a:xfrm>
            <a:custGeom>
              <a:avLst/>
              <a:gdLst>
                <a:gd name="connsiteX0" fmla="*/ 428625 w 4286250"/>
                <a:gd name="connsiteY0" fmla="*/ 4448178 h 4876803"/>
                <a:gd name="connsiteX1" fmla="*/ 1913249 w 4286250"/>
                <a:gd name="connsiteY1" fmla="*/ 4448178 h 4876803"/>
                <a:gd name="connsiteX2" fmla="*/ 2294839 w 4286250"/>
                <a:gd name="connsiteY2" fmla="*/ 4876803 h 4876803"/>
                <a:gd name="connsiteX3" fmla="*/ 428625 w 4286250"/>
                <a:gd name="connsiteY3" fmla="*/ 4876803 h 4876803"/>
                <a:gd name="connsiteX4" fmla="*/ 285750 w 4286250"/>
                <a:gd name="connsiteY4" fmla="*/ 4733928 h 4876803"/>
                <a:gd name="connsiteX5" fmla="*/ 285750 w 4286250"/>
                <a:gd name="connsiteY5" fmla="*/ 4591053 h 4876803"/>
                <a:gd name="connsiteX6" fmla="*/ 428625 w 4286250"/>
                <a:gd name="connsiteY6" fmla="*/ 4448178 h 4876803"/>
                <a:gd name="connsiteX7" fmla="*/ 142875 w 4286250"/>
                <a:gd name="connsiteY7" fmla="*/ 3733803 h 4876803"/>
                <a:gd name="connsiteX8" fmla="*/ 1714500 w 4286250"/>
                <a:gd name="connsiteY8" fmla="*/ 3733803 h 4876803"/>
                <a:gd name="connsiteX9" fmla="*/ 1787452 w 4286250"/>
                <a:gd name="connsiteY9" fmla="*/ 4162428 h 4876803"/>
                <a:gd name="connsiteX10" fmla="*/ 142875 w 4286250"/>
                <a:gd name="connsiteY10" fmla="*/ 4162428 h 4876803"/>
                <a:gd name="connsiteX11" fmla="*/ 0 w 4286250"/>
                <a:gd name="connsiteY11" fmla="*/ 4019553 h 4876803"/>
                <a:gd name="connsiteX12" fmla="*/ 0 w 4286250"/>
                <a:gd name="connsiteY12" fmla="*/ 3876678 h 4876803"/>
                <a:gd name="connsiteX13" fmla="*/ 142875 w 4286250"/>
                <a:gd name="connsiteY13" fmla="*/ 3733803 h 4876803"/>
                <a:gd name="connsiteX14" fmla="*/ 428625 w 4286250"/>
                <a:gd name="connsiteY14" fmla="*/ 3019428 h 4876803"/>
                <a:gd name="connsiteX15" fmla="*/ 1913249 w 4286250"/>
                <a:gd name="connsiteY15" fmla="*/ 3019428 h 4876803"/>
                <a:gd name="connsiteX16" fmla="*/ 1743380 w 4286250"/>
                <a:gd name="connsiteY16" fmla="*/ 3448053 h 4876803"/>
                <a:gd name="connsiteX17" fmla="*/ 428625 w 4286250"/>
                <a:gd name="connsiteY17" fmla="*/ 3448053 h 4876803"/>
                <a:gd name="connsiteX18" fmla="*/ 285750 w 4286250"/>
                <a:gd name="connsiteY18" fmla="*/ 3305178 h 4876803"/>
                <a:gd name="connsiteX19" fmla="*/ 285750 w 4286250"/>
                <a:gd name="connsiteY19" fmla="*/ 3162303 h 4876803"/>
                <a:gd name="connsiteX20" fmla="*/ 428625 w 4286250"/>
                <a:gd name="connsiteY20" fmla="*/ 3019428 h 4876803"/>
                <a:gd name="connsiteX21" fmla="*/ 3143202 w 4286250"/>
                <a:gd name="connsiteY21" fmla="*/ 3000368 h 4876803"/>
                <a:gd name="connsiteX22" fmla="*/ 3000327 w 4286250"/>
                <a:gd name="connsiteY22" fmla="*/ 3143243 h 4876803"/>
                <a:gd name="connsiteX23" fmla="*/ 3000327 w 4286250"/>
                <a:gd name="connsiteY23" fmla="*/ 3182515 h 4876803"/>
                <a:gd name="connsiteX24" fmla="*/ 2903506 w 4286250"/>
                <a:gd name="connsiteY24" fmla="*/ 3219539 h 4876803"/>
                <a:gd name="connsiteX25" fmla="*/ 2697556 w 4286250"/>
                <a:gd name="connsiteY25" fmla="*/ 3519481 h 4876803"/>
                <a:gd name="connsiteX26" fmla="*/ 2867778 w 4286250"/>
                <a:gd name="connsiteY26" fmla="*/ 3801459 h 4876803"/>
                <a:gd name="connsiteX27" fmla="*/ 3117142 w 4286250"/>
                <a:gd name="connsiteY27" fmla="*/ 3874278 h 4876803"/>
                <a:gd name="connsiteX28" fmla="*/ 3284087 w 4286250"/>
                <a:gd name="connsiteY28" fmla="*/ 3918226 h 4876803"/>
                <a:gd name="connsiteX29" fmla="*/ 3303099 w 4286250"/>
                <a:gd name="connsiteY29" fmla="*/ 3948106 h 4876803"/>
                <a:gd name="connsiteX30" fmla="*/ 3254864 w 4286250"/>
                <a:gd name="connsiteY30" fmla="*/ 3992416 h 4876803"/>
                <a:gd name="connsiteX31" fmla="*/ 3009852 w 4286250"/>
                <a:gd name="connsiteY31" fmla="*/ 3985349 h 4876803"/>
                <a:gd name="connsiteX32" fmla="*/ 2809827 w 4286250"/>
                <a:gd name="connsiteY32" fmla="*/ 4013924 h 4876803"/>
                <a:gd name="connsiteX33" fmla="*/ 2838402 w 4286250"/>
                <a:gd name="connsiteY33" fmla="*/ 4213949 h 4876803"/>
                <a:gd name="connsiteX34" fmla="*/ 3000327 w 4286250"/>
                <a:gd name="connsiteY34" fmla="*/ 4289330 h 4876803"/>
                <a:gd name="connsiteX35" fmla="*/ 3000327 w 4286250"/>
                <a:gd name="connsiteY35" fmla="*/ 4324343 h 4876803"/>
                <a:gd name="connsiteX36" fmla="*/ 3143202 w 4286250"/>
                <a:gd name="connsiteY36" fmla="*/ 4467218 h 4876803"/>
                <a:gd name="connsiteX37" fmla="*/ 3286077 w 4286250"/>
                <a:gd name="connsiteY37" fmla="*/ 4324343 h 4876803"/>
                <a:gd name="connsiteX38" fmla="*/ 3286077 w 4286250"/>
                <a:gd name="connsiteY38" fmla="*/ 4284862 h 4876803"/>
                <a:gd name="connsiteX39" fmla="*/ 3382661 w 4286250"/>
                <a:gd name="connsiteY39" fmla="*/ 4247991 h 4876803"/>
                <a:gd name="connsiteX40" fmla="*/ 3588849 w 4286250"/>
                <a:gd name="connsiteY40" fmla="*/ 3948106 h 4876803"/>
                <a:gd name="connsiteX41" fmla="*/ 3418637 w 4286250"/>
                <a:gd name="connsiteY41" fmla="*/ 3666128 h 4876803"/>
                <a:gd name="connsiteX42" fmla="*/ 3169263 w 4286250"/>
                <a:gd name="connsiteY42" fmla="*/ 3593309 h 4876803"/>
                <a:gd name="connsiteX43" fmla="*/ 3002318 w 4286250"/>
                <a:gd name="connsiteY43" fmla="*/ 3549361 h 4876803"/>
                <a:gd name="connsiteX44" fmla="*/ 2983306 w 4286250"/>
                <a:gd name="connsiteY44" fmla="*/ 3519471 h 4876803"/>
                <a:gd name="connsiteX45" fmla="*/ 3031293 w 4286250"/>
                <a:gd name="connsiteY45" fmla="*/ 3475114 h 4876803"/>
                <a:gd name="connsiteX46" fmla="*/ 3276552 w 4286250"/>
                <a:gd name="connsiteY46" fmla="*/ 3482238 h 4876803"/>
                <a:gd name="connsiteX47" fmla="*/ 3476577 w 4286250"/>
                <a:gd name="connsiteY47" fmla="*/ 3453663 h 4876803"/>
                <a:gd name="connsiteX48" fmla="*/ 3448002 w 4286250"/>
                <a:gd name="connsiteY48" fmla="*/ 3253638 h 4876803"/>
                <a:gd name="connsiteX49" fmla="*/ 3286077 w 4286250"/>
                <a:gd name="connsiteY49" fmla="*/ 3178229 h 4876803"/>
                <a:gd name="connsiteX50" fmla="*/ 3286077 w 4286250"/>
                <a:gd name="connsiteY50" fmla="*/ 3143243 h 4876803"/>
                <a:gd name="connsiteX51" fmla="*/ 3143202 w 4286250"/>
                <a:gd name="connsiteY51" fmla="*/ 3000368 h 4876803"/>
                <a:gd name="connsiteX52" fmla="*/ 3143250 w 4286250"/>
                <a:gd name="connsiteY52" fmla="*/ 2590803 h 4876803"/>
                <a:gd name="connsiteX53" fmla="*/ 4286250 w 4286250"/>
                <a:gd name="connsiteY53" fmla="*/ 3733803 h 4876803"/>
                <a:gd name="connsiteX54" fmla="*/ 3143250 w 4286250"/>
                <a:gd name="connsiteY54" fmla="*/ 4876803 h 4876803"/>
                <a:gd name="connsiteX55" fmla="*/ 2000250 w 4286250"/>
                <a:gd name="connsiteY55" fmla="*/ 3733803 h 4876803"/>
                <a:gd name="connsiteX56" fmla="*/ 3143250 w 4286250"/>
                <a:gd name="connsiteY56" fmla="*/ 2590803 h 4876803"/>
                <a:gd name="connsiteX57" fmla="*/ 142875 w 4286250"/>
                <a:gd name="connsiteY57" fmla="*/ 2305053 h 4876803"/>
                <a:gd name="connsiteX58" fmla="*/ 3143250 w 4286250"/>
                <a:gd name="connsiteY58" fmla="*/ 2305053 h 4876803"/>
                <a:gd name="connsiteX59" fmla="*/ 2125494 w 4286250"/>
                <a:gd name="connsiteY59" fmla="*/ 2733678 h 4876803"/>
                <a:gd name="connsiteX60" fmla="*/ 142875 w 4286250"/>
                <a:gd name="connsiteY60" fmla="*/ 2733678 h 4876803"/>
                <a:gd name="connsiteX61" fmla="*/ 0 w 4286250"/>
                <a:gd name="connsiteY61" fmla="*/ 2590803 h 4876803"/>
                <a:gd name="connsiteX62" fmla="*/ 0 w 4286250"/>
                <a:gd name="connsiteY62" fmla="*/ 2447928 h 4876803"/>
                <a:gd name="connsiteX63" fmla="*/ 142875 w 4286250"/>
                <a:gd name="connsiteY63" fmla="*/ 2305053 h 4876803"/>
                <a:gd name="connsiteX64" fmla="*/ 714375 w 4286250"/>
                <a:gd name="connsiteY64" fmla="*/ 1590678 h 4876803"/>
                <a:gd name="connsiteX65" fmla="*/ 3286125 w 4286250"/>
                <a:gd name="connsiteY65" fmla="*/ 1590678 h 4876803"/>
                <a:gd name="connsiteX66" fmla="*/ 3429000 w 4286250"/>
                <a:gd name="connsiteY66" fmla="*/ 1733553 h 4876803"/>
                <a:gd name="connsiteX67" fmla="*/ 3429000 w 4286250"/>
                <a:gd name="connsiteY67" fmla="*/ 1876428 h 4876803"/>
                <a:gd name="connsiteX68" fmla="*/ 3286125 w 4286250"/>
                <a:gd name="connsiteY68" fmla="*/ 2019303 h 4876803"/>
                <a:gd name="connsiteX69" fmla="*/ 714375 w 4286250"/>
                <a:gd name="connsiteY69" fmla="*/ 2019303 h 4876803"/>
                <a:gd name="connsiteX70" fmla="*/ 571500 w 4286250"/>
                <a:gd name="connsiteY70" fmla="*/ 1876428 h 4876803"/>
                <a:gd name="connsiteX71" fmla="*/ 571500 w 4286250"/>
                <a:gd name="connsiteY71" fmla="*/ 1733553 h 4876803"/>
                <a:gd name="connsiteX72" fmla="*/ 714375 w 4286250"/>
                <a:gd name="connsiteY72" fmla="*/ 1590678 h 4876803"/>
                <a:gd name="connsiteX73" fmla="*/ 1857370 w 4286250"/>
                <a:gd name="connsiteY73" fmla="*/ 0 h 4876803"/>
                <a:gd name="connsiteX74" fmla="*/ 1958387 w 4286250"/>
                <a:gd name="connsiteY74" fmla="*/ 41855 h 4876803"/>
                <a:gd name="connsiteX75" fmla="*/ 2529887 w 4286250"/>
                <a:gd name="connsiteY75" fmla="*/ 622881 h 4876803"/>
                <a:gd name="connsiteX76" fmla="*/ 2560862 w 4286250"/>
                <a:gd name="connsiteY76" fmla="*/ 778596 h 4876803"/>
                <a:gd name="connsiteX77" fmla="*/ 2428874 w 4286250"/>
                <a:gd name="connsiteY77" fmla="*/ 866778 h 4876803"/>
                <a:gd name="connsiteX78" fmla="*/ 2285999 w 4286250"/>
                <a:gd name="connsiteY78" fmla="*/ 866778 h 4876803"/>
                <a:gd name="connsiteX79" fmla="*/ 2285999 w 4286250"/>
                <a:gd name="connsiteY79" fmla="*/ 1162052 h 4876803"/>
                <a:gd name="connsiteX80" fmla="*/ 2143124 w 4286250"/>
                <a:gd name="connsiteY80" fmla="*/ 1304927 h 4876803"/>
                <a:gd name="connsiteX81" fmla="*/ 1571624 w 4286250"/>
                <a:gd name="connsiteY81" fmla="*/ 1304927 h 4876803"/>
                <a:gd name="connsiteX82" fmla="*/ 1428749 w 4286250"/>
                <a:gd name="connsiteY82" fmla="*/ 1162052 h 4876803"/>
                <a:gd name="connsiteX83" fmla="*/ 1428749 w 4286250"/>
                <a:gd name="connsiteY83" fmla="*/ 866778 h 4876803"/>
                <a:gd name="connsiteX84" fmla="*/ 1285874 w 4286250"/>
                <a:gd name="connsiteY84" fmla="*/ 866778 h 4876803"/>
                <a:gd name="connsiteX85" fmla="*/ 1153877 w 4286250"/>
                <a:gd name="connsiteY85" fmla="*/ 778596 h 4876803"/>
                <a:gd name="connsiteX86" fmla="*/ 1184852 w 4286250"/>
                <a:gd name="connsiteY86" fmla="*/ 622881 h 4876803"/>
                <a:gd name="connsiteX87" fmla="*/ 1756352 w 4286250"/>
                <a:gd name="connsiteY87" fmla="*/ 41855 h 4876803"/>
                <a:gd name="connsiteX88" fmla="*/ 1857370 w 4286250"/>
                <a:gd name="connsiteY88" fmla="*/ 0 h 4876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4286250" h="4876803">
                  <a:moveTo>
                    <a:pt x="428625" y="4448178"/>
                  </a:moveTo>
                  <a:lnTo>
                    <a:pt x="1913249" y="4448178"/>
                  </a:lnTo>
                  <a:cubicBezTo>
                    <a:pt x="2011023" y="4615799"/>
                    <a:pt x="2139839" y="4761398"/>
                    <a:pt x="2294839" y="4876803"/>
                  </a:cubicBezTo>
                  <a:lnTo>
                    <a:pt x="428625" y="4876803"/>
                  </a:lnTo>
                  <a:cubicBezTo>
                    <a:pt x="349720" y="4876803"/>
                    <a:pt x="285750" y="4812833"/>
                    <a:pt x="285750" y="4733928"/>
                  </a:cubicBezTo>
                  <a:lnTo>
                    <a:pt x="285750" y="4591053"/>
                  </a:lnTo>
                  <a:cubicBezTo>
                    <a:pt x="285750" y="4512148"/>
                    <a:pt x="349720" y="4448178"/>
                    <a:pt x="428625" y="4448178"/>
                  </a:cubicBezTo>
                  <a:close/>
                  <a:moveTo>
                    <a:pt x="142875" y="3733803"/>
                  </a:moveTo>
                  <a:lnTo>
                    <a:pt x="1714500" y="3733803"/>
                  </a:lnTo>
                  <a:cubicBezTo>
                    <a:pt x="1714500" y="3884107"/>
                    <a:pt x="1744218" y="4026249"/>
                    <a:pt x="1787452" y="4162428"/>
                  </a:cubicBezTo>
                  <a:lnTo>
                    <a:pt x="142875" y="4162428"/>
                  </a:lnTo>
                  <a:cubicBezTo>
                    <a:pt x="63970" y="4162428"/>
                    <a:pt x="0" y="4098458"/>
                    <a:pt x="0" y="4019553"/>
                  </a:cubicBezTo>
                  <a:lnTo>
                    <a:pt x="0" y="3876678"/>
                  </a:lnTo>
                  <a:cubicBezTo>
                    <a:pt x="0" y="3797773"/>
                    <a:pt x="63970" y="3733803"/>
                    <a:pt x="142875" y="3733803"/>
                  </a:cubicBezTo>
                  <a:close/>
                  <a:moveTo>
                    <a:pt x="428625" y="3019428"/>
                  </a:moveTo>
                  <a:lnTo>
                    <a:pt x="1913249" y="3019428"/>
                  </a:lnTo>
                  <a:cubicBezTo>
                    <a:pt x="1836249" y="3151435"/>
                    <a:pt x="1774841" y="3293672"/>
                    <a:pt x="1743380" y="3448053"/>
                  </a:cubicBezTo>
                  <a:lnTo>
                    <a:pt x="428625" y="3448053"/>
                  </a:lnTo>
                  <a:cubicBezTo>
                    <a:pt x="349720" y="3448053"/>
                    <a:pt x="285750" y="3384083"/>
                    <a:pt x="285750" y="3305178"/>
                  </a:cubicBezTo>
                  <a:lnTo>
                    <a:pt x="285750" y="3162303"/>
                  </a:lnTo>
                  <a:cubicBezTo>
                    <a:pt x="285750" y="3083398"/>
                    <a:pt x="349720" y="3019428"/>
                    <a:pt x="428625" y="3019428"/>
                  </a:cubicBezTo>
                  <a:close/>
                  <a:moveTo>
                    <a:pt x="3143202" y="3000368"/>
                  </a:moveTo>
                  <a:cubicBezTo>
                    <a:pt x="3064297" y="3000368"/>
                    <a:pt x="3000327" y="3064338"/>
                    <a:pt x="3000327" y="3143243"/>
                  </a:cubicBezTo>
                  <a:lnTo>
                    <a:pt x="3000327" y="3182515"/>
                  </a:lnTo>
                  <a:cubicBezTo>
                    <a:pt x="2967047" y="3191745"/>
                    <a:pt x="2934529" y="3204023"/>
                    <a:pt x="2903506" y="3219539"/>
                  </a:cubicBezTo>
                  <a:cubicBezTo>
                    <a:pt x="2772623" y="3284975"/>
                    <a:pt x="2697556" y="3394303"/>
                    <a:pt x="2697556" y="3519481"/>
                  </a:cubicBezTo>
                  <a:cubicBezTo>
                    <a:pt x="2697556" y="3644516"/>
                    <a:pt x="2756421" y="3742023"/>
                    <a:pt x="2867778" y="3801459"/>
                  </a:cubicBezTo>
                  <a:cubicBezTo>
                    <a:pt x="2944035" y="3842160"/>
                    <a:pt x="3032036" y="3858485"/>
                    <a:pt x="3117142" y="3874278"/>
                  </a:cubicBezTo>
                  <a:cubicBezTo>
                    <a:pt x="3180893" y="3886098"/>
                    <a:pt x="3246806" y="3898328"/>
                    <a:pt x="3284087" y="3918226"/>
                  </a:cubicBezTo>
                  <a:cubicBezTo>
                    <a:pt x="3303099" y="3928370"/>
                    <a:pt x="3303099" y="3931009"/>
                    <a:pt x="3303099" y="3948106"/>
                  </a:cubicBezTo>
                  <a:cubicBezTo>
                    <a:pt x="3303099" y="3957888"/>
                    <a:pt x="3286192" y="3976748"/>
                    <a:pt x="3254864" y="3992416"/>
                  </a:cubicBezTo>
                  <a:cubicBezTo>
                    <a:pt x="3176921" y="4031393"/>
                    <a:pt x="3067002" y="4028211"/>
                    <a:pt x="3009852" y="3985349"/>
                  </a:cubicBezTo>
                  <a:cubicBezTo>
                    <a:pt x="2946730" y="3938000"/>
                    <a:pt x="2857176" y="3950811"/>
                    <a:pt x="2809827" y="4013924"/>
                  </a:cubicBezTo>
                  <a:cubicBezTo>
                    <a:pt x="2762479" y="4077055"/>
                    <a:pt x="2775280" y="4166609"/>
                    <a:pt x="2838402" y="4213949"/>
                  </a:cubicBezTo>
                  <a:cubicBezTo>
                    <a:pt x="2885389" y="4249182"/>
                    <a:pt x="2940853" y="4274356"/>
                    <a:pt x="3000327" y="4289330"/>
                  </a:cubicBezTo>
                  <a:lnTo>
                    <a:pt x="3000327" y="4324343"/>
                  </a:lnTo>
                  <a:cubicBezTo>
                    <a:pt x="3000327" y="4403249"/>
                    <a:pt x="3064297" y="4467218"/>
                    <a:pt x="3143202" y="4467218"/>
                  </a:cubicBezTo>
                  <a:cubicBezTo>
                    <a:pt x="3222107" y="4467218"/>
                    <a:pt x="3286077" y="4403249"/>
                    <a:pt x="3286077" y="4324343"/>
                  </a:cubicBezTo>
                  <a:lnTo>
                    <a:pt x="3286077" y="4284862"/>
                  </a:lnTo>
                  <a:cubicBezTo>
                    <a:pt x="3319272" y="4275642"/>
                    <a:pt x="3351714" y="4263460"/>
                    <a:pt x="3382661" y="4247991"/>
                  </a:cubicBezTo>
                  <a:cubicBezTo>
                    <a:pt x="3513696" y="4182469"/>
                    <a:pt x="3588858" y="4073169"/>
                    <a:pt x="3588849" y="3948106"/>
                  </a:cubicBezTo>
                  <a:cubicBezTo>
                    <a:pt x="3588849" y="3823071"/>
                    <a:pt x="3529984" y="3725564"/>
                    <a:pt x="3418637" y="3666128"/>
                  </a:cubicBezTo>
                  <a:cubicBezTo>
                    <a:pt x="3342370" y="3625428"/>
                    <a:pt x="3254369" y="3609102"/>
                    <a:pt x="3169263" y="3593309"/>
                  </a:cubicBezTo>
                  <a:cubicBezTo>
                    <a:pt x="3105522" y="3581489"/>
                    <a:pt x="3039599" y="3569259"/>
                    <a:pt x="3002318" y="3549361"/>
                  </a:cubicBezTo>
                  <a:cubicBezTo>
                    <a:pt x="2983306" y="3539207"/>
                    <a:pt x="2983306" y="3536578"/>
                    <a:pt x="2983306" y="3519471"/>
                  </a:cubicBezTo>
                  <a:cubicBezTo>
                    <a:pt x="2983306" y="3509356"/>
                    <a:pt x="2999784" y="3490868"/>
                    <a:pt x="3031293" y="3475114"/>
                  </a:cubicBezTo>
                  <a:cubicBezTo>
                    <a:pt x="3109303" y="3436128"/>
                    <a:pt x="3219317" y="3439309"/>
                    <a:pt x="3276552" y="3482238"/>
                  </a:cubicBezTo>
                  <a:cubicBezTo>
                    <a:pt x="3339694" y="3529587"/>
                    <a:pt x="3429229" y="3516785"/>
                    <a:pt x="3476577" y="3453663"/>
                  </a:cubicBezTo>
                  <a:cubicBezTo>
                    <a:pt x="3523926" y="3390541"/>
                    <a:pt x="3511134" y="3300987"/>
                    <a:pt x="3448002" y="3253638"/>
                  </a:cubicBezTo>
                  <a:cubicBezTo>
                    <a:pt x="3401016" y="3218405"/>
                    <a:pt x="3345561" y="3193212"/>
                    <a:pt x="3286077" y="3178229"/>
                  </a:cubicBezTo>
                  <a:lnTo>
                    <a:pt x="3286077" y="3143243"/>
                  </a:lnTo>
                  <a:cubicBezTo>
                    <a:pt x="3286077" y="3064338"/>
                    <a:pt x="3222107" y="3000368"/>
                    <a:pt x="3143202" y="3000368"/>
                  </a:cubicBezTo>
                  <a:close/>
                  <a:moveTo>
                    <a:pt x="3143250" y="2590803"/>
                  </a:moveTo>
                  <a:cubicBezTo>
                    <a:pt x="3774519" y="2590803"/>
                    <a:pt x="4286250" y="3102534"/>
                    <a:pt x="4286250" y="3733803"/>
                  </a:cubicBezTo>
                  <a:cubicBezTo>
                    <a:pt x="4286250" y="4365053"/>
                    <a:pt x="3774519" y="4876803"/>
                    <a:pt x="3143250" y="4876803"/>
                  </a:cubicBezTo>
                  <a:cubicBezTo>
                    <a:pt x="2511981" y="4876803"/>
                    <a:pt x="2000250" y="4365053"/>
                    <a:pt x="2000250" y="3733803"/>
                  </a:cubicBezTo>
                  <a:cubicBezTo>
                    <a:pt x="2000250" y="3102534"/>
                    <a:pt x="2511981" y="2590803"/>
                    <a:pt x="3143250" y="2590803"/>
                  </a:cubicBezTo>
                  <a:close/>
                  <a:moveTo>
                    <a:pt x="142875" y="2305053"/>
                  </a:moveTo>
                  <a:lnTo>
                    <a:pt x="3143250" y="2305053"/>
                  </a:lnTo>
                  <a:cubicBezTo>
                    <a:pt x="2744867" y="2305053"/>
                    <a:pt x="2384870" y="2469750"/>
                    <a:pt x="2125494" y="2733678"/>
                  </a:cubicBezTo>
                  <a:lnTo>
                    <a:pt x="142875" y="2733678"/>
                  </a:lnTo>
                  <a:cubicBezTo>
                    <a:pt x="63970" y="2733678"/>
                    <a:pt x="0" y="2669708"/>
                    <a:pt x="0" y="2590803"/>
                  </a:cubicBezTo>
                  <a:lnTo>
                    <a:pt x="0" y="2447928"/>
                  </a:lnTo>
                  <a:cubicBezTo>
                    <a:pt x="0" y="2369023"/>
                    <a:pt x="63970" y="2305053"/>
                    <a:pt x="142875" y="2305053"/>
                  </a:cubicBezTo>
                  <a:close/>
                  <a:moveTo>
                    <a:pt x="714375" y="1590678"/>
                  </a:moveTo>
                  <a:lnTo>
                    <a:pt x="3286125" y="1590678"/>
                  </a:lnTo>
                  <a:cubicBezTo>
                    <a:pt x="3365030" y="1590678"/>
                    <a:pt x="3429000" y="1654648"/>
                    <a:pt x="3429000" y="1733553"/>
                  </a:cubicBezTo>
                  <a:lnTo>
                    <a:pt x="3429000" y="1876428"/>
                  </a:lnTo>
                  <a:cubicBezTo>
                    <a:pt x="3429000" y="1955333"/>
                    <a:pt x="3365030" y="2019303"/>
                    <a:pt x="3286125" y="2019303"/>
                  </a:cubicBezTo>
                  <a:lnTo>
                    <a:pt x="714375" y="2019303"/>
                  </a:lnTo>
                  <a:cubicBezTo>
                    <a:pt x="635470" y="2019303"/>
                    <a:pt x="571500" y="1955333"/>
                    <a:pt x="571500" y="1876428"/>
                  </a:cubicBezTo>
                  <a:lnTo>
                    <a:pt x="571500" y="1733553"/>
                  </a:lnTo>
                  <a:cubicBezTo>
                    <a:pt x="571500" y="1654648"/>
                    <a:pt x="635470" y="1590678"/>
                    <a:pt x="714375" y="1590678"/>
                  </a:cubicBezTo>
                  <a:close/>
                  <a:moveTo>
                    <a:pt x="1857370" y="0"/>
                  </a:moveTo>
                  <a:cubicBezTo>
                    <a:pt x="1893927" y="0"/>
                    <a:pt x="1930484" y="13952"/>
                    <a:pt x="1958387" y="41855"/>
                  </a:cubicBezTo>
                  <a:lnTo>
                    <a:pt x="2529887" y="622881"/>
                  </a:lnTo>
                  <a:cubicBezTo>
                    <a:pt x="2570768" y="663763"/>
                    <a:pt x="2583046" y="725161"/>
                    <a:pt x="2560862" y="778596"/>
                  </a:cubicBezTo>
                  <a:cubicBezTo>
                    <a:pt x="2538822" y="832041"/>
                    <a:pt x="2486634" y="866778"/>
                    <a:pt x="2428874" y="866778"/>
                  </a:cubicBezTo>
                  <a:lnTo>
                    <a:pt x="2285999" y="866778"/>
                  </a:lnTo>
                  <a:lnTo>
                    <a:pt x="2285999" y="1162052"/>
                  </a:lnTo>
                  <a:cubicBezTo>
                    <a:pt x="2285999" y="1241024"/>
                    <a:pt x="2222096" y="1304927"/>
                    <a:pt x="2143124" y="1304927"/>
                  </a:cubicBezTo>
                  <a:lnTo>
                    <a:pt x="1571624" y="1304927"/>
                  </a:lnTo>
                  <a:cubicBezTo>
                    <a:pt x="1492653" y="1304927"/>
                    <a:pt x="1428749" y="1241024"/>
                    <a:pt x="1428749" y="1162052"/>
                  </a:cubicBezTo>
                  <a:lnTo>
                    <a:pt x="1428749" y="866778"/>
                  </a:lnTo>
                  <a:lnTo>
                    <a:pt x="1285874" y="866778"/>
                  </a:lnTo>
                  <a:cubicBezTo>
                    <a:pt x="1228115" y="866778"/>
                    <a:pt x="1175927" y="832041"/>
                    <a:pt x="1153877" y="778596"/>
                  </a:cubicBezTo>
                  <a:cubicBezTo>
                    <a:pt x="1131693" y="725151"/>
                    <a:pt x="1143971" y="663763"/>
                    <a:pt x="1184852" y="622881"/>
                  </a:cubicBezTo>
                  <a:lnTo>
                    <a:pt x="1756352" y="41855"/>
                  </a:lnTo>
                  <a:cubicBezTo>
                    <a:pt x="1784256" y="13952"/>
                    <a:pt x="1820813" y="0"/>
                    <a:pt x="1857370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5F3B7D88-2A80-6B8A-0955-A7A8D71223F9}"/>
              </a:ext>
            </a:extLst>
          </p:cNvPr>
          <p:cNvSpPr txBox="1"/>
          <p:nvPr/>
        </p:nvSpPr>
        <p:spPr>
          <a:xfrm>
            <a:off x="6879216" y="2880893"/>
            <a:ext cx="4398384" cy="73866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en-CA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</a:rPr>
              <a:t>OAS Allowance benefits – for </a:t>
            </a:r>
            <a:r>
              <a:rPr kumimoji="0" lang="en-CA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</a:rPr>
              <a:t>2023, ESDC projected</a:t>
            </a:r>
            <a:r>
              <a:rPr lang="en-CA" sz="1400">
                <a:solidFill>
                  <a:srgbClr val="000000"/>
                </a:solidFill>
                <a:latin typeface="Aptos"/>
              </a:rPr>
              <a:t> </a:t>
            </a:r>
            <a:r>
              <a:rPr kumimoji="0" lang="en-C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</a:rPr>
              <a:t>19,000 beneficiaries </a:t>
            </a:r>
            <a:r>
              <a:rPr lang="en-CA" sz="1400" b="1">
                <a:latin typeface="Aptos"/>
              </a:rPr>
              <a:t>totalling</a:t>
            </a:r>
            <a:r>
              <a:rPr kumimoji="0" lang="en-CA" sz="1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tos"/>
              </a:rPr>
              <a:t> </a:t>
            </a:r>
            <a:r>
              <a:rPr kumimoji="0" lang="en-C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</a:rPr>
              <a:t>approximately $209M dollars in payments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27F55E8-C201-8854-5061-1A750B6504AB}"/>
              </a:ext>
            </a:extLst>
          </p:cNvPr>
          <p:cNvSpPr txBox="1"/>
          <p:nvPr/>
        </p:nvSpPr>
        <p:spPr>
          <a:xfrm>
            <a:off x="6889922" y="4257259"/>
            <a:ext cx="4387678" cy="174260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en-CA" sz="1400">
                <a:latin typeface="Aptos"/>
                <a:cs typeface="Arial"/>
              </a:rPr>
              <a:t>In fiscal year 2022 to 2023, </a:t>
            </a:r>
            <a:r>
              <a:rPr lang="en-CA" sz="1400" b="1">
                <a:latin typeface="Aptos"/>
                <a:cs typeface="Arial"/>
              </a:rPr>
              <a:t>1.2 million surviving spouses or common-law partners were paid $4.9 billion</a:t>
            </a:r>
            <a:r>
              <a:rPr lang="en-CA" sz="1400">
                <a:latin typeface="Aptos"/>
                <a:cs typeface="Arial"/>
              </a:rPr>
              <a:t> in survivor's pensions.</a:t>
            </a:r>
          </a:p>
          <a:p>
            <a:pPr>
              <a:defRPr/>
            </a:pPr>
            <a:endParaRPr lang="en-US" sz="1400">
              <a:latin typeface="Aptos"/>
              <a:cs typeface="Segoe UI"/>
            </a:endParaRPr>
          </a:p>
          <a:p>
            <a:pPr>
              <a:defRPr/>
            </a:pPr>
            <a:r>
              <a:rPr lang="en-US" sz="1400">
                <a:latin typeface="Aptos"/>
                <a:cs typeface="Segoe UI"/>
              </a:rPr>
              <a:t>In fiscal year 2023 to 2024, ESDC issued:</a:t>
            </a:r>
          </a:p>
          <a:p>
            <a:pPr marL="628650" lvl="1" indent="-171450">
              <a:buFont typeface="Courier New"/>
              <a:buChar char="o"/>
              <a:defRPr/>
            </a:pPr>
            <a:r>
              <a:rPr lang="en-US" sz="1400">
                <a:latin typeface="Aptos"/>
                <a:cs typeface="Arial"/>
              </a:rPr>
              <a:t>$5.4M CPP Survivor benefits </a:t>
            </a:r>
          </a:p>
          <a:p>
            <a:pPr marL="628650" lvl="1" indent="-171450">
              <a:buFont typeface="Courier New"/>
              <a:buChar char="o"/>
              <a:defRPr/>
            </a:pPr>
            <a:r>
              <a:rPr lang="en-US" sz="1400">
                <a:latin typeface="Aptos"/>
                <a:cs typeface="Arial"/>
              </a:rPr>
              <a:t>$246M Children’s benefits (orphan)</a:t>
            </a:r>
          </a:p>
          <a:p>
            <a:pPr marL="628650" lvl="1" indent="-171450">
              <a:buFont typeface="Courier New"/>
              <a:buChar char="o"/>
              <a:defRPr/>
            </a:pPr>
            <a:r>
              <a:rPr lang="en-US" sz="1400">
                <a:latin typeface="Aptos"/>
                <a:cs typeface="Arial"/>
              </a:rPr>
              <a:t>$493M CPP Death benefits</a:t>
            </a:r>
            <a:endParaRPr lang="en-CA" sz="1400">
              <a:solidFill>
                <a:srgbClr val="FF0000"/>
              </a:solidFill>
              <a:latin typeface="Aptos"/>
              <a:cs typeface="Arial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BE2BC1F-C912-C259-93CF-33326F809E40}"/>
              </a:ext>
            </a:extLst>
          </p:cNvPr>
          <p:cNvGrpSpPr/>
          <p:nvPr/>
        </p:nvGrpSpPr>
        <p:grpSpPr>
          <a:xfrm>
            <a:off x="5705801" y="4135123"/>
            <a:ext cx="968711" cy="991801"/>
            <a:chOff x="8034734" y="4178514"/>
            <a:chExt cx="968711" cy="991801"/>
          </a:xfrm>
        </p:grpSpPr>
        <p:sp>
          <p:nvSpPr>
            <p:cNvPr id="36" name="Google Shape;27925;p1791">
              <a:extLst>
                <a:ext uri="{FF2B5EF4-FFF2-40B4-BE49-F238E27FC236}">
                  <a16:creationId xmlns:a16="http://schemas.microsoft.com/office/drawing/2014/main" id="{5FEFD541-2295-4E46-56A1-B1200F61E2C5}"/>
                </a:ext>
              </a:extLst>
            </p:cNvPr>
            <p:cNvSpPr/>
            <p:nvPr/>
          </p:nvSpPr>
          <p:spPr>
            <a:xfrm>
              <a:off x="8034734" y="4178514"/>
              <a:ext cx="968711" cy="991801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solidFill>
                <a:srgbClr val="0098DC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800"/>
                <a:buFontTx/>
                <a:buNone/>
                <a:tabLst/>
                <a:defRPr/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 Nova Cond" panose="020B0506020202020204" pitchFamily="34" charset="0"/>
                <a:ea typeface="Arial"/>
                <a:cs typeface="Arial"/>
                <a:sym typeface="Arial"/>
              </a:endParaRPr>
            </a:p>
          </p:txBody>
        </p:sp>
        <p:pic>
          <p:nvPicPr>
            <p:cNvPr id="37" name="Graphic 36" descr="Flip calendar with solid fill">
              <a:extLst>
                <a:ext uri="{FF2B5EF4-FFF2-40B4-BE49-F238E27FC236}">
                  <a16:creationId xmlns:a16="http://schemas.microsoft.com/office/drawing/2014/main" id="{2EB7CDB7-EE22-F302-4941-A690E681AF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176861" y="4315067"/>
              <a:ext cx="712550" cy="7125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882415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1">
            <a:extLst>
              <a:ext uri="{FF2B5EF4-FFF2-40B4-BE49-F238E27FC236}">
                <a16:creationId xmlns:a16="http://schemas.microsoft.com/office/drawing/2014/main" id="{C4C907EE-3FDB-963E-FDAE-5DDA46FAC56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C6B7DB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7338BD45-58D6-1AB3-FE85-C77F8DCA35A7}"/>
              </a:ext>
            </a:extLst>
          </p:cNvPr>
          <p:cNvSpPr txBox="1"/>
          <p:nvPr/>
        </p:nvSpPr>
        <p:spPr>
          <a:xfrm rot="5400000">
            <a:off x="1104093" y="1154167"/>
            <a:ext cx="3604941" cy="488380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>
              <a:latin typeface="Aptos" panose="020B00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5D967D-4B2F-B90E-7A0E-851B31E6AEB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614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9BEA273-FCAC-1784-1C47-A45A0BB00EF8}"/>
              </a:ext>
            </a:extLst>
          </p:cNvPr>
          <p:cNvSpPr txBox="1">
            <a:spLocks/>
          </p:cNvSpPr>
          <p:nvPr/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AC3F618-7EE1-0849-8880-CB07A5842168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algn="r">
                <a:defRPr/>
              </a:pPr>
              <a:t>5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566ABCA-A80E-B1E4-519C-AEF5A2C87999}"/>
              </a:ext>
            </a:extLst>
          </p:cNvPr>
          <p:cNvSpPr txBox="1">
            <a:spLocks/>
          </p:cNvSpPr>
          <p:nvPr/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/>
              <a:t>Design of Losing a Loved One (LLO) Journey Lab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385375-A4B2-B1B0-DA14-03957E683164}"/>
              </a:ext>
            </a:extLst>
          </p:cNvPr>
          <p:cNvSpPr txBox="1"/>
          <p:nvPr/>
        </p:nvSpPr>
        <p:spPr>
          <a:xfrm>
            <a:off x="539036" y="2784398"/>
            <a:ext cx="1764557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CA" b="1">
                <a:solidFill>
                  <a:srgbClr val="61458C"/>
                </a:solidFill>
                <a:latin typeface="Aptos" panose="020B0004020202020204" pitchFamily="34" charset="0"/>
              </a:rPr>
              <a:t>Business valu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27DE3A-3FD0-471C-4753-6A6337437DC5}"/>
              </a:ext>
            </a:extLst>
          </p:cNvPr>
          <p:cNvSpPr txBox="1">
            <a:spLocks/>
          </p:cNvSpPr>
          <p:nvPr/>
        </p:nvSpPr>
        <p:spPr>
          <a:xfrm>
            <a:off x="2699660" y="2788371"/>
            <a:ext cx="2288752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CA" b="1">
                <a:solidFill>
                  <a:srgbClr val="61458C"/>
                </a:solidFill>
                <a:latin typeface="Aptos" panose="020B0004020202020204" pitchFamily="34" charset="0"/>
              </a:rPr>
              <a:t>Client and Employee experience</a:t>
            </a:r>
            <a:endParaRPr lang="en-US">
              <a:solidFill>
                <a:srgbClr val="61458C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90E690C-5CC9-6311-6872-E7B49FC44398}"/>
              </a:ext>
            </a:extLst>
          </p:cNvPr>
          <p:cNvGrpSpPr/>
          <p:nvPr/>
        </p:nvGrpSpPr>
        <p:grpSpPr>
          <a:xfrm>
            <a:off x="3235845" y="3309681"/>
            <a:ext cx="1140031" cy="1138497"/>
            <a:chOff x="4773881" y="1978845"/>
            <a:chExt cx="1140031" cy="1138497"/>
          </a:xfrm>
          <a:solidFill>
            <a:srgbClr val="61458C"/>
          </a:solidFill>
        </p:grpSpPr>
        <p:sp>
          <p:nvSpPr>
            <p:cNvPr id="13" name="Freeform 42">
              <a:extLst>
                <a:ext uri="{FF2B5EF4-FFF2-40B4-BE49-F238E27FC236}">
                  <a16:creationId xmlns:a16="http://schemas.microsoft.com/office/drawing/2014/main" id="{7BE119CD-63C5-A2A2-F09D-5468AA1660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3881" y="1978845"/>
              <a:ext cx="1140031" cy="1138497"/>
            </a:xfrm>
            <a:custGeom>
              <a:avLst/>
              <a:gdLst>
                <a:gd name="T0" fmla="*/ 2020 w 2048"/>
                <a:gd name="T1" fmla="*/ 25 h 2048"/>
                <a:gd name="T2" fmla="*/ 1959 w 2048"/>
                <a:gd name="T3" fmla="*/ 15 h 2048"/>
                <a:gd name="T4" fmla="*/ 1469 w 2048"/>
                <a:gd name="T5" fmla="*/ 174 h 2048"/>
                <a:gd name="T6" fmla="*/ 1050 w 2048"/>
                <a:gd name="T7" fmla="*/ 7 h 2048"/>
                <a:gd name="T8" fmla="*/ 999 w 2048"/>
                <a:gd name="T9" fmla="*/ 7 h 2048"/>
                <a:gd name="T10" fmla="*/ 579 w 2048"/>
                <a:gd name="T11" fmla="*/ 174 h 2048"/>
                <a:gd name="T12" fmla="*/ 89 w 2048"/>
                <a:gd name="T13" fmla="*/ 15 h 2048"/>
                <a:gd name="T14" fmla="*/ 28 w 2048"/>
                <a:gd name="T15" fmla="*/ 25 h 2048"/>
                <a:gd name="T16" fmla="*/ 0 w 2048"/>
                <a:gd name="T17" fmla="*/ 80 h 2048"/>
                <a:gd name="T18" fmla="*/ 0 w 2048"/>
                <a:gd name="T19" fmla="*/ 1538 h 2048"/>
                <a:gd name="T20" fmla="*/ 47 w 2048"/>
                <a:gd name="T21" fmla="*/ 1603 h 2048"/>
                <a:gd name="T22" fmla="*/ 558 w 2048"/>
                <a:gd name="T23" fmla="*/ 1768 h 2048"/>
                <a:gd name="T24" fmla="*/ 579 w 2048"/>
                <a:gd name="T25" fmla="*/ 1772 h 2048"/>
                <a:gd name="T26" fmla="*/ 604 w 2048"/>
                <a:gd name="T27" fmla="*/ 1767 h 2048"/>
                <a:gd name="T28" fmla="*/ 959 w 2048"/>
                <a:gd name="T29" fmla="*/ 1625 h 2048"/>
                <a:gd name="T30" fmla="*/ 1452 w 2048"/>
                <a:gd name="T31" fmla="*/ 2043 h 2048"/>
                <a:gd name="T32" fmla="*/ 1483 w 2048"/>
                <a:gd name="T33" fmla="*/ 2043 h 2048"/>
                <a:gd name="T34" fmla="*/ 2048 w 2048"/>
                <a:gd name="T35" fmla="*/ 1376 h 2048"/>
                <a:gd name="T36" fmla="*/ 2048 w 2048"/>
                <a:gd name="T37" fmla="*/ 80 h 2048"/>
                <a:gd name="T38" fmla="*/ 2020 w 2048"/>
                <a:gd name="T39" fmla="*/ 25 h 2048"/>
                <a:gd name="T40" fmla="*/ 1468 w 2048"/>
                <a:gd name="T41" fmla="*/ 1974 h 2048"/>
                <a:gd name="T42" fmla="*/ 956 w 2048"/>
                <a:gd name="T43" fmla="*/ 1376 h 2048"/>
                <a:gd name="T44" fmla="*/ 1195 w 2048"/>
                <a:gd name="T45" fmla="*/ 1091 h 2048"/>
                <a:gd name="T46" fmla="*/ 1439 w 2048"/>
                <a:gd name="T47" fmla="*/ 1219 h 2048"/>
                <a:gd name="T48" fmla="*/ 1468 w 2048"/>
                <a:gd name="T49" fmla="*/ 1235 h 2048"/>
                <a:gd name="T50" fmla="*/ 1496 w 2048"/>
                <a:gd name="T51" fmla="*/ 1219 h 2048"/>
                <a:gd name="T52" fmla="*/ 1741 w 2048"/>
                <a:gd name="T53" fmla="*/ 1091 h 2048"/>
                <a:gd name="T54" fmla="*/ 1980 w 2048"/>
                <a:gd name="T55" fmla="*/ 1376 h 2048"/>
                <a:gd name="T56" fmla="*/ 1468 w 2048"/>
                <a:gd name="T57" fmla="*/ 1974 h 2048"/>
                <a:gd name="T58" fmla="*/ 1741 w 2048"/>
                <a:gd name="T59" fmla="*/ 1023 h 2048"/>
                <a:gd name="T60" fmla="*/ 1468 w 2048"/>
                <a:gd name="T61" fmla="*/ 1146 h 2048"/>
                <a:gd name="T62" fmla="*/ 1195 w 2048"/>
                <a:gd name="T63" fmla="*/ 1023 h 2048"/>
                <a:gd name="T64" fmla="*/ 887 w 2048"/>
                <a:gd name="T65" fmla="*/ 1376 h 2048"/>
                <a:gd name="T66" fmla="*/ 929 w 2048"/>
                <a:gd name="T67" fmla="*/ 1564 h 2048"/>
                <a:gd name="T68" fmla="*/ 579 w 2048"/>
                <a:gd name="T69" fmla="*/ 1704 h 2048"/>
                <a:gd name="T70" fmla="*/ 68 w 2048"/>
                <a:gd name="T71" fmla="*/ 1538 h 2048"/>
                <a:gd name="T72" fmla="*/ 68 w 2048"/>
                <a:gd name="T73" fmla="*/ 80 h 2048"/>
                <a:gd name="T74" fmla="*/ 557 w 2048"/>
                <a:gd name="T75" fmla="*/ 238 h 2048"/>
                <a:gd name="T76" fmla="*/ 605 w 2048"/>
                <a:gd name="T77" fmla="*/ 237 h 2048"/>
                <a:gd name="T78" fmla="*/ 1024 w 2048"/>
                <a:gd name="T79" fmla="*/ 70 h 2048"/>
                <a:gd name="T80" fmla="*/ 1445 w 2048"/>
                <a:gd name="T81" fmla="*/ 238 h 2048"/>
                <a:gd name="T82" fmla="*/ 1490 w 2048"/>
                <a:gd name="T83" fmla="*/ 239 h 2048"/>
                <a:gd name="T84" fmla="*/ 1980 w 2048"/>
                <a:gd name="T85" fmla="*/ 80 h 2048"/>
                <a:gd name="T86" fmla="*/ 1980 w 2048"/>
                <a:gd name="T87" fmla="*/ 1152 h 2048"/>
                <a:gd name="T88" fmla="*/ 1741 w 2048"/>
                <a:gd name="T89" fmla="*/ 1023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48" h="2048">
                  <a:moveTo>
                    <a:pt x="2020" y="25"/>
                  </a:moveTo>
                  <a:cubicBezTo>
                    <a:pt x="2002" y="12"/>
                    <a:pt x="1979" y="8"/>
                    <a:pt x="1959" y="15"/>
                  </a:cubicBezTo>
                  <a:cubicBezTo>
                    <a:pt x="1469" y="174"/>
                    <a:pt x="1469" y="174"/>
                    <a:pt x="1469" y="174"/>
                  </a:cubicBezTo>
                  <a:cubicBezTo>
                    <a:pt x="1050" y="7"/>
                    <a:pt x="1050" y="7"/>
                    <a:pt x="1050" y="7"/>
                  </a:cubicBezTo>
                  <a:cubicBezTo>
                    <a:pt x="1034" y="0"/>
                    <a:pt x="1015" y="0"/>
                    <a:pt x="999" y="7"/>
                  </a:cubicBezTo>
                  <a:cubicBezTo>
                    <a:pt x="579" y="174"/>
                    <a:pt x="579" y="174"/>
                    <a:pt x="579" y="17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69" y="8"/>
                    <a:pt x="46" y="12"/>
                    <a:pt x="28" y="25"/>
                  </a:cubicBezTo>
                  <a:cubicBezTo>
                    <a:pt x="11" y="38"/>
                    <a:pt x="0" y="58"/>
                    <a:pt x="0" y="80"/>
                  </a:cubicBezTo>
                  <a:cubicBezTo>
                    <a:pt x="0" y="1538"/>
                    <a:pt x="0" y="1538"/>
                    <a:pt x="0" y="1538"/>
                  </a:cubicBezTo>
                  <a:cubicBezTo>
                    <a:pt x="0" y="1568"/>
                    <a:pt x="19" y="1594"/>
                    <a:pt x="47" y="1603"/>
                  </a:cubicBezTo>
                  <a:cubicBezTo>
                    <a:pt x="558" y="1768"/>
                    <a:pt x="558" y="1768"/>
                    <a:pt x="558" y="1768"/>
                  </a:cubicBezTo>
                  <a:cubicBezTo>
                    <a:pt x="565" y="1771"/>
                    <a:pt x="572" y="1772"/>
                    <a:pt x="579" y="1772"/>
                  </a:cubicBezTo>
                  <a:cubicBezTo>
                    <a:pt x="588" y="1772"/>
                    <a:pt x="596" y="1770"/>
                    <a:pt x="604" y="1767"/>
                  </a:cubicBezTo>
                  <a:cubicBezTo>
                    <a:pt x="959" y="1625"/>
                    <a:pt x="959" y="1625"/>
                    <a:pt x="959" y="1625"/>
                  </a:cubicBezTo>
                  <a:cubicBezTo>
                    <a:pt x="1033" y="1752"/>
                    <a:pt x="1177" y="1901"/>
                    <a:pt x="1452" y="2043"/>
                  </a:cubicBezTo>
                  <a:cubicBezTo>
                    <a:pt x="1462" y="2048"/>
                    <a:pt x="1474" y="2048"/>
                    <a:pt x="1483" y="2043"/>
                  </a:cubicBezTo>
                  <a:cubicBezTo>
                    <a:pt x="1975" y="1789"/>
                    <a:pt x="2048" y="1516"/>
                    <a:pt x="2048" y="1376"/>
                  </a:cubicBezTo>
                  <a:cubicBezTo>
                    <a:pt x="2048" y="80"/>
                    <a:pt x="2048" y="80"/>
                    <a:pt x="2048" y="80"/>
                  </a:cubicBezTo>
                  <a:cubicBezTo>
                    <a:pt x="2048" y="58"/>
                    <a:pt x="2037" y="38"/>
                    <a:pt x="2020" y="25"/>
                  </a:cubicBezTo>
                  <a:close/>
                  <a:moveTo>
                    <a:pt x="1468" y="1974"/>
                  </a:moveTo>
                  <a:cubicBezTo>
                    <a:pt x="1023" y="1739"/>
                    <a:pt x="956" y="1499"/>
                    <a:pt x="956" y="1376"/>
                  </a:cubicBezTo>
                  <a:cubicBezTo>
                    <a:pt x="956" y="1213"/>
                    <a:pt x="1058" y="1091"/>
                    <a:pt x="1195" y="1091"/>
                  </a:cubicBezTo>
                  <a:cubicBezTo>
                    <a:pt x="1292" y="1092"/>
                    <a:pt x="1383" y="1140"/>
                    <a:pt x="1439" y="1219"/>
                  </a:cubicBezTo>
                  <a:cubicBezTo>
                    <a:pt x="1445" y="1229"/>
                    <a:pt x="1456" y="1235"/>
                    <a:pt x="1468" y="1235"/>
                  </a:cubicBezTo>
                  <a:cubicBezTo>
                    <a:pt x="1479" y="1235"/>
                    <a:pt x="1490" y="1229"/>
                    <a:pt x="1496" y="1219"/>
                  </a:cubicBezTo>
                  <a:cubicBezTo>
                    <a:pt x="1553" y="1140"/>
                    <a:pt x="1644" y="1092"/>
                    <a:pt x="1741" y="1091"/>
                  </a:cubicBezTo>
                  <a:cubicBezTo>
                    <a:pt x="1877" y="1091"/>
                    <a:pt x="1980" y="1214"/>
                    <a:pt x="1980" y="1376"/>
                  </a:cubicBezTo>
                  <a:cubicBezTo>
                    <a:pt x="1980" y="1499"/>
                    <a:pt x="1913" y="1739"/>
                    <a:pt x="1468" y="1974"/>
                  </a:cubicBezTo>
                  <a:close/>
                  <a:moveTo>
                    <a:pt x="1741" y="1023"/>
                  </a:moveTo>
                  <a:cubicBezTo>
                    <a:pt x="1636" y="1023"/>
                    <a:pt x="1537" y="1068"/>
                    <a:pt x="1468" y="1146"/>
                  </a:cubicBezTo>
                  <a:cubicBezTo>
                    <a:pt x="1398" y="1068"/>
                    <a:pt x="1299" y="1023"/>
                    <a:pt x="1195" y="1023"/>
                  </a:cubicBezTo>
                  <a:cubicBezTo>
                    <a:pt x="1022" y="1023"/>
                    <a:pt x="887" y="1178"/>
                    <a:pt x="887" y="1376"/>
                  </a:cubicBezTo>
                  <a:cubicBezTo>
                    <a:pt x="888" y="1441"/>
                    <a:pt x="902" y="1505"/>
                    <a:pt x="929" y="1564"/>
                  </a:cubicBezTo>
                  <a:cubicBezTo>
                    <a:pt x="579" y="1704"/>
                    <a:pt x="579" y="1704"/>
                    <a:pt x="579" y="1704"/>
                  </a:cubicBezTo>
                  <a:cubicBezTo>
                    <a:pt x="68" y="1538"/>
                    <a:pt x="68" y="1538"/>
                    <a:pt x="68" y="1538"/>
                  </a:cubicBezTo>
                  <a:cubicBezTo>
                    <a:pt x="68" y="80"/>
                    <a:pt x="68" y="80"/>
                    <a:pt x="68" y="80"/>
                  </a:cubicBezTo>
                  <a:cubicBezTo>
                    <a:pt x="557" y="238"/>
                    <a:pt x="557" y="238"/>
                    <a:pt x="557" y="238"/>
                  </a:cubicBezTo>
                  <a:cubicBezTo>
                    <a:pt x="572" y="244"/>
                    <a:pt x="589" y="243"/>
                    <a:pt x="605" y="237"/>
                  </a:cubicBezTo>
                  <a:cubicBezTo>
                    <a:pt x="1024" y="70"/>
                    <a:pt x="1024" y="70"/>
                    <a:pt x="1024" y="70"/>
                  </a:cubicBezTo>
                  <a:cubicBezTo>
                    <a:pt x="1445" y="238"/>
                    <a:pt x="1445" y="238"/>
                    <a:pt x="1445" y="238"/>
                  </a:cubicBezTo>
                  <a:cubicBezTo>
                    <a:pt x="1459" y="243"/>
                    <a:pt x="1475" y="244"/>
                    <a:pt x="1490" y="239"/>
                  </a:cubicBezTo>
                  <a:cubicBezTo>
                    <a:pt x="1980" y="80"/>
                    <a:pt x="1980" y="80"/>
                    <a:pt x="1980" y="80"/>
                  </a:cubicBezTo>
                  <a:cubicBezTo>
                    <a:pt x="1980" y="1152"/>
                    <a:pt x="1980" y="1152"/>
                    <a:pt x="1980" y="1152"/>
                  </a:cubicBezTo>
                  <a:cubicBezTo>
                    <a:pt x="1926" y="1072"/>
                    <a:pt x="1837" y="1024"/>
                    <a:pt x="1741" y="10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1" name="Freeform 43">
              <a:extLst>
                <a:ext uri="{FF2B5EF4-FFF2-40B4-BE49-F238E27FC236}">
                  <a16:creationId xmlns:a16="http://schemas.microsoft.com/office/drawing/2014/main" id="{C87CE14A-6D77-4998-B596-F0E0FA01B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7735" y="2168082"/>
              <a:ext cx="37693" cy="436168"/>
            </a:xfrm>
            <a:custGeom>
              <a:avLst/>
              <a:gdLst>
                <a:gd name="T0" fmla="*/ 34 w 68"/>
                <a:gd name="T1" fmla="*/ 0 h 785"/>
                <a:gd name="T2" fmla="*/ 0 w 68"/>
                <a:gd name="T3" fmla="*/ 34 h 785"/>
                <a:gd name="T4" fmla="*/ 0 w 68"/>
                <a:gd name="T5" fmla="*/ 751 h 785"/>
                <a:gd name="T6" fmla="*/ 34 w 68"/>
                <a:gd name="T7" fmla="*/ 785 h 785"/>
                <a:gd name="T8" fmla="*/ 68 w 68"/>
                <a:gd name="T9" fmla="*/ 751 h 785"/>
                <a:gd name="T10" fmla="*/ 68 w 68"/>
                <a:gd name="T11" fmla="*/ 34 h 785"/>
                <a:gd name="T12" fmla="*/ 34 w 68"/>
                <a:gd name="T13" fmla="*/ 0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785">
                  <a:moveTo>
                    <a:pt x="34" y="0"/>
                  </a:moveTo>
                  <a:cubicBezTo>
                    <a:pt x="15" y="0"/>
                    <a:pt x="0" y="16"/>
                    <a:pt x="0" y="34"/>
                  </a:cubicBezTo>
                  <a:cubicBezTo>
                    <a:pt x="0" y="751"/>
                    <a:pt x="0" y="751"/>
                    <a:pt x="0" y="751"/>
                  </a:cubicBezTo>
                  <a:cubicBezTo>
                    <a:pt x="0" y="770"/>
                    <a:pt x="15" y="785"/>
                    <a:pt x="34" y="785"/>
                  </a:cubicBezTo>
                  <a:cubicBezTo>
                    <a:pt x="53" y="785"/>
                    <a:pt x="68" y="770"/>
                    <a:pt x="68" y="751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Freeform 44">
              <a:extLst>
                <a:ext uri="{FF2B5EF4-FFF2-40B4-BE49-F238E27FC236}">
                  <a16:creationId xmlns:a16="http://schemas.microsoft.com/office/drawing/2014/main" id="{A335AA1C-6FF0-8900-9FD1-8B5DA4113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7735" y="2661174"/>
              <a:ext cx="37693" cy="212314"/>
            </a:xfrm>
            <a:custGeom>
              <a:avLst/>
              <a:gdLst>
                <a:gd name="T0" fmla="*/ 34 w 68"/>
                <a:gd name="T1" fmla="*/ 0 h 382"/>
                <a:gd name="T2" fmla="*/ 0 w 68"/>
                <a:gd name="T3" fmla="*/ 34 h 382"/>
                <a:gd name="T4" fmla="*/ 0 w 68"/>
                <a:gd name="T5" fmla="*/ 347 h 382"/>
                <a:gd name="T6" fmla="*/ 34 w 68"/>
                <a:gd name="T7" fmla="*/ 382 h 382"/>
                <a:gd name="T8" fmla="*/ 68 w 68"/>
                <a:gd name="T9" fmla="*/ 347 h 382"/>
                <a:gd name="T10" fmla="*/ 68 w 68"/>
                <a:gd name="T11" fmla="*/ 34 h 382"/>
                <a:gd name="T12" fmla="*/ 34 w 68"/>
                <a:gd name="T13" fmla="*/ 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382">
                  <a:moveTo>
                    <a:pt x="34" y="0"/>
                  </a:moveTo>
                  <a:cubicBezTo>
                    <a:pt x="15" y="0"/>
                    <a:pt x="0" y="15"/>
                    <a:pt x="0" y="34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366"/>
                    <a:pt x="15" y="382"/>
                    <a:pt x="34" y="382"/>
                  </a:cubicBezTo>
                  <a:cubicBezTo>
                    <a:pt x="53" y="382"/>
                    <a:pt x="68" y="366"/>
                    <a:pt x="68" y="347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8" y="15"/>
                    <a:pt x="53" y="0"/>
                    <a:pt x="34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3" name="Freeform 45">
              <a:extLst>
                <a:ext uri="{FF2B5EF4-FFF2-40B4-BE49-F238E27FC236}">
                  <a16:creationId xmlns:a16="http://schemas.microsoft.com/office/drawing/2014/main" id="{131317E7-8C05-77FC-A944-02C9ED9C8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5434" y="2073463"/>
              <a:ext cx="37693" cy="436168"/>
            </a:xfrm>
            <a:custGeom>
              <a:avLst/>
              <a:gdLst>
                <a:gd name="T0" fmla="*/ 34 w 68"/>
                <a:gd name="T1" fmla="*/ 0 h 785"/>
                <a:gd name="T2" fmla="*/ 0 w 68"/>
                <a:gd name="T3" fmla="*/ 34 h 785"/>
                <a:gd name="T4" fmla="*/ 0 w 68"/>
                <a:gd name="T5" fmla="*/ 751 h 785"/>
                <a:gd name="T6" fmla="*/ 34 w 68"/>
                <a:gd name="T7" fmla="*/ 785 h 785"/>
                <a:gd name="T8" fmla="*/ 68 w 68"/>
                <a:gd name="T9" fmla="*/ 751 h 785"/>
                <a:gd name="T10" fmla="*/ 68 w 68"/>
                <a:gd name="T11" fmla="*/ 34 h 785"/>
                <a:gd name="T12" fmla="*/ 34 w 68"/>
                <a:gd name="T13" fmla="*/ 0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785">
                  <a:moveTo>
                    <a:pt x="34" y="0"/>
                  </a:moveTo>
                  <a:cubicBezTo>
                    <a:pt x="15" y="0"/>
                    <a:pt x="0" y="15"/>
                    <a:pt x="0" y="34"/>
                  </a:cubicBezTo>
                  <a:cubicBezTo>
                    <a:pt x="0" y="751"/>
                    <a:pt x="0" y="751"/>
                    <a:pt x="0" y="751"/>
                  </a:cubicBezTo>
                  <a:cubicBezTo>
                    <a:pt x="0" y="769"/>
                    <a:pt x="15" y="785"/>
                    <a:pt x="34" y="785"/>
                  </a:cubicBezTo>
                  <a:cubicBezTo>
                    <a:pt x="53" y="785"/>
                    <a:pt x="68" y="769"/>
                    <a:pt x="68" y="751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8" y="15"/>
                    <a:pt x="53" y="0"/>
                    <a:pt x="34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4" name="Freeform 46">
              <a:extLst>
                <a:ext uri="{FF2B5EF4-FFF2-40B4-BE49-F238E27FC236}">
                  <a16:creationId xmlns:a16="http://schemas.microsoft.com/office/drawing/2014/main" id="{ECEE4337-A2FD-0A94-0157-2F1FBDE39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2364" y="2168082"/>
              <a:ext cx="37693" cy="379243"/>
            </a:xfrm>
            <a:custGeom>
              <a:avLst/>
              <a:gdLst>
                <a:gd name="T0" fmla="*/ 34 w 68"/>
                <a:gd name="T1" fmla="*/ 0 h 683"/>
                <a:gd name="T2" fmla="*/ 0 w 68"/>
                <a:gd name="T3" fmla="*/ 34 h 683"/>
                <a:gd name="T4" fmla="*/ 0 w 68"/>
                <a:gd name="T5" fmla="*/ 649 h 683"/>
                <a:gd name="T6" fmla="*/ 34 w 68"/>
                <a:gd name="T7" fmla="*/ 683 h 683"/>
                <a:gd name="T8" fmla="*/ 68 w 68"/>
                <a:gd name="T9" fmla="*/ 649 h 683"/>
                <a:gd name="T10" fmla="*/ 68 w 68"/>
                <a:gd name="T11" fmla="*/ 34 h 683"/>
                <a:gd name="T12" fmla="*/ 34 w 68"/>
                <a:gd name="T13" fmla="*/ 0 h 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683">
                  <a:moveTo>
                    <a:pt x="34" y="0"/>
                  </a:moveTo>
                  <a:cubicBezTo>
                    <a:pt x="15" y="0"/>
                    <a:pt x="0" y="16"/>
                    <a:pt x="0" y="34"/>
                  </a:cubicBezTo>
                  <a:cubicBezTo>
                    <a:pt x="0" y="649"/>
                    <a:pt x="0" y="649"/>
                    <a:pt x="0" y="649"/>
                  </a:cubicBezTo>
                  <a:cubicBezTo>
                    <a:pt x="0" y="668"/>
                    <a:pt x="15" y="683"/>
                    <a:pt x="34" y="683"/>
                  </a:cubicBezTo>
                  <a:cubicBezTo>
                    <a:pt x="53" y="683"/>
                    <a:pt x="68" y="668"/>
                    <a:pt x="68" y="649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Freeform 47">
              <a:extLst>
                <a:ext uri="{FF2B5EF4-FFF2-40B4-BE49-F238E27FC236}">
                  <a16:creationId xmlns:a16="http://schemas.microsoft.com/office/drawing/2014/main" id="{4BE392B0-FBAF-34F4-7AB6-F53031C50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3896" y="2623480"/>
              <a:ext cx="114618" cy="139235"/>
            </a:xfrm>
            <a:custGeom>
              <a:avLst/>
              <a:gdLst>
                <a:gd name="T0" fmla="*/ 171 w 205"/>
                <a:gd name="T1" fmla="*/ 0 h 250"/>
                <a:gd name="T2" fmla="*/ 0 w 205"/>
                <a:gd name="T3" fmla="*/ 216 h 250"/>
                <a:gd name="T4" fmla="*/ 34 w 205"/>
                <a:gd name="T5" fmla="*/ 250 h 250"/>
                <a:gd name="T6" fmla="*/ 68 w 205"/>
                <a:gd name="T7" fmla="*/ 216 h 250"/>
                <a:gd name="T8" fmla="*/ 171 w 205"/>
                <a:gd name="T9" fmla="*/ 68 h 250"/>
                <a:gd name="T10" fmla="*/ 205 w 205"/>
                <a:gd name="T11" fmla="*/ 34 h 250"/>
                <a:gd name="T12" fmla="*/ 171 w 205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5" h="250">
                  <a:moveTo>
                    <a:pt x="171" y="0"/>
                  </a:moveTo>
                  <a:cubicBezTo>
                    <a:pt x="60" y="0"/>
                    <a:pt x="0" y="111"/>
                    <a:pt x="0" y="216"/>
                  </a:cubicBezTo>
                  <a:cubicBezTo>
                    <a:pt x="0" y="235"/>
                    <a:pt x="15" y="250"/>
                    <a:pt x="34" y="250"/>
                  </a:cubicBezTo>
                  <a:cubicBezTo>
                    <a:pt x="53" y="250"/>
                    <a:pt x="68" y="235"/>
                    <a:pt x="68" y="216"/>
                  </a:cubicBezTo>
                  <a:cubicBezTo>
                    <a:pt x="68" y="144"/>
                    <a:pt x="104" y="68"/>
                    <a:pt x="171" y="68"/>
                  </a:cubicBezTo>
                  <a:cubicBezTo>
                    <a:pt x="190" y="68"/>
                    <a:pt x="205" y="53"/>
                    <a:pt x="205" y="34"/>
                  </a:cubicBezTo>
                  <a:cubicBezTo>
                    <a:pt x="205" y="15"/>
                    <a:pt x="190" y="0"/>
                    <a:pt x="17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60CD128-F4BC-2BD5-713F-AA6A3FE0CFEA}"/>
              </a:ext>
            </a:extLst>
          </p:cNvPr>
          <p:cNvGrpSpPr/>
          <p:nvPr/>
        </p:nvGrpSpPr>
        <p:grpSpPr>
          <a:xfrm>
            <a:off x="771782" y="3125888"/>
            <a:ext cx="1211453" cy="1264998"/>
            <a:chOff x="554734" y="2035001"/>
            <a:chExt cx="1134677" cy="1138497"/>
          </a:xfrm>
          <a:solidFill>
            <a:srgbClr val="61458C"/>
          </a:solidFill>
        </p:grpSpPr>
        <p:sp>
          <p:nvSpPr>
            <p:cNvPr id="27" name="Freeform 49">
              <a:extLst>
                <a:ext uri="{FF2B5EF4-FFF2-40B4-BE49-F238E27FC236}">
                  <a16:creationId xmlns:a16="http://schemas.microsoft.com/office/drawing/2014/main" id="{BFE6CD75-4940-983D-28FD-C624C99CC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09" y="2565392"/>
              <a:ext cx="244810" cy="36914"/>
            </a:xfrm>
            <a:custGeom>
              <a:avLst/>
              <a:gdLst>
                <a:gd name="T0" fmla="*/ 0 w 443"/>
                <a:gd name="T1" fmla="*/ 34 h 68"/>
                <a:gd name="T2" fmla="*/ 34 w 443"/>
                <a:gd name="T3" fmla="*/ 68 h 68"/>
                <a:gd name="T4" fmla="*/ 409 w 443"/>
                <a:gd name="T5" fmla="*/ 68 h 68"/>
                <a:gd name="T6" fmla="*/ 443 w 443"/>
                <a:gd name="T7" fmla="*/ 34 h 68"/>
                <a:gd name="T8" fmla="*/ 409 w 443"/>
                <a:gd name="T9" fmla="*/ 0 h 68"/>
                <a:gd name="T10" fmla="*/ 34 w 443"/>
                <a:gd name="T11" fmla="*/ 0 h 68"/>
                <a:gd name="T12" fmla="*/ 0 w 443"/>
                <a:gd name="T13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3" h="68">
                  <a:moveTo>
                    <a:pt x="0" y="34"/>
                  </a:moveTo>
                  <a:cubicBezTo>
                    <a:pt x="0" y="53"/>
                    <a:pt x="15" y="68"/>
                    <a:pt x="34" y="68"/>
                  </a:cubicBezTo>
                  <a:cubicBezTo>
                    <a:pt x="409" y="68"/>
                    <a:pt x="409" y="68"/>
                    <a:pt x="409" y="68"/>
                  </a:cubicBezTo>
                  <a:cubicBezTo>
                    <a:pt x="428" y="68"/>
                    <a:pt x="443" y="53"/>
                    <a:pt x="443" y="34"/>
                  </a:cubicBezTo>
                  <a:cubicBezTo>
                    <a:pt x="443" y="15"/>
                    <a:pt x="428" y="0"/>
                    <a:pt x="40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Freeform 50">
              <a:extLst>
                <a:ext uri="{FF2B5EF4-FFF2-40B4-BE49-F238E27FC236}">
                  <a16:creationId xmlns:a16="http://schemas.microsoft.com/office/drawing/2014/main" id="{49DA70C9-26D1-A3F2-3AF0-69B3A639C5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09" y="2641163"/>
              <a:ext cx="132120" cy="36914"/>
            </a:xfrm>
            <a:custGeom>
              <a:avLst/>
              <a:gdLst>
                <a:gd name="T0" fmla="*/ 204 w 238"/>
                <a:gd name="T1" fmla="*/ 0 h 69"/>
                <a:gd name="T2" fmla="*/ 34 w 238"/>
                <a:gd name="T3" fmla="*/ 0 h 69"/>
                <a:gd name="T4" fmla="*/ 0 w 238"/>
                <a:gd name="T5" fmla="*/ 34 h 69"/>
                <a:gd name="T6" fmla="*/ 34 w 238"/>
                <a:gd name="T7" fmla="*/ 69 h 69"/>
                <a:gd name="T8" fmla="*/ 204 w 238"/>
                <a:gd name="T9" fmla="*/ 69 h 69"/>
                <a:gd name="T10" fmla="*/ 238 w 238"/>
                <a:gd name="T11" fmla="*/ 34 h 69"/>
                <a:gd name="T12" fmla="*/ 204 w 238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8" h="69">
                  <a:moveTo>
                    <a:pt x="204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9"/>
                    <a:pt x="34" y="69"/>
                  </a:cubicBezTo>
                  <a:cubicBezTo>
                    <a:pt x="204" y="69"/>
                    <a:pt x="204" y="69"/>
                    <a:pt x="204" y="69"/>
                  </a:cubicBezTo>
                  <a:cubicBezTo>
                    <a:pt x="223" y="69"/>
                    <a:pt x="238" y="53"/>
                    <a:pt x="238" y="34"/>
                  </a:cubicBezTo>
                  <a:cubicBezTo>
                    <a:pt x="238" y="16"/>
                    <a:pt x="223" y="0"/>
                    <a:pt x="20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Freeform 51">
              <a:extLst>
                <a:ext uri="{FF2B5EF4-FFF2-40B4-BE49-F238E27FC236}">
                  <a16:creationId xmlns:a16="http://schemas.microsoft.com/office/drawing/2014/main" id="{6EDD2EF7-64AC-1C04-E123-CAC87590E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3213" y="2602307"/>
              <a:ext cx="75775" cy="38857"/>
            </a:xfrm>
            <a:custGeom>
              <a:avLst/>
              <a:gdLst>
                <a:gd name="T0" fmla="*/ 102 w 136"/>
                <a:gd name="T1" fmla="*/ 68 h 68"/>
                <a:gd name="T2" fmla="*/ 136 w 136"/>
                <a:gd name="T3" fmla="*/ 34 h 68"/>
                <a:gd name="T4" fmla="*/ 102 w 136"/>
                <a:gd name="T5" fmla="*/ 0 h 68"/>
                <a:gd name="T6" fmla="*/ 34 w 136"/>
                <a:gd name="T7" fmla="*/ 0 h 68"/>
                <a:gd name="T8" fmla="*/ 0 w 136"/>
                <a:gd name="T9" fmla="*/ 34 h 68"/>
                <a:gd name="T10" fmla="*/ 34 w 136"/>
                <a:gd name="T11" fmla="*/ 68 h 68"/>
                <a:gd name="T12" fmla="*/ 102 w 136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68">
                  <a:moveTo>
                    <a:pt x="102" y="68"/>
                  </a:moveTo>
                  <a:cubicBezTo>
                    <a:pt x="121" y="68"/>
                    <a:pt x="136" y="53"/>
                    <a:pt x="136" y="34"/>
                  </a:cubicBezTo>
                  <a:cubicBezTo>
                    <a:pt x="136" y="15"/>
                    <a:pt x="121" y="0"/>
                    <a:pt x="10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lnTo>
                    <a:pt x="102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Freeform 52">
              <a:extLst>
                <a:ext uri="{FF2B5EF4-FFF2-40B4-BE49-F238E27FC236}">
                  <a16:creationId xmlns:a16="http://schemas.microsoft.com/office/drawing/2014/main" id="{7F7B7EAF-EE2F-A553-24B2-AD3B468FE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5904" y="2602307"/>
              <a:ext cx="75775" cy="38857"/>
            </a:xfrm>
            <a:custGeom>
              <a:avLst/>
              <a:gdLst>
                <a:gd name="T0" fmla="*/ 102 w 136"/>
                <a:gd name="T1" fmla="*/ 68 h 68"/>
                <a:gd name="T2" fmla="*/ 136 w 136"/>
                <a:gd name="T3" fmla="*/ 34 h 68"/>
                <a:gd name="T4" fmla="*/ 102 w 136"/>
                <a:gd name="T5" fmla="*/ 0 h 68"/>
                <a:gd name="T6" fmla="*/ 34 w 136"/>
                <a:gd name="T7" fmla="*/ 0 h 68"/>
                <a:gd name="T8" fmla="*/ 0 w 136"/>
                <a:gd name="T9" fmla="*/ 34 h 68"/>
                <a:gd name="T10" fmla="*/ 34 w 136"/>
                <a:gd name="T11" fmla="*/ 68 h 68"/>
                <a:gd name="T12" fmla="*/ 102 w 136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68">
                  <a:moveTo>
                    <a:pt x="102" y="68"/>
                  </a:moveTo>
                  <a:cubicBezTo>
                    <a:pt x="121" y="68"/>
                    <a:pt x="136" y="53"/>
                    <a:pt x="136" y="34"/>
                  </a:cubicBezTo>
                  <a:cubicBezTo>
                    <a:pt x="136" y="15"/>
                    <a:pt x="121" y="0"/>
                    <a:pt x="10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lnTo>
                    <a:pt x="102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1" name="Freeform 53">
              <a:extLst>
                <a:ext uri="{FF2B5EF4-FFF2-40B4-BE49-F238E27FC236}">
                  <a16:creationId xmlns:a16="http://schemas.microsoft.com/office/drawing/2014/main" id="{758FD91F-6DEF-AF53-A023-57D0153D6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0523" y="2602307"/>
              <a:ext cx="73832" cy="38857"/>
            </a:xfrm>
            <a:custGeom>
              <a:avLst/>
              <a:gdLst>
                <a:gd name="T0" fmla="*/ 102 w 136"/>
                <a:gd name="T1" fmla="*/ 68 h 68"/>
                <a:gd name="T2" fmla="*/ 136 w 136"/>
                <a:gd name="T3" fmla="*/ 34 h 68"/>
                <a:gd name="T4" fmla="*/ 102 w 136"/>
                <a:gd name="T5" fmla="*/ 0 h 68"/>
                <a:gd name="T6" fmla="*/ 34 w 136"/>
                <a:gd name="T7" fmla="*/ 0 h 68"/>
                <a:gd name="T8" fmla="*/ 0 w 136"/>
                <a:gd name="T9" fmla="*/ 34 h 68"/>
                <a:gd name="T10" fmla="*/ 34 w 136"/>
                <a:gd name="T11" fmla="*/ 68 h 68"/>
                <a:gd name="T12" fmla="*/ 102 w 136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68">
                  <a:moveTo>
                    <a:pt x="102" y="68"/>
                  </a:moveTo>
                  <a:cubicBezTo>
                    <a:pt x="121" y="68"/>
                    <a:pt x="136" y="53"/>
                    <a:pt x="136" y="34"/>
                  </a:cubicBezTo>
                  <a:cubicBezTo>
                    <a:pt x="136" y="15"/>
                    <a:pt x="121" y="0"/>
                    <a:pt x="10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lnTo>
                    <a:pt x="102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2" name="Freeform 54">
              <a:extLst>
                <a:ext uri="{FF2B5EF4-FFF2-40B4-BE49-F238E27FC236}">
                  <a16:creationId xmlns:a16="http://schemas.microsoft.com/office/drawing/2014/main" id="{10982826-1D23-E1CC-0AED-DB30E8FDF3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734" y="2035001"/>
              <a:ext cx="1134677" cy="1138497"/>
            </a:xfrm>
            <a:custGeom>
              <a:avLst/>
              <a:gdLst>
                <a:gd name="T0" fmla="*/ 1570 w 2051"/>
                <a:gd name="T1" fmla="*/ 73 h 2062"/>
                <a:gd name="T2" fmla="*/ 1321 w 2051"/>
                <a:gd name="T3" fmla="*/ 137 h 2062"/>
                <a:gd name="T4" fmla="*/ 759 w 2051"/>
                <a:gd name="T5" fmla="*/ 114 h 2062"/>
                <a:gd name="T6" fmla="*/ 705 w 2051"/>
                <a:gd name="T7" fmla="*/ 184 h 2062"/>
                <a:gd name="T8" fmla="*/ 478 w 2051"/>
                <a:gd name="T9" fmla="*/ 107 h 2062"/>
                <a:gd name="T10" fmla="*/ 68 w 2051"/>
                <a:gd name="T11" fmla="*/ 5 h 2062"/>
                <a:gd name="T12" fmla="*/ 68 w 2051"/>
                <a:gd name="T13" fmla="*/ 278 h 2062"/>
                <a:gd name="T14" fmla="*/ 478 w 2051"/>
                <a:gd name="T15" fmla="*/ 176 h 2062"/>
                <a:gd name="T16" fmla="*/ 673 w 2051"/>
                <a:gd name="T17" fmla="*/ 248 h 2062"/>
                <a:gd name="T18" fmla="*/ 307 w 2051"/>
                <a:gd name="T19" fmla="*/ 449 h 2062"/>
                <a:gd name="T20" fmla="*/ 0 w 2051"/>
                <a:gd name="T21" fmla="*/ 892 h 2062"/>
                <a:gd name="T22" fmla="*/ 649 w 2051"/>
                <a:gd name="T23" fmla="*/ 1302 h 2062"/>
                <a:gd name="T24" fmla="*/ 649 w 2051"/>
                <a:gd name="T25" fmla="*/ 824 h 2062"/>
                <a:gd name="T26" fmla="*/ 410 w 2051"/>
                <a:gd name="T27" fmla="*/ 415 h 2062"/>
                <a:gd name="T28" fmla="*/ 1398 w 2051"/>
                <a:gd name="T29" fmla="*/ 415 h 2062"/>
                <a:gd name="T30" fmla="*/ 1707 w 2051"/>
                <a:gd name="T31" fmla="*/ 743 h 2062"/>
                <a:gd name="T32" fmla="*/ 1365 w 2051"/>
                <a:gd name="T33" fmla="*/ 1063 h 2062"/>
                <a:gd name="T34" fmla="*/ 1707 w 2051"/>
                <a:gd name="T35" fmla="*/ 1383 h 2062"/>
                <a:gd name="T36" fmla="*/ 1329 w 2051"/>
                <a:gd name="T37" fmla="*/ 1712 h 2062"/>
                <a:gd name="T38" fmla="*/ 1007 w 2051"/>
                <a:gd name="T39" fmla="*/ 2053 h 2062"/>
                <a:gd name="T40" fmla="*/ 1775 w 2051"/>
                <a:gd name="T41" fmla="*/ 1678 h 2062"/>
                <a:gd name="T42" fmla="*/ 2039 w 2051"/>
                <a:gd name="T43" fmla="*/ 1040 h 2062"/>
                <a:gd name="T44" fmla="*/ 1673 w 2051"/>
                <a:gd name="T45" fmla="*/ 346 h 2062"/>
                <a:gd name="T46" fmla="*/ 1369 w 2051"/>
                <a:gd name="T47" fmla="*/ 186 h 2062"/>
                <a:gd name="T48" fmla="*/ 1570 w 2051"/>
                <a:gd name="T49" fmla="*/ 210 h 2062"/>
                <a:gd name="T50" fmla="*/ 2048 w 2051"/>
                <a:gd name="T51" fmla="*/ 210 h 2062"/>
                <a:gd name="T52" fmla="*/ 68 w 2051"/>
                <a:gd name="T53" fmla="*/ 210 h 2062"/>
                <a:gd name="T54" fmla="*/ 410 w 2051"/>
                <a:gd name="T55" fmla="*/ 141 h 2062"/>
                <a:gd name="T56" fmla="*/ 410 w 2051"/>
                <a:gd name="T57" fmla="*/ 210 h 2062"/>
                <a:gd name="T58" fmla="*/ 68 w 2051"/>
                <a:gd name="T59" fmla="*/ 1234 h 2062"/>
                <a:gd name="T60" fmla="*/ 649 w 2051"/>
                <a:gd name="T61" fmla="*/ 1234 h 2062"/>
                <a:gd name="T62" fmla="*/ 855 w 2051"/>
                <a:gd name="T63" fmla="*/ 1577 h 2062"/>
                <a:gd name="T64" fmla="*/ 1024 w 2051"/>
                <a:gd name="T65" fmla="*/ 1985 h 2062"/>
                <a:gd name="T66" fmla="*/ 1741 w 2051"/>
                <a:gd name="T67" fmla="*/ 807 h 2062"/>
                <a:gd name="T68" fmla="*/ 784 w 2051"/>
                <a:gd name="T69" fmla="*/ 189 h 2062"/>
                <a:gd name="T70" fmla="*/ 727 w 2051"/>
                <a:gd name="T71" fmla="*/ 302 h 2062"/>
                <a:gd name="T72" fmla="*/ 754 w 2051"/>
                <a:gd name="T73" fmla="*/ 233 h 2062"/>
                <a:gd name="T74" fmla="*/ 1010 w 2051"/>
                <a:gd name="T75" fmla="*/ 415 h 2062"/>
                <a:gd name="T76" fmla="*/ 719 w 2051"/>
                <a:gd name="T77" fmla="*/ 415 h 2062"/>
                <a:gd name="T78" fmla="*/ 832 w 2051"/>
                <a:gd name="T79" fmla="*/ 141 h 2062"/>
                <a:gd name="T80" fmla="*/ 1205 w 2051"/>
                <a:gd name="T81" fmla="*/ 254 h 2062"/>
                <a:gd name="T82" fmla="*/ 1253 w 2051"/>
                <a:gd name="T83" fmla="*/ 302 h 2062"/>
                <a:gd name="T84" fmla="*/ 1980 w 2051"/>
                <a:gd name="T85" fmla="*/ 210 h 2062"/>
                <a:gd name="T86" fmla="*/ 1980 w 2051"/>
                <a:gd name="T87" fmla="*/ 73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51" h="2062">
                  <a:moveTo>
                    <a:pt x="1980" y="5"/>
                  </a:moveTo>
                  <a:cubicBezTo>
                    <a:pt x="1638" y="5"/>
                    <a:pt x="1638" y="5"/>
                    <a:pt x="1638" y="5"/>
                  </a:cubicBezTo>
                  <a:cubicBezTo>
                    <a:pt x="1601" y="5"/>
                    <a:pt x="1570" y="36"/>
                    <a:pt x="1570" y="73"/>
                  </a:cubicBezTo>
                  <a:cubicBezTo>
                    <a:pt x="1570" y="107"/>
                    <a:pt x="1570" y="107"/>
                    <a:pt x="1570" y="107"/>
                  </a:cubicBezTo>
                  <a:cubicBezTo>
                    <a:pt x="1394" y="107"/>
                    <a:pt x="1394" y="107"/>
                    <a:pt x="1394" y="107"/>
                  </a:cubicBezTo>
                  <a:cubicBezTo>
                    <a:pt x="1366" y="107"/>
                    <a:pt x="1340" y="118"/>
                    <a:pt x="1321" y="137"/>
                  </a:cubicBezTo>
                  <a:cubicBezTo>
                    <a:pt x="1315" y="144"/>
                    <a:pt x="1315" y="144"/>
                    <a:pt x="1315" y="144"/>
                  </a:cubicBezTo>
                  <a:cubicBezTo>
                    <a:pt x="1248" y="61"/>
                    <a:pt x="1150" y="11"/>
                    <a:pt x="1044" y="6"/>
                  </a:cubicBezTo>
                  <a:cubicBezTo>
                    <a:pt x="938" y="0"/>
                    <a:pt x="835" y="39"/>
                    <a:pt x="759" y="114"/>
                  </a:cubicBezTo>
                  <a:cubicBezTo>
                    <a:pt x="759" y="115"/>
                    <a:pt x="759" y="115"/>
                    <a:pt x="759" y="115"/>
                  </a:cubicBezTo>
                  <a:cubicBezTo>
                    <a:pt x="758" y="115"/>
                    <a:pt x="758" y="116"/>
                    <a:pt x="758" y="116"/>
                  </a:cubicBezTo>
                  <a:cubicBezTo>
                    <a:pt x="738" y="136"/>
                    <a:pt x="720" y="159"/>
                    <a:pt x="705" y="184"/>
                  </a:cubicBezTo>
                  <a:cubicBezTo>
                    <a:pt x="659" y="137"/>
                    <a:pt x="659" y="137"/>
                    <a:pt x="659" y="137"/>
                  </a:cubicBezTo>
                  <a:cubicBezTo>
                    <a:pt x="639" y="118"/>
                    <a:pt x="613" y="107"/>
                    <a:pt x="586" y="107"/>
                  </a:cubicBezTo>
                  <a:cubicBezTo>
                    <a:pt x="478" y="107"/>
                    <a:pt x="478" y="107"/>
                    <a:pt x="478" y="107"/>
                  </a:cubicBezTo>
                  <a:cubicBezTo>
                    <a:pt x="478" y="73"/>
                    <a:pt x="478" y="73"/>
                    <a:pt x="478" y="73"/>
                  </a:cubicBezTo>
                  <a:cubicBezTo>
                    <a:pt x="478" y="36"/>
                    <a:pt x="447" y="5"/>
                    <a:pt x="410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31" y="5"/>
                    <a:pt x="0" y="36"/>
                    <a:pt x="0" y="73"/>
                  </a:cubicBezTo>
                  <a:cubicBezTo>
                    <a:pt x="0" y="210"/>
                    <a:pt x="0" y="210"/>
                    <a:pt x="0" y="210"/>
                  </a:cubicBezTo>
                  <a:cubicBezTo>
                    <a:pt x="0" y="247"/>
                    <a:pt x="31" y="278"/>
                    <a:pt x="68" y="278"/>
                  </a:cubicBezTo>
                  <a:cubicBezTo>
                    <a:pt x="410" y="278"/>
                    <a:pt x="410" y="278"/>
                    <a:pt x="410" y="278"/>
                  </a:cubicBezTo>
                  <a:cubicBezTo>
                    <a:pt x="447" y="278"/>
                    <a:pt x="478" y="247"/>
                    <a:pt x="478" y="210"/>
                  </a:cubicBezTo>
                  <a:cubicBezTo>
                    <a:pt x="478" y="176"/>
                    <a:pt x="478" y="176"/>
                    <a:pt x="478" y="176"/>
                  </a:cubicBezTo>
                  <a:cubicBezTo>
                    <a:pt x="586" y="176"/>
                    <a:pt x="586" y="176"/>
                    <a:pt x="586" y="176"/>
                  </a:cubicBezTo>
                  <a:cubicBezTo>
                    <a:pt x="595" y="176"/>
                    <a:pt x="604" y="179"/>
                    <a:pt x="610" y="186"/>
                  </a:cubicBezTo>
                  <a:cubicBezTo>
                    <a:pt x="673" y="248"/>
                    <a:pt x="673" y="248"/>
                    <a:pt x="673" y="248"/>
                  </a:cubicBezTo>
                  <a:cubicBezTo>
                    <a:pt x="661" y="280"/>
                    <a:pt x="653" y="313"/>
                    <a:pt x="650" y="346"/>
                  </a:cubicBezTo>
                  <a:cubicBezTo>
                    <a:pt x="410" y="346"/>
                    <a:pt x="410" y="346"/>
                    <a:pt x="410" y="346"/>
                  </a:cubicBezTo>
                  <a:cubicBezTo>
                    <a:pt x="353" y="346"/>
                    <a:pt x="307" y="392"/>
                    <a:pt x="307" y="449"/>
                  </a:cubicBezTo>
                  <a:cubicBezTo>
                    <a:pt x="307" y="824"/>
                    <a:pt x="307" y="824"/>
                    <a:pt x="307" y="824"/>
                  </a:cubicBezTo>
                  <a:cubicBezTo>
                    <a:pt x="68" y="824"/>
                    <a:pt x="68" y="824"/>
                    <a:pt x="68" y="824"/>
                  </a:cubicBezTo>
                  <a:cubicBezTo>
                    <a:pt x="31" y="824"/>
                    <a:pt x="0" y="855"/>
                    <a:pt x="0" y="892"/>
                  </a:cubicBezTo>
                  <a:cubicBezTo>
                    <a:pt x="0" y="1234"/>
                    <a:pt x="0" y="1234"/>
                    <a:pt x="0" y="1234"/>
                  </a:cubicBezTo>
                  <a:cubicBezTo>
                    <a:pt x="0" y="1271"/>
                    <a:pt x="31" y="1302"/>
                    <a:pt x="68" y="1302"/>
                  </a:cubicBezTo>
                  <a:cubicBezTo>
                    <a:pt x="649" y="1302"/>
                    <a:pt x="649" y="1302"/>
                    <a:pt x="649" y="1302"/>
                  </a:cubicBezTo>
                  <a:cubicBezTo>
                    <a:pt x="686" y="1302"/>
                    <a:pt x="717" y="1271"/>
                    <a:pt x="717" y="1234"/>
                  </a:cubicBezTo>
                  <a:cubicBezTo>
                    <a:pt x="717" y="892"/>
                    <a:pt x="717" y="892"/>
                    <a:pt x="717" y="892"/>
                  </a:cubicBezTo>
                  <a:cubicBezTo>
                    <a:pt x="717" y="855"/>
                    <a:pt x="686" y="824"/>
                    <a:pt x="649" y="824"/>
                  </a:cubicBezTo>
                  <a:cubicBezTo>
                    <a:pt x="375" y="824"/>
                    <a:pt x="375" y="824"/>
                    <a:pt x="375" y="824"/>
                  </a:cubicBezTo>
                  <a:cubicBezTo>
                    <a:pt x="375" y="449"/>
                    <a:pt x="375" y="449"/>
                    <a:pt x="375" y="449"/>
                  </a:cubicBezTo>
                  <a:cubicBezTo>
                    <a:pt x="375" y="430"/>
                    <a:pt x="391" y="415"/>
                    <a:pt x="410" y="415"/>
                  </a:cubicBezTo>
                  <a:cubicBezTo>
                    <a:pt x="650" y="415"/>
                    <a:pt x="650" y="415"/>
                    <a:pt x="650" y="415"/>
                  </a:cubicBezTo>
                  <a:cubicBezTo>
                    <a:pt x="668" y="608"/>
                    <a:pt x="830" y="756"/>
                    <a:pt x="1024" y="756"/>
                  </a:cubicBezTo>
                  <a:cubicBezTo>
                    <a:pt x="1218" y="756"/>
                    <a:pt x="1380" y="608"/>
                    <a:pt x="1398" y="415"/>
                  </a:cubicBezTo>
                  <a:cubicBezTo>
                    <a:pt x="1673" y="415"/>
                    <a:pt x="1673" y="415"/>
                    <a:pt x="1673" y="415"/>
                  </a:cubicBezTo>
                  <a:cubicBezTo>
                    <a:pt x="1691" y="415"/>
                    <a:pt x="1707" y="430"/>
                    <a:pt x="1707" y="449"/>
                  </a:cubicBezTo>
                  <a:cubicBezTo>
                    <a:pt x="1707" y="743"/>
                    <a:pt x="1707" y="743"/>
                    <a:pt x="1707" y="743"/>
                  </a:cubicBezTo>
                  <a:cubicBezTo>
                    <a:pt x="1452" y="1029"/>
                    <a:pt x="1452" y="1029"/>
                    <a:pt x="1452" y="1029"/>
                  </a:cubicBezTo>
                  <a:cubicBezTo>
                    <a:pt x="1399" y="1029"/>
                    <a:pt x="1399" y="1029"/>
                    <a:pt x="1399" y="1029"/>
                  </a:cubicBezTo>
                  <a:cubicBezTo>
                    <a:pt x="1381" y="1029"/>
                    <a:pt x="1365" y="1044"/>
                    <a:pt x="1365" y="1063"/>
                  </a:cubicBezTo>
                  <a:cubicBezTo>
                    <a:pt x="1365" y="1082"/>
                    <a:pt x="1381" y="1097"/>
                    <a:pt x="1399" y="1097"/>
                  </a:cubicBezTo>
                  <a:cubicBezTo>
                    <a:pt x="1452" y="1097"/>
                    <a:pt x="1452" y="1097"/>
                    <a:pt x="1452" y="1097"/>
                  </a:cubicBezTo>
                  <a:cubicBezTo>
                    <a:pt x="1707" y="1383"/>
                    <a:pt x="1707" y="1383"/>
                    <a:pt x="1707" y="1383"/>
                  </a:cubicBezTo>
                  <a:cubicBezTo>
                    <a:pt x="1707" y="1678"/>
                    <a:pt x="1707" y="1678"/>
                    <a:pt x="1707" y="1678"/>
                  </a:cubicBezTo>
                  <a:cubicBezTo>
                    <a:pt x="1707" y="1696"/>
                    <a:pt x="1691" y="1712"/>
                    <a:pt x="1673" y="1712"/>
                  </a:cubicBezTo>
                  <a:cubicBezTo>
                    <a:pt x="1329" y="1712"/>
                    <a:pt x="1329" y="1712"/>
                    <a:pt x="1329" y="1712"/>
                  </a:cubicBezTo>
                  <a:cubicBezTo>
                    <a:pt x="1311" y="1550"/>
                    <a:pt x="1170" y="1430"/>
                    <a:pt x="1007" y="1439"/>
                  </a:cubicBezTo>
                  <a:cubicBezTo>
                    <a:pt x="844" y="1448"/>
                    <a:pt x="717" y="1583"/>
                    <a:pt x="717" y="1746"/>
                  </a:cubicBezTo>
                  <a:cubicBezTo>
                    <a:pt x="717" y="1909"/>
                    <a:pt x="844" y="2043"/>
                    <a:pt x="1007" y="2053"/>
                  </a:cubicBezTo>
                  <a:cubicBezTo>
                    <a:pt x="1170" y="2062"/>
                    <a:pt x="1311" y="1942"/>
                    <a:pt x="1329" y="1780"/>
                  </a:cubicBezTo>
                  <a:cubicBezTo>
                    <a:pt x="1673" y="1780"/>
                    <a:pt x="1673" y="1780"/>
                    <a:pt x="1673" y="1780"/>
                  </a:cubicBezTo>
                  <a:cubicBezTo>
                    <a:pt x="1729" y="1780"/>
                    <a:pt x="1775" y="1734"/>
                    <a:pt x="1775" y="1678"/>
                  </a:cubicBezTo>
                  <a:cubicBezTo>
                    <a:pt x="1775" y="1383"/>
                    <a:pt x="1775" y="1383"/>
                    <a:pt x="1775" y="1383"/>
                  </a:cubicBezTo>
                  <a:cubicBezTo>
                    <a:pt x="2039" y="1086"/>
                    <a:pt x="2039" y="1086"/>
                    <a:pt x="2039" y="1086"/>
                  </a:cubicBezTo>
                  <a:cubicBezTo>
                    <a:pt x="2051" y="1073"/>
                    <a:pt x="2051" y="1053"/>
                    <a:pt x="2039" y="1040"/>
                  </a:cubicBezTo>
                  <a:cubicBezTo>
                    <a:pt x="1775" y="743"/>
                    <a:pt x="1775" y="743"/>
                    <a:pt x="1775" y="743"/>
                  </a:cubicBezTo>
                  <a:cubicBezTo>
                    <a:pt x="1775" y="449"/>
                    <a:pt x="1775" y="449"/>
                    <a:pt x="1775" y="449"/>
                  </a:cubicBezTo>
                  <a:cubicBezTo>
                    <a:pt x="1775" y="392"/>
                    <a:pt x="1729" y="346"/>
                    <a:pt x="1673" y="346"/>
                  </a:cubicBezTo>
                  <a:cubicBezTo>
                    <a:pt x="1398" y="346"/>
                    <a:pt x="1398" y="346"/>
                    <a:pt x="1398" y="346"/>
                  </a:cubicBezTo>
                  <a:cubicBezTo>
                    <a:pt x="1393" y="295"/>
                    <a:pt x="1378" y="246"/>
                    <a:pt x="1354" y="201"/>
                  </a:cubicBezTo>
                  <a:cubicBezTo>
                    <a:pt x="1369" y="186"/>
                    <a:pt x="1369" y="186"/>
                    <a:pt x="1369" y="186"/>
                  </a:cubicBezTo>
                  <a:cubicBezTo>
                    <a:pt x="1376" y="179"/>
                    <a:pt x="1385" y="176"/>
                    <a:pt x="1394" y="176"/>
                  </a:cubicBezTo>
                  <a:cubicBezTo>
                    <a:pt x="1570" y="176"/>
                    <a:pt x="1570" y="176"/>
                    <a:pt x="1570" y="176"/>
                  </a:cubicBezTo>
                  <a:cubicBezTo>
                    <a:pt x="1570" y="210"/>
                    <a:pt x="1570" y="210"/>
                    <a:pt x="1570" y="210"/>
                  </a:cubicBezTo>
                  <a:cubicBezTo>
                    <a:pt x="1570" y="247"/>
                    <a:pt x="1601" y="278"/>
                    <a:pt x="1638" y="278"/>
                  </a:cubicBezTo>
                  <a:cubicBezTo>
                    <a:pt x="1980" y="278"/>
                    <a:pt x="1980" y="278"/>
                    <a:pt x="1980" y="278"/>
                  </a:cubicBezTo>
                  <a:cubicBezTo>
                    <a:pt x="2017" y="278"/>
                    <a:pt x="2048" y="247"/>
                    <a:pt x="2048" y="210"/>
                  </a:cubicBezTo>
                  <a:cubicBezTo>
                    <a:pt x="2048" y="73"/>
                    <a:pt x="2048" y="73"/>
                    <a:pt x="2048" y="73"/>
                  </a:cubicBezTo>
                  <a:cubicBezTo>
                    <a:pt x="2048" y="36"/>
                    <a:pt x="2017" y="5"/>
                    <a:pt x="1980" y="5"/>
                  </a:cubicBezTo>
                  <a:close/>
                  <a:moveTo>
                    <a:pt x="68" y="210"/>
                  </a:moveTo>
                  <a:cubicBezTo>
                    <a:pt x="68" y="73"/>
                    <a:pt x="68" y="73"/>
                    <a:pt x="68" y="73"/>
                  </a:cubicBezTo>
                  <a:cubicBezTo>
                    <a:pt x="410" y="73"/>
                    <a:pt x="410" y="73"/>
                    <a:pt x="410" y="73"/>
                  </a:cubicBezTo>
                  <a:cubicBezTo>
                    <a:pt x="410" y="141"/>
                    <a:pt x="410" y="141"/>
                    <a:pt x="410" y="141"/>
                  </a:cubicBezTo>
                  <a:cubicBezTo>
                    <a:pt x="410" y="142"/>
                    <a:pt x="410" y="142"/>
                    <a:pt x="410" y="142"/>
                  </a:cubicBezTo>
                  <a:cubicBezTo>
                    <a:pt x="410" y="142"/>
                    <a:pt x="410" y="142"/>
                    <a:pt x="410" y="142"/>
                  </a:cubicBezTo>
                  <a:cubicBezTo>
                    <a:pt x="410" y="210"/>
                    <a:pt x="410" y="210"/>
                    <a:pt x="410" y="210"/>
                  </a:cubicBezTo>
                  <a:lnTo>
                    <a:pt x="68" y="210"/>
                  </a:lnTo>
                  <a:close/>
                  <a:moveTo>
                    <a:pt x="649" y="1234"/>
                  </a:moveTo>
                  <a:cubicBezTo>
                    <a:pt x="68" y="1234"/>
                    <a:pt x="68" y="1234"/>
                    <a:pt x="68" y="1234"/>
                  </a:cubicBezTo>
                  <a:cubicBezTo>
                    <a:pt x="68" y="892"/>
                    <a:pt x="68" y="892"/>
                    <a:pt x="68" y="892"/>
                  </a:cubicBezTo>
                  <a:cubicBezTo>
                    <a:pt x="649" y="892"/>
                    <a:pt x="649" y="892"/>
                    <a:pt x="649" y="892"/>
                  </a:cubicBezTo>
                  <a:lnTo>
                    <a:pt x="649" y="1234"/>
                  </a:lnTo>
                  <a:close/>
                  <a:moveTo>
                    <a:pt x="1024" y="1985"/>
                  </a:moveTo>
                  <a:cubicBezTo>
                    <a:pt x="927" y="1985"/>
                    <a:pt x="840" y="1927"/>
                    <a:pt x="803" y="1837"/>
                  </a:cubicBezTo>
                  <a:cubicBezTo>
                    <a:pt x="766" y="1748"/>
                    <a:pt x="787" y="1645"/>
                    <a:pt x="855" y="1577"/>
                  </a:cubicBezTo>
                  <a:cubicBezTo>
                    <a:pt x="923" y="1509"/>
                    <a:pt x="1026" y="1488"/>
                    <a:pt x="1115" y="1525"/>
                  </a:cubicBezTo>
                  <a:cubicBezTo>
                    <a:pt x="1205" y="1562"/>
                    <a:pt x="1263" y="1649"/>
                    <a:pt x="1263" y="1746"/>
                  </a:cubicBezTo>
                  <a:cubicBezTo>
                    <a:pt x="1263" y="1878"/>
                    <a:pt x="1156" y="1985"/>
                    <a:pt x="1024" y="1985"/>
                  </a:cubicBezTo>
                  <a:close/>
                  <a:moveTo>
                    <a:pt x="1741" y="1319"/>
                  </a:moveTo>
                  <a:cubicBezTo>
                    <a:pt x="1513" y="1063"/>
                    <a:pt x="1513" y="1063"/>
                    <a:pt x="1513" y="1063"/>
                  </a:cubicBezTo>
                  <a:cubicBezTo>
                    <a:pt x="1741" y="807"/>
                    <a:pt x="1741" y="807"/>
                    <a:pt x="1741" y="807"/>
                  </a:cubicBezTo>
                  <a:cubicBezTo>
                    <a:pt x="1968" y="1063"/>
                    <a:pt x="1968" y="1063"/>
                    <a:pt x="1968" y="1063"/>
                  </a:cubicBezTo>
                  <a:lnTo>
                    <a:pt x="1741" y="1319"/>
                  </a:lnTo>
                  <a:close/>
                  <a:moveTo>
                    <a:pt x="784" y="189"/>
                  </a:moveTo>
                  <a:cubicBezTo>
                    <a:pt x="942" y="346"/>
                    <a:pt x="942" y="346"/>
                    <a:pt x="942" y="346"/>
                  </a:cubicBezTo>
                  <a:cubicBezTo>
                    <a:pt x="719" y="346"/>
                    <a:pt x="719" y="346"/>
                    <a:pt x="719" y="346"/>
                  </a:cubicBezTo>
                  <a:cubicBezTo>
                    <a:pt x="721" y="332"/>
                    <a:pt x="723" y="317"/>
                    <a:pt x="727" y="302"/>
                  </a:cubicBezTo>
                  <a:cubicBezTo>
                    <a:pt x="741" y="316"/>
                    <a:pt x="762" y="316"/>
                    <a:pt x="775" y="302"/>
                  </a:cubicBezTo>
                  <a:cubicBezTo>
                    <a:pt x="789" y="289"/>
                    <a:pt x="788" y="267"/>
                    <a:pt x="775" y="254"/>
                  </a:cubicBezTo>
                  <a:cubicBezTo>
                    <a:pt x="754" y="233"/>
                    <a:pt x="754" y="233"/>
                    <a:pt x="754" y="233"/>
                  </a:cubicBezTo>
                  <a:cubicBezTo>
                    <a:pt x="763" y="218"/>
                    <a:pt x="773" y="203"/>
                    <a:pt x="784" y="189"/>
                  </a:cubicBezTo>
                  <a:close/>
                  <a:moveTo>
                    <a:pt x="719" y="415"/>
                  </a:moveTo>
                  <a:cubicBezTo>
                    <a:pt x="1010" y="415"/>
                    <a:pt x="1010" y="415"/>
                    <a:pt x="1010" y="415"/>
                  </a:cubicBezTo>
                  <a:cubicBezTo>
                    <a:pt x="1216" y="620"/>
                    <a:pt x="1216" y="620"/>
                    <a:pt x="1216" y="620"/>
                  </a:cubicBezTo>
                  <a:cubicBezTo>
                    <a:pt x="1128" y="690"/>
                    <a:pt x="1010" y="707"/>
                    <a:pt x="906" y="664"/>
                  </a:cubicBezTo>
                  <a:cubicBezTo>
                    <a:pt x="803" y="622"/>
                    <a:pt x="731" y="526"/>
                    <a:pt x="719" y="415"/>
                  </a:cubicBezTo>
                  <a:close/>
                  <a:moveTo>
                    <a:pt x="1331" y="380"/>
                  </a:moveTo>
                  <a:cubicBezTo>
                    <a:pt x="1331" y="450"/>
                    <a:pt x="1307" y="518"/>
                    <a:pt x="1264" y="572"/>
                  </a:cubicBezTo>
                  <a:cubicBezTo>
                    <a:pt x="832" y="141"/>
                    <a:pt x="832" y="141"/>
                    <a:pt x="832" y="141"/>
                  </a:cubicBezTo>
                  <a:cubicBezTo>
                    <a:pt x="897" y="89"/>
                    <a:pt x="979" y="66"/>
                    <a:pt x="1060" y="75"/>
                  </a:cubicBezTo>
                  <a:cubicBezTo>
                    <a:pt x="1142" y="85"/>
                    <a:pt x="1216" y="127"/>
                    <a:pt x="1266" y="192"/>
                  </a:cubicBezTo>
                  <a:cubicBezTo>
                    <a:pt x="1205" y="254"/>
                    <a:pt x="1205" y="254"/>
                    <a:pt x="1205" y="254"/>
                  </a:cubicBezTo>
                  <a:cubicBezTo>
                    <a:pt x="1196" y="262"/>
                    <a:pt x="1192" y="275"/>
                    <a:pt x="1195" y="287"/>
                  </a:cubicBezTo>
                  <a:cubicBezTo>
                    <a:pt x="1198" y="299"/>
                    <a:pt x="1208" y="308"/>
                    <a:pt x="1220" y="311"/>
                  </a:cubicBezTo>
                  <a:cubicBezTo>
                    <a:pt x="1232" y="315"/>
                    <a:pt x="1244" y="311"/>
                    <a:pt x="1253" y="302"/>
                  </a:cubicBezTo>
                  <a:cubicBezTo>
                    <a:pt x="1303" y="252"/>
                    <a:pt x="1303" y="252"/>
                    <a:pt x="1303" y="252"/>
                  </a:cubicBezTo>
                  <a:cubicBezTo>
                    <a:pt x="1321" y="292"/>
                    <a:pt x="1331" y="336"/>
                    <a:pt x="1331" y="380"/>
                  </a:cubicBezTo>
                  <a:close/>
                  <a:moveTo>
                    <a:pt x="1980" y="210"/>
                  </a:moveTo>
                  <a:cubicBezTo>
                    <a:pt x="1638" y="210"/>
                    <a:pt x="1638" y="210"/>
                    <a:pt x="1638" y="210"/>
                  </a:cubicBezTo>
                  <a:cubicBezTo>
                    <a:pt x="1638" y="73"/>
                    <a:pt x="1638" y="73"/>
                    <a:pt x="1638" y="73"/>
                  </a:cubicBezTo>
                  <a:cubicBezTo>
                    <a:pt x="1980" y="73"/>
                    <a:pt x="1980" y="73"/>
                    <a:pt x="1980" y="73"/>
                  </a:cubicBezTo>
                  <a:lnTo>
                    <a:pt x="1980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6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3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9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6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2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9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155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320" algn="l" defTabSz="91433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BD2FD398-AEA3-C2D6-F203-388D88E539AA}"/>
              </a:ext>
            </a:extLst>
          </p:cNvPr>
          <p:cNvSpPr txBox="1">
            <a:spLocks/>
          </p:cNvSpPr>
          <p:nvPr/>
        </p:nvSpPr>
        <p:spPr>
          <a:xfrm>
            <a:off x="7332512" y="2129579"/>
            <a:ext cx="3859204" cy="295465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CA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Calibri"/>
              </a:rPr>
              <a:t>Assists clients by providing easy access to relevant information to ensure they receive benefits in a timely manner</a:t>
            </a:r>
            <a:br>
              <a:rPr kumimoji="0" lang="en-CA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Calibri"/>
              </a:rPr>
            </a:br>
            <a:endParaRPr kumimoji="0" lang="en-CA" sz="16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os"/>
              <a:cs typeface="Calibri"/>
            </a:endParaRP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lang="en-CA">
              <a:latin typeface="Aptos"/>
              <a:cs typeface="Calibri"/>
            </a:endParaRPr>
          </a:p>
          <a:p>
            <a:pPr>
              <a:buClr>
                <a:srgbClr val="000000"/>
              </a:buClr>
              <a:defRPr/>
            </a:pPr>
            <a:r>
              <a:rPr kumimoji="0" lang="en-CA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Calibri"/>
              </a:rPr>
              <a:t>Provides information to families or executors on what to do and how to notify the federal government of a death</a:t>
            </a:r>
            <a:br>
              <a:rPr kumimoji="0" lang="en-CA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Calibri"/>
              </a:rPr>
            </a:br>
            <a:endParaRPr kumimoji="0" lang="en-CA" sz="16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os"/>
              <a:cs typeface="Calibri"/>
            </a:endParaRP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lang="en-CA">
              <a:latin typeface="Aptos"/>
              <a:cs typeface="Calibri"/>
            </a:endParaRPr>
          </a:p>
          <a:p>
            <a:pPr>
              <a:buClr>
                <a:srgbClr val="000000"/>
              </a:buClr>
              <a:defRPr/>
            </a:pPr>
            <a:r>
              <a:rPr kumimoji="0" lang="en-CA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ptos"/>
                <a:cs typeface="Calibri"/>
              </a:rPr>
              <a:t>Supports Canadians in navigating the difficult experience of losing someon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83F5EEE-DDF9-1C5F-31E7-7023E1E267CC}"/>
              </a:ext>
            </a:extLst>
          </p:cNvPr>
          <p:cNvSpPr txBox="1"/>
          <p:nvPr/>
        </p:nvSpPr>
        <p:spPr>
          <a:xfrm>
            <a:off x="771782" y="2066051"/>
            <a:ext cx="3792803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CA" sz="2000" b="1">
                <a:latin typeface="Aptos"/>
                <a:cs typeface="Arial"/>
              </a:rPr>
              <a:t>Analysis of Death Notification based on: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66CC3D2-1C26-18F5-B4B6-EACB69F6EE8D}"/>
              </a:ext>
            </a:extLst>
          </p:cNvPr>
          <p:cNvSpPr txBox="1"/>
          <p:nvPr/>
        </p:nvSpPr>
        <p:spPr>
          <a:xfrm>
            <a:off x="2128662" y="4779292"/>
            <a:ext cx="302800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CA" sz="2000" b="1">
                <a:latin typeface="Aptos"/>
                <a:cs typeface="Arial"/>
              </a:rPr>
              <a:t>Led to a design that:</a:t>
            </a:r>
          </a:p>
        </p:txBody>
      </p:sp>
      <p:sp>
        <p:nvSpPr>
          <p:cNvPr id="39" name="Left Brace 38">
            <a:extLst>
              <a:ext uri="{FF2B5EF4-FFF2-40B4-BE49-F238E27FC236}">
                <a16:creationId xmlns:a16="http://schemas.microsoft.com/office/drawing/2014/main" id="{D5520D6A-FEDD-578E-9881-F844FB4CF296}"/>
              </a:ext>
            </a:extLst>
          </p:cNvPr>
          <p:cNvSpPr/>
          <p:nvPr/>
        </p:nvSpPr>
        <p:spPr>
          <a:xfrm>
            <a:off x="5453311" y="1793599"/>
            <a:ext cx="755692" cy="3540285"/>
          </a:xfrm>
          <a:prstGeom prst="leftBrace">
            <a:avLst>
              <a:gd name="adj1" fmla="val 46223"/>
              <a:gd name="adj2" fmla="val 50000"/>
            </a:avLst>
          </a:prstGeom>
          <a:ln w="38100">
            <a:solidFill>
              <a:srgbClr val="61458C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49DE12D-52AE-213D-7FB7-9637C954218A}"/>
              </a:ext>
            </a:extLst>
          </p:cNvPr>
          <p:cNvGrpSpPr/>
          <p:nvPr/>
        </p:nvGrpSpPr>
        <p:grpSpPr>
          <a:xfrm>
            <a:off x="6137829" y="2046993"/>
            <a:ext cx="926305" cy="3270007"/>
            <a:chOff x="6137829" y="1940890"/>
            <a:chExt cx="926305" cy="3270007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FC0236CC-C7B8-452F-2248-3693823414DD}"/>
                </a:ext>
              </a:extLst>
            </p:cNvPr>
            <p:cNvGrpSpPr/>
            <p:nvPr/>
          </p:nvGrpSpPr>
          <p:grpSpPr>
            <a:xfrm>
              <a:off x="6138020" y="4284783"/>
              <a:ext cx="926114" cy="926114"/>
              <a:chOff x="6381638" y="4970536"/>
              <a:chExt cx="1015014" cy="1015014"/>
            </a:xfrm>
          </p:grpSpPr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95B3773C-F64C-4C25-A8FA-8F43A7CEF14A}"/>
                  </a:ext>
                </a:extLst>
              </p:cNvPr>
              <p:cNvSpPr/>
              <p:nvPr/>
            </p:nvSpPr>
            <p:spPr>
              <a:xfrm>
                <a:off x="6381638" y="4970536"/>
                <a:ext cx="1015014" cy="1015014"/>
              </a:xfrm>
              <a:prstGeom prst="ellipse">
                <a:avLst/>
              </a:prstGeom>
              <a:solidFill>
                <a:srgbClr val="61458C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pic>
            <p:nvPicPr>
              <p:cNvPr id="51" name="CustomIcon">
                <a:extLst>
                  <a:ext uri="{FF2B5EF4-FFF2-40B4-BE49-F238E27FC236}">
                    <a16:creationId xmlns:a16="http://schemas.microsoft.com/office/drawing/2014/main" id="{49AD7D23-57DE-EA87-F146-DE68E5FF53B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607868" y="5148993"/>
                <a:ext cx="659083" cy="616300"/>
              </a:xfrm>
              <a:prstGeom prst="rect">
                <a:avLst/>
              </a:prstGeom>
            </p:spPr>
          </p:pic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2EA5637C-74C8-4182-C7C0-4992ADEBA370}"/>
                </a:ext>
              </a:extLst>
            </p:cNvPr>
            <p:cNvGrpSpPr/>
            <p:nvPr/>
          </p:nvGrpSpPr>
          <p:grpSpPr>
            <a:xfrm>
              <a:off x="6137829" y="1940890"/>
              <a:ext cx="901298" cy="901298"/>
              <a:chOff x="7233511" y="1974757"/>
              <a:chExt cx="1015014" cy="1015014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A21B3698-1BB4-58ED-D5B8-EA57746172A4}"/>
                  </a:ext>
                </a:extLst>
              </p:cNvPr>
              <p:cNvSpPr/>
              <p:nvPr/>
            </p:nvSpPr>
            <p:spPr>
              <a:xfrm>
                <a:off x="7233511" y="1974757"/>
                <a:ext cx="1015014" cy="1015014"/>
              </a:xfrm>
              <a:prstGeom prst="ellipse">
                <a:avLst/>
              </a:prstGeom>
              <a:solidFill>
                <a:srgbClr val="61458C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pic>
            <p:nvPicPr>
              <p:cNvPr id="59" name="CustomIcon">
                <a:extLst>
                  <a:ext uri="{FF2B5EF4-FFF2-40B4-BE49-F238E27FC236}">
                    <a16:creationId xmlns:a16="http://schemas.microsoft.com/office/drawing/2014/main" id="{65F89B4F-9DD0-0C0D-AB6C-AC393E6CCF2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"/>
                </p:custDataLst>
              </p:nvPr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408539" y="2135993"/>
                <a:ext cx="664958" cy="692542"/>
              </a:xfrm>
              <a:prstGeom prst="rect">
                <a:avLst/>
              </a:prstGeom>
            </p:spPr>
          </p:pic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62A75B5E-E532-1D5D-BE2B-3DA646798C51}"/>
                </a:ext>
              </a:extLst>
            </p:cNvPr>
            <p:cNvGrpSpPr/>
            <p:nvPr/>
          </p:nvGrpSpPr>
          <p:grpSpPr>
            <a:xfrm>
              <a:off x="6137829" y="3103309"/>
              <a:ext cx="926114" cy="926114"/>
              <a:chOff x="6094528" y="3102590"/>
              <a:chExt cx="926114" cy="926114"/>
            </a:xfrm>
          </p:grpSpPr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600C45C6-5D68-6171-0D79-15426DDAFD9F}"/>
                  </a:ext>
                </a:extLst>
              </p:cNvPr>
              <p:cNvSpPr/>
              <p:nvPr/>
            </p:nvSpPr>
            <p:spPr>
              <a:xfrm>
                <a:off x="6094528" y="3102590"/>
                <a:ext cx="926114" cy="926114"/>
              </a:xfrm>
              <a:prstGeom prst="ellipse">
                <a:avLst/>
              </a:prstGeom>
              <a:solidFill>
                <a:srgbClr val="61458C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pic>
            <p:nvPicPr>
              <p:cNvPr id="62" name="Graphic 61" descr="Folder outline">
                <a:extLst>
                  <a:ext uri="{FF2B5EF4-FFF2-40B4-BE49-F238E27FC236}">
                    <a16:creationId xmlns:a16="http://schemas.microsoft.com/office/drawing/2014/main" id="{AF808B37-4B77-967B-2592-A333C92083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160635" y="3148928"/>
                <a:ext cx="809220" cy="809220"/>
              </a:xfrm>
              <a:prstGeom prst="rect">
                <a:avLst/>
              </a:prstGeom>
            </p:spPr>
          </p:pic>
          <p:pic>
            <p:nvPicPr>
              <p:cNvPr id="66" name="Graphic 65" descr="Information with solid fill">
                <a:extLst>
                  <a:ext uri="{FF2B5EF4-FFF2-40B4-BE49-F238E27FC236}">
                    <a16:creationId xmlns:a16="http://schemas.microsoft.com/office/drawing/2014/main" id="{549B43F2-6776-5D19-D990-EFC0C65F85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282825" y="3392815"/>
                <a:ext cx="387483" cy="387483"/>
              </a:xfrm>
              <a:prstGeom prst="rect">
                <a:avLst/>
              </a:prstGeom>
            </p:spPr>
          </p:pic>
        </p:grpSp>
      </p:grpSp>
      <p:sp>
        <p:nvSpPr>
          <p:cNvPr id="69" name="Title 10">
            <a:extLst>
              <a:ext uri="{FF2B5EF4-FFF2-40B4-BE49-F238E27FC236}">
                <a16:creationId xmlns:a16="http://schemas.microsoft.com/office/drawing/2014/main" id="{CB7654A9-896A-2565-5589-738659570C19}"/>
              </a:ext>
            </a:extLst>
          </p:cNvPr>
          <p:cNvSpPr txBox="1">
            <a:spLocks/>
          </p:cNvSpPr>
          <p:nvPr/>
        </p:nvSpPr>
        <p:spPr>
          <a:xfrm>
            <a:off x="477679" y="909770"/>
            <a:ext cx="11164423" cy="3851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i="0" kern="1200">
                <a:solidFill>
                  <a:srgbClr val="175676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How the common pain points influenced the design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71789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1">
            <a:extLst>
              <a:ext uri="{FF2B5EF4-FFF2-40B4-BE49-F238E27FC236}">
                <a16:creationId xmlns:a16="http://schemas.microsoft.com/office/drawing/2014/main" id="{C4C907EE-3FDB-963E-FDAE-5DDA46FAC56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C6B7DB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5D967D-4B2F-B90E-7A0E-851B31E6AEB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614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9BEA273-FCAC-1784-1C47-A45A0BB00EF8}"/>
              </a:ext>
            </a:extLst>
          </p:cNvPr>
          <p:cNvSpPr txBox="1">
            <a:spLocks/>
          </p:cNvSpPr>
          <p:nvPr/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AC3F618-7EE1-0849-8880-CB07A5842168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algn="r">
                <a:defRPr/>
              </a:pPr>
              <a:t>6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566ABCA-A80E-B1E4-519C-AEF5A2C87999}"/>
              </a:ext>
            </a:extLst>
          </p:cNvPr>
          <p:cNvSpPr txBox="1">
            <a:spLocks/>
          </p:cNvSpPr>
          <p:nvPr/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/>
              <a:t>Goals of the Canada.ca LLO Journey Lab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C17397EC-8A13-9F3E-F07D-AB51081055A7}"/>
              </a:ext>
            </a:extLst>
          </p:cNvPr>
          <p:cNvSpPr/>
          <p:nvPr/>
        </p:nvSpPr>
        <p:spPr>
          <a:xfrm>
            <a:off x="861404" y="1237016"/>
            <a:ext cx="4647254" cy="5119333"/>
          </a:xfrm>
          <a:prstGeom prst="roundRect">
            <a:avLst/>
          </a:prstGeom>
          <a:solidFill>
            <a:srgbClr val="F3F3F3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CA" sz="2000" b="1" i="0" u="none" strike="noStrike" kern="1200" cap="none" spc="0" normalizeH="0" baseline="0" noProof="0">
                <a:ln>
                  <a:noFill/>
                </a:ln>
                <a:solidFill>
                  <a:srgbClr val="175676"/>
                </a:solidFill>
                <a:effectLst/>
                <a:uLnTx/>
                <a:uFillTx/>
                <a:latin typeface="Aptos"/>
              </a:rPr>
              <a:t>Our </a:t>
            </a:r>
            <a:r>
              <a:rPr lang="en-CA" sz="2000" b="1">
                <a:solidFill>
                  <a:srgbClr val="175676"/>
                </a:solidFill>
                <a:latin typeface="Aptos"/>
              </a:rPr>
              <a:t>mission</a:t>
            </a:r>
            <a:endParaRPr kumimoji="0" lang="en-CA" sz="2000" b="1" i="0" u="none" strike="noStrike" kern="1200" cap="none" spc="0" normalizeH="0" baseline="0" noProof="0">
              <a:ln>
                <a:noFill/>
              </a:ln>
              <a:solidFill>
                <a:srgbClr val="175676"/>
              </a:solidFill>
              <a:effectLst/>
              <a:uLnTx/>
              <a:uFillTx/>
              <a:latin typeface="Aptos" panose="020B0004020202020204" pitchFamily="34" charset="0"/>
            </a:endParaRPr>
          </a:p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endParaRPr kumimoji="0" lang="en-CA" sz="2000" b="0" i="0" u="none" strike="noStrike" kern="1200" cap="none" spc="0" normalizeH="0" baseline="0" noProof="0">
              <a:ln>
                <a:noFill/>
              </a:ln>
              <a:solidFill>
                <a:srgbClr val="175676"/>
              </a:solidFill>
              <a:effectLst/>
              <a:uLnTx/>
              <a:uFillTx/>
              <a:latin typeface="Aptos" panose="020B0004020202020204" pitchFamily="34" charset="0"/>
            </a:endParaRPr>
          </a:p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CA" b="0" i="0" u="none" strike="noStrike" kern="1200" cap="none" spc="0" normalizeH="0" baseline="0" noProof="0">
                <a:ln>
                  <a:noFill/>
                </a:ln>
                <a:solidFill>
                  <a:srgbClr val="175676"/>
                </a:solidFill>
                <a:effectLst/>
                <a:uLnTx/>
                <a:uFillTx/>
                <a:latin typeface="Aptos"/>
              </a:rPr>
              <a:t>To deliver a meaningful and improved experience on Canada.ca to Canadians and those that are supporting them as they navigate the passing of a loved one. </a:t>
            </a:r>
            <a:endParaRPr lang="en-CA" b="0" i="0" u="none" strike="noStrike" kern="1200" cap="none" spc="0" normalizeH="0" baseline="0" noProof="0">
              <a:ln>
                <a:noFill/>
              </a:ln>
              <a:solidFill>
                <a:srgbClr val="175676"/>
              </a:solidFill>
              <a:effectLst/>
              <a:uLnTx/>
              <a:uFillTx/>
              <a:latin typeface="Aptos"/>
            </a:endParaRPr>
          </a:p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endParaRPr kumimoji="0" lang="en-CA" b="0" i="0" u="none" strike="noStrike" kern="1200" cap="none" spc="0" normalizeH="0" baseline="0" noProof="0">
              <a:ln>
                <a:noFill/>
              </a:ln>
              <a:solidFill>
                <a:srgbClr val="175676"/>
              </a:solidFill>
              <a:effectLst/>
              <a:uLnTx/>
              <a:uFillTx/>
              <a:latin typeface="Aptos" panose="020B0004020202020204" pitchFamily="34" charset="0"/>
            </a:endParaRPr>
          </a:p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CA" b="0" i="0" u="none" strike="noStrike" kern="1200" cap="none" spc="0" normalizeH="0" baseline="0" noProof="0">
                <a:ln>
                  <a:noFill/>
                </a:ln>
                <a:solidFill>
                  <a:srgbClr val="175676"/>
                </a:solidFill>
                <a:effectLst/>
                <a:uLnTx/>
                <a:uFillTx/>
                <a:latin typeface="Aptos"/>
              </a:rPr>
              <a:t>Our aspiration is to ensure the Canadian public has a seamless experience with ESDC online services to ensure timely notification of death, awareness of benefits, and access to the right information at the right time.</a:t>
            </a:r>
            <a:endParaRPr lang="en-CA" b="0" i="0" u="none" strike="noStrike" kern="1200" cap="none" spc="0" normalizeH="0" baseline="0" noProof="0">
              <a:ln>
                <a:noFill/>
              </a:ln>
              <a:solidFill>
                <a:srgbClr val="175676"/>
              </a:solidFill>
              <a:effectLst/>
              <a:uLnTx/>
              <a:uFillTx/>
              <a:latin typeface="Aptos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4B5414D-BC4D-3843-9FBE-EDBA3C9571DA}"/>
              </a:ext>
            </a:extLst>
          </p:cNvPr>
          <p:cNvGrpSpPr/>
          <p:nvPr/>
        </p:nvGrpSpPr>
        <p:grpSpPr>
          <a:xfrm>
            <a:off x="6062809" y="1237014"/>
            <a:ext cx="4647254" cy="5119333"/>
            <a:chOff x="5609474" y="1237014"/>
            <a:chExt cx="4647254" cy="5119333"/>
          </a:xfrm>
        </p:grpSpPr>
        <p:pic>
          <p:nvPicPr>
            <p:cNvPr id="72" name="Picture 71" descr="Milky way in night sky">
              <a:extLst>
                <a:ext uri="{FF2B5EF4-FFF2-40B4-BE49-F238E27FC236}">
                  <a16:creationId xmlns:a16="http://schemas.microsoft.com/office/drawing/2014/main" id="{E9D6E132-B3B1-DD4D-4079-0F1963CA5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264" t="408" r="10393"/>
            <a:stretch>
              <a:fillRect/>
            </a:stretch>
          </p:blipFill>
          <p:spPr>
            <a:xfrm>
              <a:off x="5609474" y="1237014"/>
              <a:ext cx="4647254" cy="5119333"/>
            </a:xfrm>
            <a:custGeom>
              <a:avLst/>
              <a:gdLst>
                <a:gd name="connsiteX0" fmla="*/ 745261 w 4471479"/>
                <a:gd name="connsiteY0" fmla="*/ 0 h 5119333"/>
                <a:gd name="connsiteX1" fmla="*/ 3726218 w 4471479"/>
                <a:gd name="connsiteY1" fmla="*/ 0 h 5119333"/>
                <a:gd name="connsiteX2" fmla="*/ 4471479 w 4471479"/>
                <a:gd name="connsiteY2" fmla="*/ 745261 h 5119333"/>
                <a:gd name="connsiteX3" fmla="*/ 4471479 w 4471479"/>
                <a:gd name="connsiteY3" fmla="*/ 4374072 h 5119333"/>
                <a:gd name="connsiteX4" fmla="*/ 3726218 w 4471479"/>
                <a:gd name="connsiteY4" fmla="*/ 5119333 h 5119333"/>
                <a:gd name="connsiteX5" fmla="*/ 745261 w 4471479"/>
                <a:gd name="connsiteY5" fmla="*/ 5119333 h 5119333"/>
                <a:gd name="connsiteX6" fmla="*/ 0 w 4471479"/>
                <a:gd name="connsiteY6" fmla="*/ 4374072 h 5119333"/>
                <a:gd name="connsiteX7" fmla="*/ 0 w 4471479"/>
                <a:gd name="connsiteY7" fmla="*/ 745261 h 5119333"/>
                <a:gd name="connsiteX8" fmla="*/ 745261 w 4471479"/>
                <a:gd name="connsiteY8" fmla="*/ 0 h 511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71479" h="5119333">
                  <a:moveTo>
                    <a:pt x="745261" y="0"/>
                  </a:moveTo>
                  <a:lnTo>
                    <a:pt x="3726218" y="0"/>
                  </a:lnTo>
                  <a:cubicBezTo>
                    <a:pt x="4137814" y="0"/>
                    <a:pt x="4471479" y="333665"/>
                    <a:pt x="4471479" y="745261"/>
                  </a:cubicBezTo>
                  <a:lnTo>
                    <a:pt x="4471479" y="4374072"/>
                  </a:lnTo>
                  <a:cubicBezTo>
                    <a:pt x="4471479" y="4785668"/>
                    <a:pt x="4137814" y="5119333"/>
                    <a:pt x="3726218" y="5119333"/>
                  </a:cubicBezTo>
                  <a:lnTo>
                    <a:pt x="745261" y="5119333"/>
                  </a:lnTo>
                  <a:cubicBezTo>
                    <a:pt x="333665" y="5119333"/>
                    <a:pt x="0" y="4785668"/>
                    <a:pt x="0" y="4374072"/>
                  </a:cubicBezTo>
                  <a:lnTo>
                    <a:pt x="0" y="745261"/>
                  </a:lnTo>
                  <a:cubicBezTo>
                    <a:pt x="0" y="333665"/>
                    <a:pt x="333665" y="0"/>
                    <a:pt x="745261" y="0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/>
              </a:solidFill>
            </a:ln>
          </p:spPr>
        </p:pic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503E31CA-CC16-E697-A064-9FBB1A22A3E0}"/>
                </a:ext>
              </a:extLst>
            </p:cNvPr>
            <p:cNvSpPr txBox="1"/>
            <p:nvPr/>
          </p:nvSpPr>
          <p:spPr>
            <a:xfrm>
              <a:off x="5785248" y="1492203"/>
              <a:ext cx="4383131" cy="460895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895350">
                <a:spcAft>
                  <a:spcPts val="600"/>
                </a:spcAft>
                <a:tabLst>
                  <a:tab pos="269875" algn="l"/>
                </a:tabLst>
                <a:defRPr/>
              </a:pPr>
              <a:r>
                <a:rPr lang="en-CA" sz="2000" b="1">
                  <a:solidFill>
                    <a:schemeClr val="bg1"/>
                  </a:solidFill>
                  <a:latin typeface="Aptos"/>
                </a:rPr>
                <a:t>Vision statement</a:t>
              </a:r>
              <a:endParaRPr lang="en-US"/>
            </a:p>
            <a:p>
              <a:pPr marL="0" marR="0" lvl="0" indent="0" defTabSz="89535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>
                  <a:tab pos="269875" algn="l"/>
                </a:tabLst>
                <a:defRPr/>
              </a:pPr>
              <a:endParaRPr lang="en-CA" sz="2000">
                <a:solidFill>
                  <a:schemeClr val="bg1"/>
                </a:solidFill>
                <a:latin typeface="Aptos" panose="020B0004020202020204" pitchFamily="34" charset="0"/>
                <a:cs typeface="Arial"/>
              </a:endParaRPr>
            </a:p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>
                  <a:tab pos="269875" algn="l"/>
                </a:tabLst>
                <a:defRPr/>
              </a:pPr>
              <a:r>
                <a:rPr lang="en-CA">
                  <a:solidFill>
                    <a:schemeClr val="bg2"/>
                  </a:solidFill>
                  <a:latin typeface="Aptos"/>
                  <a:cs typeface="Arial"/>
                </a:rPr>
                <a:t>A </a:t>
              </a:r>
              <a:r>
                <a:rPr lang="en-CA" b="1">
                  <a:solidFill>
                    <a:schemeClr val="bg2"/>
                  </a:solidFill>
                  <a:latin typeface="Aptos"/>
                  <a:cs typeface="Arial"/>
                </a:rPr>
                <a:t>single point of access on Canada.ca</a:t>
              </a:r>
              <a:r>
                <a:rPr lang="en-CA">
                  <a:solidFill>
                    <a:schemeClr val="bg2"/>
                  </a:solidFill>
                  <a:latin typeface="Aptos"/>
                  <a:cs typeface="Arial"/>
                </a:rPr>
                <a:t> based on </a:t>
              </a:r>
              <a:r>
                <a:rPr lang="en-CA" b="1">
                  <a:solidFill>
                    <a:schemeClr val="bg2"/>
                  </a:solidFill>
                  <a:latin typeface="Aptos"/>
                  <a:cs typeface="Arial"/>
                </a:rPr>
                <a:t>life events </a:t>
              </a:r>
              <a:r>
                <a:rPr lang="en-CA">
                  <a:solidFill>
                    <a:schemeClr val="bg2"/>
                  </a:solidFill>
                  <a:latin typeface="Aptos"/>
                  <a:cs typeface="Arial"/>
                </a:rPr>
                <a:t>for various types of clients</a:t>
              </a:r>
              <a:r>
                <a:rPr lang="en-CA" b="1">
                  <a:solidFill>
                    <a:schemeClr val="bg2"/>
                  </a:solidFill>
                  <a:latin typeface="Aptos"/>
                  <a:cs typeface="Arial"/>
                </a:rPr>
                <a:t> </a:t>
              </a:r>
              <a:r>
                <a:rPr lang="en-CA">
                  <a:solidFill>
                    <a:schemeClr val="bg2"/>
                  </a:solidFill>
                  <a:latin typeface="Aptos"/>
                  <a:cs typeface="Arial"/>
                </a:rPr>
                <a:t>where they can become informed of: </a:t>
              </a:r>
            </a:p>
            <a:p>
              <a:pPr marL="0" marR="0" lvl="0" indent="0" defTabSz="89535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>
                  <a:tab pos="269875" algn="l"/>
                </a:tabLst>
                <a:defRPr/>
              </a:pPr>
              <a:endParaRPr lang="en-US">
                <a:solidFill>
                  <a:schemeClr val="bg2"/>
                </a:solidFill>
                <a:latin typeface="Aptos"/>
                <a:cs typeface="Arial"/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Wingdings"/>
                <a:buChar char="ü"/>
              </a:pPr>
              <a:r>
                <a:rPr lang="en-CA">
                  <a:solidFill>
                    <a:schemeClr val="bg2"/>
                  </a:solidFill>
                  <a:latin typeface="Aptos"/>
                  <a:cs typeface="Arial"/>
                </a:rPr>
                <a:t>How to notify the federal government of a death</a:t>
              </a:r>
              <a:endParaRPr lang="en-US">
                <a:solidFill>
                  <a:schemeClr val="bg2"/>
                </a:solidFill>
                <a:latin typeface="Aptos"/>
                <a:cs typeface="Arial"/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Wingdings"/>
                <a:buChar char="ü"/>
              </a:pPr>
              <a:r>
                <a:rPr lang="en-CA">
                  <a:solidFill>
                    <a:schemeClr val="bg2"/>
                  </a:solidFill>
                  <a:latin typeface="Aptos"/>
                  <a:cs typeface="Arial"/>
                </a:rPr>
                <a:t>Benefits they are eligible for </a:t>
              </a:r>
              <a:endParaRPr lang="en-US">
                <a:solidFill>
                  <a:schemeClr val="bg2"/>
                </a:solidFill>
                <a:latin typeface="Aptos"/>
                <a:cs typeface="Arial"/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Wingdings"/>
                <a:buChar char="ü"/>
              </a:pPr>
              <a:r>
                <a:rPr lang="en-CA">
                  <a:solidFill>
                    <a:schemeClr val="bg2"/>
                  </a:solidFill>
                  <a:latin typeface="Aptos"/>
                  <a:cs typeface="Arial"/>
                </a:rPr>
                <a:t>Steps to submit applications and documentation </a:t>
              </a:r>
              <a:endParaRPr lang="en-US">
                <a:solidFill>
                  <a:schemeClr val="bg2"/>
                </a:solidFill>
                <a:latin typeface="Aptos"/>
                <a:cs typeface="Arial"/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Wingdings"/>
                <a:buChar char="ü"/>
              </a:pPr>
              <a:r>
                <a:rPr lang="en-CA">
                  <a:solidFill>
                    <a:schemeClr val="bg2"/>
                  </a:solidFill>
                  <a:latin typeface="Aptos"/>
                  <a:cs typeface="Arial"/>
                </a:rPr>
                <a:t>How to cancel benefits for the deceased and request support</a:t>
              </a:r>
              <a:endParaRPr lang="en-US">
                <a:solidFill>
                  <a:schemeClr val="bg2"/>
                </a:solidFill>
                <a:latin typeface="Aptos"/>
                <a:cs typeface="Arial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7977C30-0317-F00D-C955-2C45A6405078}"/>
              </a:ext>
            </a:extLst>
          </p:cNvPr>
          <p:cNvGrpSpPr/>
          <p:nvPr/>
        </p:nvGrpSpPr>
        <p:grpSpPr>
          <a:xfrm rot="17712934" flipH="1">
            <a:off x="707272" y="5066503"/>
            <a:ext cx="1184858" cy="2131884"/>
            <a:chOff x="11066666" y="1764803"/>
            <a:chExt cx="1184858" cy="2131884"/>
          </a:xfrm>
          <a:solidFill>
            <a:srgbClr val="A38CC6"/>
          </a:solidFill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F1E39850-7021-ECA1-A345-2BA4E2FF94AE}"/>
                </a:ext>
              </a:extLst>
            </p:cNvPr>
            <p:cNvSpPr/>
            <p:nvPr/>
          </p:nvSpPr>
          <p:spPr>
            <a:xfrm rot="316174">
              <a:off x="11275550" y="2492285"/>
              <a:ext cx="308373" cy="308269"/>
            </a:xfrm>
            <a:custGeom>
              <a:avLst/>
              <a:gdLst>
                <a:gd name="connsiteX0" fmla="*/ 142780 w 285369"/>
                <a:gd name="connsiteY0" fmla="*/ 285274 h 285273"/>
                <a:gd name="connsiteX1" fmla="*/ 140208 w 285369"/>
                <a:gd name="connsiteY1" fmla="*/ 285274 h 285273"/>
                <a:gd name="connsiteX2" fmla="*/ 130873 w 285369"/>
                <a:gd name="connsiteY2" fmla="*/ 275558 h 285273"/>
                <a:gd name="connsiteX3" fmla="*/ 140398 w 285369"/>
                <a:gd name="connsiteY3" fmla="*/ 266224 h 285273"/>
                <a:gd name="connsiteX4" fmla="*/ 142684 w 285369"/>
                <a:gd name="connsiteY4" fmla="*/ 266224 h 285273"/>
                <a:gd name="connsiteX5" fmla="*/ 152305 w 285369"/>
                <a:gd name="connsiteY5" fmla="*/ 275749 h 285273"/>
                <a:gd name="connsiteX6" fmla="*/ 142875 w 285369"/>
                <a:gd name="connsiteY6" fmla="*/ 285274 h 285273"/>
                <a:gd name="connsiteX7" fmla="*/ 207264 w 285369"/>
                <a:gd name="connsiteY7" fmla="*/ 268605 h 285273"/>
                <a:gd name="connsiteX8" fmla="*/ 198882 w 285369"/>
                <a:gd name="connsiteY8" fmla="*/ 263652 h 285273"/>
                <a:gd name="connsiteX9" fmla="*/ 202597 w 285369"/>
                <a:gd name="connsiteY9" fmla="*/ 250698 h 285273"/>
                <a:gd name="connsiteX10" fmla="*/ 204501 w 285369"/>
                <a:gd name="connsiteY10" fmla="*/ 249650 h 285273"/>
                <a:gd name="connsiteX11" fmla="*/ 217551 w 285369"/>
                <a:gd name="connsiteY11" fmla="*/ 253079 h 285273"/>
                <a:gd name="connsiteX12" fmla="*/ 214122 w 285369"/>
                <a:gd name="connsiteY12" fmla="*/ 266129 h 285273"/>
                <a:gd name="connsiteX13" fmla="*/ 211836 w 285369"/>
                <a:gd name="connsiteY13" fmla="*/ 267367 h 285273"/>
                <a:gd name="connsiteX14" fmla="*/ 207264 w 285369"/>
                <a:gd name="connsiteY14" fmla="*/ 268510 h 285273"/>
                <a:gd name="connsiteX15" fmla="*/ 76295 w 285369"/>
                <a:gd name="connsiteY15" fmla="*/ 267557 h 285273"/>
                <a:gd name="connsiteX16" fmla="*/ 71533 w 285369"/>
                <a:gd name="connsiteY16" fmla="*/ 266319 h 285273"/>
                <a:gd name="connsiteX17" fmla="*/ 69247 w 285369"/>
                <a:gd name="connsiteY17" fmla="*/ 264985 h 285273"/>
                <a:gd name="connsiteX18" fmla="*/ 66008 w 285369"/>
                <a:gd name="connsiteY18" fmla="*/ 251936 h 285273"/>
                <a:gd name="connsiteX19" fmla="*/ 79057 w 285369"/>
                <a:gd name="connsiteY19" fmla="*/ 248698 h 285273"/>
                <a:gd name="connsiteX20" fmla="*/ 80963 w 285369"/>
                <a:gd name="connsiteY20" fmla="*/ 249841 h 285273"/>
                <a:gd name="connsiteX21" fmla="*/ 84487 w 285369"/>
                <a:gd name="connsiteY21" fmla="*/ 262890 h 285273"/>
                <a:gd name="connsiteX22" fmla="*/ 76200 w 285369"/>
                <a:gd name="connsiteY22" fmla="*/ 267653 h 285273"/>
                <a:gd name="connsiteX23" fmla="*/ 256889 w 285369"/>
                <a:gd name="connsiteY23" fmla="*/ 220789 h 285273"/>
                <a:gd name="connsiteX24" fmla="*/ 251936 w 285369"/>
                <a:gd name="connsiteY24" fmla="*/ 219361 h 285273"/>
                <a:gd name="connsiteX25" fmla="*/ 248793 w 285369"/>
                <a:gd name="connsiteY25" fmla="*/ 206312 h 285273"/>
                <a:gd name="connsiteX26" fmla="*/ 249936 w 285369"/>
                <a:gd name="connsiteY26" fmla="*/ 204407 h 285273"/>
                <a:gd name="connsiteX27" fmla="*/ 262985 w 285369"/>
                <a:gd name="connsiteY27" fmla="*/ 200882 h 285273"/>
                <a:gd name="connsiteX28" fmla="*/ 266509 w 285369"/>
                <a:gd name="connsiteY28" fmla="*/ 213932 h 285273"/>
                <a:gd name="connsiteX29" fmla="*/ 265176 w 285369"/>
                <a:gd name="connsiteY29" fmla="*/ 216217 h 285273"/>
                <a:gd name="connsiteX30" fmla="*/ 256984 w 285369"/>
                <a:gd name="connsiteY30" fmla="*/ 220789 h 285273"/>
                <a:gd name="connsiteX31" fmla="*/ 27527 w 285369"/>
                <a:gd name="connsiteY31" fmla="*/ 218980 h 285273"/>
                <a:gd name="connsiteX32" fmla="*/ 19241 w 285369"/>
                <a:gd name="connsiteY32" fmla="*/ 214217 h 285273"/>
                <a:gd name="connsiteX33" fmla="*/ 18002 w 285369"/>
                <a:gd name="connsiteY33" fmla="*/ 212026 h 285273"/>
                <a:gd name="connsiteX34" fmla="*/ 21717 w 285369"/>
                <a:gd name="connsiteY34" fmla="*/ 199072 h 285273"/>
                <a:gd name="connsiteX35" fmla="*/ 34671 w 285369"/>
                <a:gd name="connsiteY35" fmla="*/ 202787 h 285273"/>
                <a:gd name="connsiteX36" fmla="*/ 35719 w 285369"/>
                <a:gd name="connsiteY36" fmla="*/ 204692 h 285273"/>
                <a:gd name="connsiteX37" fmla="*/ 32290 w 285369"/>
                <a:gd name="connsiteY37" fmla="*/ 217742 h 285273"/>
                <a:gd name="connsiteX38" fmla="*/ 27527 w 285369"/>
                <a:gd name="connsiteY38" fmla="*/ 219075 h 285273"/>
                <a:gd name="connsiteX39" fmla="*/ 275844 w 285369"/>
                <a:gd name="connsiteY39" fmla="*/ 154591 h 285273"/>
                <a:gd name="connsiteX40" fmla="*/ 275749 w 285369"/>
                <a:gd name="connsiteY40" fmla="*/ 154591 h 285273"/>
                <a:gd name="connsiteX41" fmla="*/ 266319 w 285369"/>
                <a:gd name="connsiteY41" fmla="*/ 144971 h 285273"/>
                <a:gd name="connsiteX42" fmla="*/ 266319 w 285369"/>
                <a:gd name="connsiteY42" fmla="*/ 142684 h 285273"/>
                <a:gd name="connsiteX43" fmla="*/ 275844 w 285369"/>
                <a:gd name="connsiteY43" fmla="*/ 132874 h 285273"/>
                <a:gd name="connsiteX44" fmla="*/ 285369 w 285369"/>
                <a:gd name="connsiteY44" fmla="*/ 142113 h 285273"/>
                <a:gd name="connsiteX45" fmla="*/ 285369 w 285369"/>
                <a:gd name="connsiteY45" fmla="*/ 145161 h 285273"/>
                <a:gd name="connsiteX46" fmla="*/ 275844 w 285369"/>
                <a:gd name="connsiteY46" fmla="*/ 154591 h 285273"/>
                <a:gd name="connsiteX47" fmla="*/ 9525 w 285369"/>
                <a:gd name="connsiteY47" fmla="*/ 152305 h 285273"/>
                <a:gd name="connsiteX48" fmla="*/ 0 w 285369"/>
                <a:gd name="connsiteY48" fmla="*/ 142875 h 285273"/>
                <a:gd name="connsiteX49" fmla="*/ 0 w 285369"/>
                <a:gd name="connsiteY49" fmla="*/ 140303 h 285273"/>
                <a:gd name="connsiteX50" fmla="*/ 9620 w 285369"/>
                <a:gd name="connsiteY50" fmla="*/ 130874 h 285273"/>
                <a:gd name="connsiteX51" fmla="*/ 19050 w 285369"/>
                <a:gd name="connsiteY51" fmla="*/ 140494 h 285273"/>
                <a:gd name="connsiteX52" fmla="*/ 19050 w 285369"/>
                <a:gd name="connsiteY52" fmla="*/ 142494 h 285273"/>
                <a:gd name="connsiteX53" fmla="*/ 9525 w 285369"/>
                <a:gd name="connsiteY53" fmla="*/ 152114 h 285273"/>
                <a:gd name="connsiteX54" fmla="*/ 258985 w 285369"/>
                <a:gd name="connsiteY54" fmla="*/ 87249 h 285273"/>
                <a:gd name="connsiteX55" fmla="*/ 250698 w 285369"/>
                <a:gd name="connsiteY55" fmla="*/ 82391 h 285273"/>
                <a:gd name="connsiteX56" fmla="*/ 249555 w 285369"/>
                <a:gd name="connsiteY56" fmla="*/ 80486 h 285273"/>
                <a:gd name="connsiteX57" fmla="*/ 252984 w 285369"/>
                <a:gd name="connsiteY57" fmla="*/ 67437 h 285273"/>
                <a:gd name="connsiteX58" fmla="*/ 266033 w 285369"/>
                <a:gd name="connsiteY58" fmla="*/ 70866 h 285273"/>
                <a:gd name="connsiteX59" fmla="*/ 267271 w 285369"/>
                <a:gd name="connsiteY59" fmla="*/ 73057 h 285273"/>
                <a:gd name="connsiteX60" fmla="*/ 263652 w 285369"/>
                <a:gd name="connsiteY60" fmla="*/ 86011 h 285273"/>
                <a:gd name="connsiteX61" fmla="*/ 258985 w 285369"/>
                <a:gd name="connsiteY61" fmla="*/ 87249 h 285273"/>
                <a:gd name="connsiteX62" fmla="*/ 27146 w 285369"/>
                <a:gd name="connsiteY62" fmla="*/ 85916 h 285273"/>
                <a:gd name="connsiteX63" fmla="*/ 22384 w 285369"/>
                <a:gd name="connsiteY63" fmla="*/ 84677 h 285273"/>
                <a:gd name="connsiteX64" fmla="*/ 18859 w 285369"/>
                <a:gd name="connsiteY64" fmla="*/ 71628 h 285273"/>
                <a:gd name="connsiteX65" fmla="*/ 20193 w 285369"/>
                <a:gd name="connsiteY65" fmla="*/ 69437 h 285273"/>
                <a:gd name="connsiteX66" fmla="*/ 33242 w 285369"/>
                <a:gd name="connsiteY66" fmla="*/ 66199 h 285273"/>
                <a:gd name="connsiteX67" fmla="*/ 36481 w 285369"/>
                <a:gd name="connsiteY67" fmla="*/ 79248 h 285273"/>
                <a:gd name="connsiteX68" fmla="*/ 35338 w 285369"/>
                <a:gd name="connsiteY68" fmla="*/ 81153 h 285273"/>
                <a:gd name="connsiteX69" fmla="*/ 27051 w 285369"/>
                <a:gd name="connsiteY69" fmla="*/ 85916 h 285273"/>
                <a:gd name="connsiteX70" fmla="*/ 210884 w 285369"/>
                <a:gd name="connsiteY70" fmla="*/ 37909 h 285273"/>
                <a:gd name="connsiteX71" fmla="*/ 206026 w 285369"/>
                <a:gd name="connsiteY71" fmla="*/ 36576 h 285273"/>
                <a:gd name="connsiteX72" fmla="*/ 204121 w 285369"/>
                <a:gd name="connsiteY72" fmla="*/ 35433 h 285273"/>
                <a:gd name="connsiteX73" fmla="*/ 200596 w 285369"/>
                <a:gd name="connsiteY73" fmla="*/ 22384 h 285273"/>
                <a:gd name="connsiteX74" fmla="*/ 213550 w 285369"/>
                <a:gd name="connsiteY74" fmla="*/ 18859 h 285273"/>
                <a:gd name="connsiteX75" fmla="*/ 215836 w 285369"/>
                <a:gd name="connsiteY75" fmla="*/ 20193 h 285273"/>
                <a:gd name="connsiteX76" fmla="*/ 219075 w 285369"/>
                <a:gd name="connsiteY76" fmla="*/ 33242 h 285273"/>
                <a:gd name="connsiteX77" fmla="*/ 210884 w 285369"/>
                <a:gd name="connsiteY77" fmla="*/ 37814 h 285273"/>
                <a:gd name="connsiteX78" fmla="*/ 75724 w 285369"/>
                <a:gd name="connsiteY78" fmla="*/ 37052 h 285273"/>
                <a:gd name="connsiteX79" fmla="*/ 67437 w 285369"/>
                <a:gd name="connsiteY79" fmla="*/ 32290 h 285273"/>
                <a:gd name="connsiteX80" fmla="*/ 70866 w 285369"/>
                <a:gd name="connsiteY80" fmla="*/ 19241 h 285273"/>
                <a:gd name="connsiteX81" fmla="*/ 73057 w 285369"/>
                <a:gd name="connsiteY81" fmla="*/ 18002 h 285273"/>
                <a:gd name="connsiteX82" fmla="*/ 86010 w 285369"/>
                <a:gd name="connsiteY82" fmla="*/ 21622 h 285273"/>
                <a:gd name="connsiteX83" fmla="*/ 82391 w 285369"/>
                <a:gd name="connsiteY83" fmla="*/ 34576 h 285273"/>
                <a:gd name="connsiteX84" fmla="*/ 80486 w 285369"/>
                <a:gd name="connsiteY84" fmla="*/ 35719 h 285273"/>
                <a:gd name="connsiteX85" fmla="*/ 75724 w 285369"/>
                <a:gd name="connsiteY85" fmla="*/ 37052 h 285273"/>
                <a:gd name="connsiteX86" fmla="*/ 144589 w 285369"/>
                <a:gd name="connsiteY86" fmla="*/ 19050 h 285273"/>
                <a:gd name="connsiteX87" fmla="*/ 142589 w 285369"/>
                <a:gd name="connsiteY87" fmla="*/ 19050 h 285273"/>
                <a:gd name="connsiteX88" fmla="*/ 132874 w 285369"/>
                <a:gd name="connsiteY88" fmla="*/ 9525 h 285273"/>
                <a:gd name="connsiteX89" fmla="*/ 142208 w 285369"/>
                <a:gd name="connsiteY89" fmla="*/ 0 h 285273"/>
                <a:gd name="connsiteX90" fmla="*/ 144780 w 285369"/>
                <a:gd name="connsiteY90" fmla="*/ 0 h 285273"/>
                <a:gd name="connsiteX91" fmla="*/ 154210 w 285369"/>
                <a:gd name="connsiteY91" fmla="*/ 9716 h 285273"/>
                <a:gd name="connsiteX92" fmla="*/ 144685 w 285369"/>
                <a:gd name="connsiteY92" fmla="*/ 19145 h 285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85369" h="285273">
                  <a:moveTo>
                    <a:pt x="142780" y="285274"/>
                  </a:moveTo>
                  <a:lnTo>
                    <a:pt x="140208" y="285274"/>
                  </a:lnTo>
                  <a:cubicBezTo>
                    <a:pt x="134969" y="285179"/>
                    <a:pt x="130778" y="280797"/>
                    <a:pt x="130873" y="275558"/>
                  </a:cubicBezTo>
                  <a:cubicBezTo>
                    <a:pt x="130969" y="270320"/>
                    <a:pt x="135255" y="266224"/>
                    <a:pt x="140398" y="266224"/>
                  </a:cubicBezTo>
                  <a:lnTo>
                    <a:pt x="142684" y="266224"/>
                  </a:lnTo>
                  <a:cubicBezTo>
                    <a:pt x="147923" y="266224"/>
                    <a:pt x="152305" y="270510"/>
                    <a:pt x="152305" y="275749"/>
                  </a:cubicBezTo>
                  <a:cubicBezTo>
                    <a:pt x="152305" y="280988"/>
                    <a:pt x="148114" y="285274"/>
                    <a:pt x="142875" y="285274"/>
                  </a:cubicBezTo>
                  <a:close/>
                  <a:moveTo>
                    <a:pt x="207264" y="268605"/>
                  </a:moveTo>
                  <a:cubicBezTo>
                    <a:pt x="203930" y="268605"/>
                    <a:pt x="200692" y="266795"/>
                    <a:pt x="198882" y="263652"/>
                  </a:cubicBezTo>
                  <a:cubicBezTo>
                    <a:pt x="196310" y="259080"/>
                    <a:pt x="198025" y="253270"/>
                    <a:pt x="202597" y="250698"/>
                  </a:cubicBezTo>
                  <a:lnTo>
                    <a:pt x="204501" y="249650"/>
                  </a:lnTo>
                  <a:cubicBezTo>
                    <a:pt x="208979" y="246983"/>
                    <a:pt x="214884" y="248507"/>
                    <a:pt x="217551" y="253079"/>
                  </a:cubicBezTo>
                  <a:cubicBezTo>
                    <a:pt x="220218" y="257651"/>
                    <a:pt x="218694" y="263462"/>
                    <a:pt x="214122" y="266129"/>
                  </a:cubicBezTo>
                  <a:lnTo>
                    <a:pt x="211836" y="267367"/>
                  </a:lnTo>
                  <a:cubicBezTo>
                    <a:pt x="210407" y="268224"/>
                    <a:pt x="208788" y="268510"/>
                    <a:pt x="207264" y="268510"/>
                  </a:cubicBezTo>
                  <a:close/>
                  <a:moveTo>
                    <a:pt x="76295" y="267557"/>
                  </a:moveTo>
                  <a:cubicBezTo>
                    <a:pt x="74676" y="267557"/>
                    <a:pt x="73057" y="267176"/>
                    <a:pt x="71533" y="266319"/>
                  </a:cubicBezTo>
                  <a:lnTo>
                    <a:pt x="69247" y="264985"/>
                  </a:lnTo>
                  <a:cubicBezTo>
                    <a:pt x="64770" y="262318"/>
                    <a:pt x="63246" y="256413"/>
                    <a:pt x="66008" y="251936"/>
                  </a:cubicBezTo>
                  <a:cubicBezTo>
                    <a:pt x="68770" y="247459"/>
                    <a:pt x="74581" y="245935"/>
                    <a:pt x="79057" y="248698"/>
                  </a:cubicBezTo>
                  <a:lnTo>
                    <a:pt x="80963" y="249841"/>
                  </a:lnTo>
                  <a:cubicBezTo>
                    <a:pt x="85534" y="252413"/>
                    <a:pt x="87153" y="258318"/>
                    <a:pt x="84487" y="262890"/>
                  </a:cubicBezTo>
                  <a:cubicBezTo>
                    <a:pt x="82772" y="265938"/>
                    <a:pt x="79534" y="267653"/>
                    <a:pt x="76200" y="267653"/>
                  </a:cubicBezTo>
                  <a:close/>
                  <a:moveTo>
                    <a:pt x="256889" y="220789"/>
                  </a:moveTo>
                  <a:cubicBezTo>
                    <a:pt x="255175" y="220789"/>
                    <a:pt x="253460" y="220313"/>
                    <a:pt x="251936" y="219361"/>
                  </a:cubicBezTo>
                  <a:cubicBezTo>
                    <a:pt x="247459" y="216599"/>
                    <a:pt x="246031" y="210788"/>
                    <a:pt x="248793" y="206312"/>
                  </a:cubicBezTo>
                  <a:lnTo>
                    <a:pt x="249936" y="204407"/>
                  </a:lnTo>
                  <a:cubicBezTo>
                    <a:pt x="252603" y="199834"/>
                    <a:pt x="258413" y="198310"/>
                    <a:pt x="262985" y="200882"/>
                  </a:cubicBezTo>
                  <a:cubicBezTo>
                    <a:pt x="267557" y="203549"/>
                    <a:pt x="269081" y="209359"/>
                    <a:pt x="266509" y="213932"/>
                  </a:cubicBezTo>
                  <a:lnTo>
                    <a:pt x="265176" y="216217"/>
                  </a:lnTo>
                  <a:cubicBezTo>
                    <a:pt x="263366" y="219170"/>
                    <a:pt x="260223" y="220789"/>
                    <a:pt x="256984" y="220789"/>
                  </a:cubicBezTo>
                  <a:close/>
                  <a:moveTo>
                    <a:pt x="27527" y="218980"/>
                  </a:moveTo>
                  <a:cubicBezTo>
                    <a:pt x="24289" y="218980"/>
                    <a:pt x="21050" y="217265"/>
                    <a:pt x="19241" y="214217"/>
                  </a:cubicBezTo>
                  <a:lnTo>
                    <a:pt x="18002" y="212026"/>
                  </a:lnTo>
                  <a:cubicBezTo>
                    <a:pt x="15430" y="207454"/>
                    <a:pt x="17145" y="201644"/>
                    <a:pt x="21717" y="199072"/>
                  </a:cubicBezTo>
                  <a:cubicBezTo>
                    <a:pt x="26289" y="196501"/>
                    <a:pt x="32099" y="198215"/>
                    <a:pt x="34671" y="202787"/>
                  </a:cubicBezTo>
                  <a:lnTo>
                    <a:pt x="35719" y="204692"/>
                  </a:lnTo>
                  <a:cubicBezTo>
                    <a:pt x="38385" y="209264"/>
                    <a:pt x="36862" y="215075"/>
                    <a:pt x="32290" y="217742"/>
                  </a:cubicBezTo>
                  <a:cubicBezTo>
                    <a:pt x="30766" y="218599"/>
                    <a:pt x="29146" y="219075"/>
                    <a:pt x="27527" y="219075"/>
                  </a:cubicBezTo>
                  <a:close/>
                  <a:moveTo>
                    <a:pt x="275844" y="154591"/>
                  </a:moveTo>
                  <a:lnTo>
                    <a:pt x="275749" y="154591"/>
                  </a:lnTo>
                  <a:cubicBezTo>
                    <a:pt x="270510" y="154591"/>
                    <a:pt x="266224" y="150209"/>
                    <a:pt x="266319" y="144971"/>
                  </a:cubicBezTo>
                  <a:lnTo>
                    <a:pt x="266319" y="142684"/>
                  </a:lnTo>
                  <a:cubicBezTo>
                    <a:pt x="266319" y="137446"/>
                    <a:pt x="270605" y="132874"/>
                    <a:pt x="275844" y="132874"/>
                  </a:cubicBezTo>
                  <a:cubicBezTo>
                    <a:pt x="281083" y="132874"/>
                    <a:pt x="285369" y="136874"/>
                    <a:pt x="285369" y="142113"/>
                  </a:cubicBezTo>
                  <a:lnTo>
                    <a:pt x="285369" y="145161"/>
                  </a:lnTo>
                  <a:cubicBezTo>
                    <a:pt x="285369" y="150400"/>
                    <a:pt x="281083" y="154591"/>
                    <a:pt x="275844" y="154591"/>
                  </a:cubicBezTo>
                  <a:close/>
                  <a:moveTo>
                    <a:pt x="9525" y="152305"/>
                  </a:moveTo>
                  <a:cubicBezTo>
                    <a:pt x="4286" y="152305"/>
                    <a:pt x="0" y="148209"/>
                    <a:pt x="0" y="142875"/>
                  </a:cubicBezTo>
                  <a:lnTo>
                    <a:pt x="0" y="140303"/>
                  </a:lnTo>
                  <a:cubicBezTo>
                    <a:pt x="0" y="135064"/>
                    <a:pt x="4476" y="130492"/>
                    <a:pt x="9620" y="130874"/>
                  </a:cubicBezTo>
                  <a:cubicBezTo>
                    <a:pt x="14859" y="130874"/>
                    <a:pt x="19050" y="135255"/>
                    <a:pt x="19050" y="140494"/>
                  </a:cubicBezTo>
                  <a:lnTo>
                    <a:pt x="19050" y="142494"/>
                  </a:lnTo>
                  <a:cubicBezTo>
                    <a:pt x="19050" y="147733"/>
                    <a:pt x="14764" y="152114"/>
                    <a:pt x="9525" y="152114"/>
                  </a:cubicBezTo>
                  <a:close/>
                  <a:moveTo>
                    <a:pt x="258985" y="87249"/>
                  </a:moveTo>
                  <a:cubicBezTo>
                    <a:pt x="255651" y="87249"/>
                    <a:pt x="252413" y="85534"/>
                    <a:pt x="250698" y="82391"/>
                  </a:cubicBezTo>
                  <a:lnTo>
                    <a:pt x="249555" y="80486"/>
                  </a:lnTo>
                  <a:cubicBezTo>
                    <a:pt x="246888" y="75914"/>
                    <a:pt x="248412" y="70104"/>
                    <a:pt x="252984" y="67437"/>
                  </a:cubicBezTo>
                  <a:cubicBezTo>
                    <a:pt x="257460" y="64770"/>
                    <a:pt x="263366" y="66294"/>
                    <a:pt x="266033" y="70866"/>
                  </a:cubicBezTo>
                  <a:lnTo>
                    <a:pt x="267271" y="73057"/>
                  </a:lnTo>
                  <a:cubicBezTo>
                    <a:pt x="269843" y="77629"/>
                    <a:pt x="268224" y="83439"/>
                    <a:pt x="263652" y="86011"/>
                  </a:cubicBezTo>
                  <a:cubicBezTo>
                    <a:pt x="262223" y="86868"/>
                    <a:pt x="260604" y="87249"/>
                    <a:pt x="258985" y="87249"/>
                  </a:cubicBezTo>
                  <a:close/>
                  <a:moveTo>
                    <a:pt x="27146" y="85916"/>
                  </a:moveTo>
                  <a:cubicBezTo>
                    <a:pt x="25527" y="85916"/>
                    <a:pt x="23908" y="85534"/>
                    <a:pt x="22384" y="84677"/>
                  </a:cubicBezTo>
                  <a:cubicBezTo>
                    <a:pt x="17812" y="82105"/>
                    <a:pt x="16193" y="76200"/>
                    <a:pt x="18859" y="71628"/>
                  </a:cubicBezTo>
                  <a:lnTo>
                    <a:pt x="20193" y="69437"/>
                  </a:lnTo>
                  <a:cubicBezTo>
                    <a:pt x="22860" y="64960"/>
                    <a:pt x="28766" y="63437"/>
                    <a:pt x="33242" y="66199"/>
                  </a:cubicBezTo>
                  <a:cubicBezTo>
                    <a:pt x="37719" y="68866"/>
                    <a:pt x="39243" y="74771"/>
                    <a:pt x="36481" y="79248"/>
                  </a:cubicBezTo>
                  <a:lnTo>
                    <a:pt x="35338" y="81153"/>
                  </a:lnTo>
                  <a:cubicBezTo>
                    <a:pt x="33623" y="84201"/>
                    <a:pt x="30385" y="85916"/>
                    <a:pt x="27051" y="85916"/>
                  </a:cubicBezTo>
                  <a:close/>
                  <a:moveTo>
                    <a:pt x="210884" y="37909"/>
                  </a:moveTo>
                  <a:cubicBezTo>
                    <a:pt x="209169" y="37909"/>
                    <a:pt x="207550" y="37433"/>
                    <a:pt x="206026" y="36576"/>
                  </a:cubicBezTo>
                  <a:lnTo>
                    <a:pt x="204121" y="35433"/>
                  </a:lnTo>
                  <a:cubicBezTo>
                    <a:pt x="199549" y="32861"/>
                    <a:pt x="197929" y="26956"/>
                    <a:pt x="200596" y="22384"/>
                  </a:cubicBezTo>
                  <a:cubicBezTo>
                    <a:pt x="203168" y="17812"/>
                    <a:pt x="209074" y="16192"/>
                    <a:pt x="213550" y="18859"/>
                  </a:cubicBezTo>
                  <a:lnTo>
                    <a:pt x="215836" y="20193"/>
                  </a:lnTo>
                  <a:cubicBezTo>
                    <a:pt x="220313" y="22860"/>
                    <a:pt x="221837" y="28766"/>
                    <a:pt x="219075" y="33242"/>
                  </a:cubicBezTo>
                  <a:cubicBezTo>
                    <a:pt x="217265" y="36195"/>
                    <a:pt x="214122" y="37814"/>
                    <a:pt x="210884" y="37814"/>
                  </a:cubicBezTo>
                  <a:close/>
                  <a:moveTo>
                    <a:pt x="75724" y="37052"/>
                  </a:moveTo>
                  <a:cubicBezTo>
                    <a:pt x="72485" y="37052"/>
                    <a:pt x="69247" y="35338"/>
                    <a:pt x="67437" y="32290"/>
                  </a:cubicBezTo>
                  <a:cubicBezTo>
                    <a:pt x="64770" y="27718"/>
                    <a:pt x="66294" y="21908"/>
                    <a:pt x="70866" y="19241"/>
                  </a:cubicBezTo>
                  <a:lnTo>
                    <a:pt x="73057" y="18002"/>
                  </a:lnTo>
                  <a:cubicBezTo>
                    <a:pt x="77628" y="15430"/>
                    <a:pt x="83439" y="17050"/>
                    <a:pt x="86010" y="21622"/>
                  </a:cubicBezTo>
                  <a:cubicBezTo>
                    <a:pt x="88582" y="26194"/>
                    <a:pt x="86963" y="32004"/>
                    <a:pt x="82391" y="34576"/>
                  </a:cubicBezTo>
                  <a:lnTo>
                    <a:pt x="80486" y="35719"/>
                  </a:lnTo>
                  <a:cubicBezTo>
                    <a:pt x="78962" y="36576"/>
                    <a:pt x="77343" y="37052"/>
                    <a:pt x="75724" y="37052"/>
                  </a:cubicBezTo>
                  <a:close/>
                  <a:moveTo>
                    <a:pt x="144589" y="19050"/>
                  </a:moveTo>
                  <a:lnTo>
                    <a:pt x="142589" y="19050"/>
                  </a:lnTo>
                  <a:cubicBezTo>
                    <a:pt x="137350" y="19050"/>
                    <a:pt x="132874" y="14764"/>
                    <a:pt x="132874" y="9525"/>
                  </a:cubicBezTo>
                  <a:cubicBezTo>
                    <a:pt x="132874" y="4286"/>
                    <a:pt x="136874" y="0"/>
                    <a:pt x="142208" y="0"/>
                  </a:cubicBezTo>
                  <a:lnTo>
                    <a:pt x="144780" y="0"/>
                  </a:lnTo>
                  <a:cubicBezTo>
                    <a:pt x="150019" y="0"/>
                    <a:pt x="154210" y="4382"/>
                    <a:pt x="154210" y="9716"/>
                  </a:cubicBezTo>
                  <a:cubicBezTo>
                    <a:pt x="154210" y="14954"/>
                    <a:pt x="149923" y="19145"/>
                    <a:pt x="144685" y="191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1735CD90-6934-B985-98CE-D6CF6C9B0BDD}"/>
                </a:ext>
              </a:extLst>
            </p:cNvPr>
            <p:cNvSpPr/>
            <p:nvPr/>
          </p:nvSpPr>
          <p:spPr>
            <a:xfrm rot="316174">
              <a:off x="11326709" y="2543431"/>
              <a:ext cx="205857" cy="205857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5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5" y="0"/>
                    <a:pt x="190500" y="42645"/>
                    <a:pt x="190500" y="95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439FCB5-CC88-0507-2388-154C0386A468}"/>
                </a:ext>
              </a:extLst>
            </p:cNvPr>
            <p:cNvSpPr/>
            <p:nvPr/>
          </p:nvSpPr>
          <p:spPr>
            <a:xfrm rot="316174">
              <a:off x="11852163" y="2326646"/>
              <a:ext cx="399361" cy="399258"/>
            </a:xfrm>
            <a:custGeom>
              <a:avLst/>
              <a:gdLst>
                <a:gd name="connsiteX0" fmla="*/ 184975 w 369569"/>
                <a:gd name="connsiteY0" fmla="*/ 369475 h 369474"/>
                <a:gd name="connsiteX1" fmla="*/ 182499 w 369569"/>
                <a:gd name="connsiteY1" fmla="*/ 369475 h 369474"/>
                <a:gd name="connsiteX2" fmla="*/ 173069 w 369569"/>
                <a:gd name="connsiteY2" fmla="*/ 359854 h 369474"/>
                <a:gd name="connsiteX3" fmla="*/ 182594 w 369569"/>
                <a:gd name="connsiteY3" fmla="*/ 350425 h 369474"/>
                <a:gd name="connsiteX4" fmla="*/ 184785 w 369569"/>
                <a:gd name="connsiteY4" fmla="*/ 350425 h 369474"/>
                <a:gd name="connsiteX5" fmla="*/ 194405 w 369569"/>
                <a:gd name="connsiteY5" fmla="*/ 359950 h 369474"/>
                <a:gd name="connsiteX6" fmla="*/ 184975 w 369569"/>
                <a:gd name="connsiteY6" fmla="*/ 369475 h 369474"/>
                <a:gd name="connsiteX7" fmla="*/ 249841 w 369569"/>
                <a:gd name="connsiteY7" fmla="*/ 356997 h 369474"/>
                <a:gd name="connsiteX8" fmla="*/ 240982 w 369569"/>
                <a:gd name="connsiteY8" fmla="*/ 350996 h 369474"/>
                <a:gd name="connsiteX9" fmla="*/ 246316 w 369569"/>
                <a:gd name="connsiteY9" fmla="*/ 338614 h 369474"/>
                <a:gd name="connsiteX10" fmla="*/ 248317 w 369569"/>
                <a:gd name="connsiteY10" fmla="*/ 337757 h 369474"/>
                <a:gd name="connsiteX11" fmla="*/ 260795 w 369569"/>
                <a:gd name="connsiteY11" fmla="*/ 342900 h 369474"/>
                <a:gd name="connsiteX12" fmla="*/ 255651 w 369569"/>
                <a:gd name="connsiteY12" fmla="*/ 355378 h 369474"/>
                <a:gd name="connsiteX13" fmla="*/ 253365 w 369569"/>
                <a:gd name="connsiteY13" fmla="*/ 356330 h 369474"/>
                <a:gd name="connsiteX14" fmla="*/ 249841 w 369569"/>
                <a:gd name="connsiteY14" fmla="*/ 356997 h 369474"/>
                <a:gd name="connsiteX15" fmla="*/ 117920 w 369569"/>
                <a:gd name="connsiteY15" fmla="*/ 356235 h 369474"/>
                <a:gd name="connsiteX16" fmla="*/ 114300 w 369569"/>
                <a:gd name="connsiteY16" fmla="*/ 355473 h 369474"/>
                <a:gd name="connsiteX17" fmla="*/ 111919 w 369569"/>
                <a:gd name="connsiteY17" fmla="*/ 354425 h 369474"/>
                <a:gd name="connsiteX18" fmla="*/ 106966 w 369569"/>
                <a:gd name="connsiteY18" fmla="*/ 341852 h 369474"/>
                <a:gd name="connsiteX19" fmla="*/ 119539 w 369569"/>
                <a:gd name="connsiteY19" fmla="*/ 336899 h 369474"/>
                <a:gd name="connsiteX20" fmla="*/ 121539 w 369569"/>
                <a:gd name="connsiteY20" fmla="*/ 337757 h 369474"/>
                <a:gd name="connsiteX21" fmla="*/ 126682 w 369569"/>
                <a:gd name="connsiteY21" fmla="*/ 350234 h 369474"/>
                <a:gd name="connsiteX22" fmla="*/ 117920 w 369569"/>
                <a:gd name="connsiteY22" fmla="*/ 356140 h 369474"/>
                <a:gd name="connsiteX23" fmla="*/ 307086 w 369569"/>
                <a:gd name="connsiteY23" fmla="*/ 319754 h 369474"/>
                <a:gd name="connsiteX24" fmla="*/ 300228 w 369569"/>
                <a:gd name="connsiteY24" fmla="*/ 316897 h 369474"/>
                <a:gd name="connsiteX25" fmla="*/ 300418 w 369569"/>
                <a:gd name="connsiteY25" fmla="*/ 303466 h 369474"/>
                <a:gd name="connsiteX26" fmla="*/ 302037 w 369569"/>
                <a:gd name="connsiteY26" fmla="*/ 301847 h 369474"/>
                <a:gd name="connsiteX27" fmla="*/ 315468 w 369569"/>
                <a:gd name="connsiteY27" fmla="*/ 301847 h 369474"/>
                <a:gd name="connsiteX28" fmla="*/ 315468 w 369569"/>
                <a:gd name="connsiteY28" fmla="*/ 315278 h 369474"/>
                <a:gd name="connsiteX29" fmla="*/ 313658 w 369569"/>
                <a:gd name="connsiteY29" fmla="*/ 316992 h 369474"/>
                <a:gd name="connsiteX30" fmla="*/ 306991 w 369569"/>
                <a:gd name="connsiteY30" fmla="*/ 319659 h 369474"/>
                <a:gd name="connsiteX31" fmla="*/ 61055 w 369569"/>
                <a:gd name="connsiteY31" fmla="*/ 318326 h 369474"/>
                <a:gd name="connsiteX32" fmla="*/ 54293 w 369569"/>
                <a:gd name="connsiteY32" fmla="*/ 315563 h 369474"/>
                <a:gd name="connsiteX33" fmla="*/ 52578 w 369569"/>
                <a:gd name="connsiteY33" fmla="*/ 313753 h 369474"/>
                <a:gd name="connsiteX34" fmla="*/ 52768 w 369569"/>
                <a:gd name="connsiteY34" fmla="*/ 300323 h 369474"/>
                <a:gd name="connsiteX35" fmla="*/ 66199 w 369569"/>
                <a:gd name="connsiteY35" fmla="*/ 300514 h 369474"/>
                <a:gd name="connsiteX36" fmla="*/ 67818 w 369569"/>
                <a:gd name="connsiteY36" fmla="*/ 302133 h 369474"/>
                <a:gd name="connsiteX37" fmla="*/ 67818 w 369569"/>
                <a:gd name="connsiteY37" fmla="*/ 315563 h 369474"/>
                <a:gd name="connsiteX38" fmla="*/ 61055 w 369569"/>
                <a:gd name="connsiteY38" fmla="*/ 318326 h 369474"/>
                <a:gd name="connsiteX39" fmla="*/ 345853 w 369569"/>
                <a:gd name="connsiteY39" fmla="*/ 263461 h 369474"/>
                <a:gd name="connsiteX40" fmla="*/ 342043 w 369569"/>
                <a:gd name="connsiteY40" fmla="*/ 262699 h 369474"/>
                <a:gd name="connsiteX41" fmla="*/ 337090 w 369569"/>
                <a:gd name="connsiteY41" fmla="*/ 250127 h 369474"/>
                <a:gd name="connsiteX42" fmla="*/ 337947 w 369569"/>
                <a:gd name="connsiteY42" fmla="*/ 248031 h 369474"/>
                <a:gd name="connsiteX43" fmla="*/ 350425 w 369569"/>
                <a:gd name="connsiteY43" fmla="*/ 242887 h 369474"/>
                <a:gd name="connsiteX44" fmla="*/ 355568 w 369569"/>
                <a:gd name="connsiteY44" fmla="*/ 255365 h 369474"/>
                <a:gd name="connsiteX45" fmla="*/ 354616 w 369569"/>
                <a:gd name="connsiteY45" fmla="*/ 257651 h 369474"/>
                <a:gd name="connsiteX46" fmla="*/ 345853 w 369569"/>
                <a:gd name="connsiteY46" fmla="*/ 263366 h 369474"/>
                <a:gd name="connsiteX47" fmla="*/ 22955 w 369569"/>
                <a:gd name="connsiteY47" fmla="*/ 261556 h 369474"/>
                <a:gd name="connsiteX48" fmla="*/ 14192 w 369569"/>
                <a:gd name="connsiteY48" fmla="*/ 255746 h 369474"/>
                <a:gd name="connsiteX49" fmla="*/ 13240 w 369569"/>
                <a:gd name="connsiteY49" fmla="*/ 253365 h 369474"/>
                <a:gd name="connsiteX50" fmla="*/ 18574 w 369569"/>
                <a:gd name="connsiteY50" fmla="*/ 240982 h 369474"/>
                <a:gd name="connsiteX51" fmla="*/ 30956 w 369569"/>
                <a:gd name="connsiteY51" fmla="*/ 246316 h 369474"/>
                <a:gd name="connsiteX52" fmla="*/ 31718 w 369569"/>
                <a:gd name="connsiteY52" fmla="*/ 248317 h 369474"/>
                <a:gd name="connsiteX53" fmla="*/ 26670 w 369569"/>
                <a:gd name="connsiteY53" fmla="*/ 260794 h 369474"/>
                <a:gd name="connsiteX54" fmla="*/ 22955 w 369569"/>
                <a:gd name="connsiteY54" fmla="*/ 261556 h 369474"/>
                <a:gd name="connsiteX55" fmla="*/ 360045 w 369569"/>
                <a:gd name="connsiteY55" fmla="*/ 196596 h 369474"/>
                <a:gd name="connsiteX56" fmla="*/ 359950 w 369569"/>
                <a:gd name="connsiteY56" fmla="*/ 196596 h 369474"/>
                <a:gd name="connsiteX57" fmla="*/ 350520 w 369569"/>
                <a:gd name="connsiteY57" fmla="*/ 186976 h 369474"/>
                <a:gd name="connsiteX58" fmla="*/ 350520 w 369569"/>
                <a:gd name="connsiteY58" fmla="*/ 184690 h 369474"/>
                <a:gd name="connsiteX59" fmla="*/ 360045 w 369569"/>
                <a:gd name="connsiteY59" fmla="*/ 174784 h 369474"/>
                <a:gd name="connsiteX60" fmla="*/ 369570 w 369569"/>
                <a:gd name="connsiteY60" fmla="*/ 183928 h 369474"/>
                <a:gd name="connsiteX61" fmla="*/ 369570 w 369569"/>
                <a:gd name="connsiteY61" fmla="*/ 187071 h 369474"/>
                <a:gd name="connsiteX62" fmla="*/ 360045 w 369569"/>
                <a:gd name="connsiteY62" fmla="*/ 196501 h 369474"/>
                <a:gd name="connsiteX63" fmla="*/ 9525 w 369569"/>
                <a:gd name="connsiteY63" fmla="*/ 194405 h 369474"/>
                <a:gd name="connsiteX64" fmla="*/ 0 w 369569"/>
                <a:gd name="connsiteY64" fmla="*/ 185071 h 369474"/>
                <a:gd name="connsiteX65" fmla="*/ 0 w 369569"/>
                <a:gd name="connsiteY65" fmla="*/ 182594 h 369474"/>
                <a:gd name="connsiteX66" fmla="*/ 9620 w 369569"/>
                <a:gd name="connsiteY66" fmla="*/ 173165 h 369474"/>
                <a:gd name="connsiteX67" fmla="*/ 19050 w 369569"/>
                <a:gd name="connsiteY67" fmla="*/ 182785 h 369474"/>
                <a:gd name="connsiteX68" fmla="*/ 19050 w 369569"/>
                <a:gd name="connsiteY68" fmla="*/ 184690 h 369474"/>
                <a:gd name="connsiteX69" fmla="*/ 9525 w 369569"/>
                <a:gd name="connsiteY69" fmla="*/ 194405 h 369474"/>
                <a:gd name="connsiteX70" fmla="*/ 347376 w 369569"/>
                <a:gd name="connsiteY70" fmla="*/ 128778 h 369474"/>
                <a:gd name="connsiteX71" fmla="*/ 338518 w 369569"/>
                <a:gd name="connsiteY71" fmla="*/ 122873 h 369474"/>
                <a:gd name="connsiteX72" fmla="*/ 337661 w 369569"/>
                <a:gd name="connsiteY72" fmla="*/ 120777 h 369474"/>
                <a:gd name="connsiteX73" fmla="*/ 342709 w 369569"/>
                <a:gd name="connsiteY73" fmla="*/ 108299 h 369474"/>
                <a:gd name="connsiteX74" fmla="*/ 355187 w 369569"/>
                <a:gd name="connsiteY74" fmla="*/ 113348 h 369474"/>
                <a:gd name="connsiteX75" fmla="*/ 356140 w 369569"/>
                <a:gd name="connsiteY75" fmla="*/ 115633 h 369474"/>
                <a:gd name="connsiteX76" fmla="*/ 350901 w 369569"/>
                <a:gd name="connsiteY76" fmla="*/ 128016 h 369474"/>
                <a:gd name="connsiteX77" fmla="*/ 347281 w 369569"/>
                <a:gd name="connsiteY77" fmla="*/ 128683 h 369474"/>
                <a:gd name="connsiteX78" fmla="*/ 22670 w 369569"/>
                <a:gd name="connsiteY78" fmla="*/ 127540 h 369474"/>
                <a:gd name="connsiteX79" fmla="*/ 18955 w 369569"/>
                <a:gd name="connsiteY79" fmla="*/ 126778 h 369474"/>
                <a:gd name="connsiteX80" fmla="*/ 13811 w 369569"/>
                <a:gd name="connsiteY80" fmla="*/ 114300 h 369474"/>
                <a:gd name="connsiteX81" fmla="*/ 14764 w 369569"/>
                <a:gd name="connsiteY81" fmla="*/ 112109 h 369474"/>
                <a:gd name="connsiteX82" fmla="*/ 27241 w 369569"/>
                <a:gd name="connsiteY82" fmla="*/ 107061 h 369474"/>
                <a:gd name="connsiteX83" fmla="*/ 32290 w 369569"/>
                <a:gd name="connsiteY83" fmla="*/ 119539 h 369474"/>
                <a:gd name="connsiteX84" fmla="*/ 31337 w 369569"/>
                <a:gd name="connsiteY84" fmla="*/ 121729 h 369474"/>
                <a:gd name="connsiteX85" fmla="*/ 22574 w 369569"/>
                <a:gd name="connsiteY85" fmla="*/ 127635 h 369474"/>
                <a:gd name="connsiteX86" fmla="*/ 309943 w 369569"/>
                <a:gd name="connsiteY86" fmla="*/ 71628 h 369474"/>
                <a:gd name="connsiteX87" fmla="*/ 303181 w 369569"/>
                <a:gd name="connsiteY87" fmla="*/ 68771 h 369474"/>
                <a:gd name="connsiteX88" fmla="*/ 301561 w 369569"/>
                <a:gd name="connsiteY88" fmla="*/ 67151 h 369474"/>
                <a:gd name="connsiteX89" fmla="*/ 301561 w 369569"/>
                <a:gd name="connsiteY89" fmla="*/ 53721 h 369474"/>
                <a:gd name="connsiteX90" fmla="*/ 314992 w 369569"/>
                <a:gd name="connsiteY90" fmla="*/ 53721 h 369474"/>
                <a:gd name="connsiteX91" fmla="*/ 316706 w 369569"/>
                <a:gd name="connsiteY91" fmla="*/ 55435 h 369474"/>
                <a:gd name="connsiteX92" fmla="*/ 316706 w 369569"/>
                <a:gd name="connsiteY92" fmla="*/ 68866 h 369474"/>
                <a:gd name="connsiteX93" fmla="*/ 310039 w 369569"/>
                <a:gd name="connsiteY93" fmla="*/ 71628 h 369474"/>
                <a:gd name="connsiteX94" fmla="*/ 60579 w 369569"/>
                <a:gd name="connsiteY94" fmla="*/ 70675 h 369474"/>
                <a:gd name="connsiteX95" fmla="*/ 53816 w 369569"/>
                <a:gd name="connsiteY95" fmla="*/ 67913 h 369474"/>
                <a:gd name="connsiteX96" fmla="*/ 53816 w 369569"/>
                <a:gd name="connsiteY96" fmla="*/ 54483 h 369474"/>
                <a:gd name="connsiteX97" fmla="*/ 55626 w 369569"/>
                <a:gd name="connsiteY97" fmla="*/ 52769 h 369474"/>
                <a:gd name="connsiteX98" fmla="*/ 69056 w 369569"/>
                <a:gd name="connsiteY98" fmla="*/ 52959 h 369474"/>
                <a:gd name="connsiteX99" fmla="*/ 68866 w 369569"/>
                <a:gd name="connsiteY99" fmla="*/ 66389 h 369474"/>
                <a:gd name="connsiteX100" fmla="*/ 67246 w 369569"/>
                <a:gd name="connsiteY100" fmla="*/ 68008 h 369474"/>
                <a:gd name="connsiteX101" fmla="*/ 60484 w 369569"/>
                <a:gd name="connsiteY101" fmla="*/ 70771 h 369474"/>
                <a:gd name="connsiteX102" fmla="*/ 253555 w 369569"/>
                <a:gd name="connsiteY102" fmla="*/ 33052 h 369474"/>
                <a:gd name="connsiteX103" fmla="*/ 249841 w 369569"/>
                <a:gd name="connsiteY103" fmla="*/ 32290 h 369474"/>
                <a:gd name="connsiteX104" fmla="*/ 247745 w 369569"/>
                <a:gd name="connsiteY104" fmla="*/ 31432 h 369474"/>
                <a:gd name="connsiteX105" fmla="*/ 242601 w 369569"/>
                <a:gd name="connsiteY105" fmla="*/ 18955 h 369474"/>
                <a:gd name="connsiteX106" fmla="*/ 255079 w 369569"/>
                <a:gd name="connsiteY106" fmla="*/ 13811 h 369474"/>
                <a:gd name="connsiteX107" fmla="*/ 257365 w 369569"/>
                <a:gd name="connsiteY107" fmla="*/ 14764 h 369474"/>
                <a:gd name="connsiteX108" fmla="*/ 262318 w 369569"/>
                <a:gd name="connsiteY108" fmla="*/ 27242 h 369474"/>
                <a:gd name="connsiteX109" fmla="*/ 253555 w 369569"/>
                <a:gd name="connsiteY109" fmla="*/ 33052 h 369474"/>
                <a:gd name="connsiteX110" fmla="*/ 117253 w 369569"/>
                <a:gd name="connsiteY110" fmla="*/ 32480 h 369474"/>
                <a:gd name="connsiteX111" fmla="*/ 108490 w 369569"/>
                <a:gd name="connsiteY111" fmla="*/ 26575 h 369474"/>
                <a:gd name="connsiteX112" fmla="*/ 113633 w 369569"/>
                <a:gd name="connsiteY112" fmla="*/ 14097 h 369474"/>
                <a:gd name="connsiteX113" fmla="*/ 115919 w 369569"/>
                <a:gd name="connsiteY113" fmla="*/ 13144 h 369474"/>
                <a:gd name="connsiteX114" fmla="*/ 128301 w 369569"/>
                <a:gd name="connsiteY114" fmla="*/ 18383 h 369474"/>
                <a:gd name="connsiteX115" fmla="*/ 123063 w 369569"/>
                <a:gd name="connsiteY115" fmla="*/ 30766 h 369474"/>
                <a:gd name="connsiteX116" fmla="*/ 120968 w 369569"/>
                <a:gd name="connsiteY116" fmla="*/ 31623 h 369474"/>
                <a:gd name="connsiteX117" fmla="*/ 117348 w 369569"/>
                <a:gd name="connsiteY117" fmla="*/ 32385 h 369474"/>
                <a:gd name="connsiteX118" fmla="*/ 186594 w 369569"/>
                <a:gd name="connsiteY118" fmla="*/ 19050 h 369474"/>
                <a:gd name="connsiteX119" fmla="*/ 184785 w 369569"/>
                <a:gd name="connsiteY119" fmla="*/ 19050 h 369474"/>
                <a:gd name="connsiteX120" fmla="*/ 174974 w 369569"/>
                <a:gd name="connsiteY120" fmla="*/ 9525 h 369474"/>
                <a:gd name="connsiteX121" fmla="*/ 184213 w 369569"/>
                <a:gd name="connsiteY121" fmla="*/ 0 h 369474"/>
                <a:gd name="connsiteX122" fmla="*/ 186690 w 369569"/>
                <a:gd name="connsiteY122" fmla="*/ 0 h 369474"/>
                <a:gd name="connsiteX123" fmla="*/ 196119 w 369569"/>
                <a:gd name="connsiteY123" fmla="*/ 9620 h 369474"/>
                <a:gd name="connsiteX124" fmla="*/ 186594 w 369569"/>
                <a:gd name="connsiteY124" fmla="*/ 19050 h 369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369569" h="369474">
                  <a:moveTo>
                    <a:pt x="184975" y="369475"/>
                  </a:moveTo>
                  <a:lnTo>
                    <a:pt x="182499" y="369475"/>
                  </a:lnTo>
                  <a:cubicBezTo>
                    <a:pt x="177260" y="369475"/>
                    <a:pt x="173069" y="365093"/>
                    <a:pt x="173069" y="359854"/>
                  </a:cubicBezTo>
                  <a:cubicBezTo>
                    <a:pt x="173069" y="354616"/>
                    <a:pt x="177355" y="350425"/>
                    <a:pt x="182594" y="350425"/>
                  </a:cubicBezTo>
                  <a:lnTo>
                    <a:pt x="184785" y="350425"/>
                  </a:lnTo>
                  <a:cubicBezTo>
                    <a:pt x="190024" y="350425"/>
                    <a:pt x="194405" y="354711"/>
                    <a:pt x="194405" y="359950"/>
                  </a:cubicBezTo>
                  <a:cubicBezTo>
                    <a:pt x="194405" y="365189"/>
                    <a:pt x="190214" y="369475"/>
                    <a:pt x="184975" y="369475"/>
                  </a:cubicBezTo>
                  <a:close/>
                  <a:moveTo>
                    <a:pt x="249841" y="356997"/>
                  </a:moveTo>
                  <a:cubicBezTo>
                    <a:pt x="246031" y="356997"/>
                    <a:pt x="242506" y="354711"/>
                    <a:pt x="240982" y="350996"/>
                  </a:cubicBezTo>
                  <a:cubicBezTo>
                    <a:pt x="238982" y="346139"/>
                    <a:pt x="241363" y="340614"/>
                    <a:pt x="246316" y="338614"/>
                  </a:cubicBezTo>
                  <a:lnTo>
                    <a:pt x="248317" y="337757"/>
                  </a:lnTo>
                  <a:cubicBezTo>
                    <a:pt x="253175" y="335756"/>
                    <a:pt x="258699" y="338042"/>
                    <a:pt x="260795" y="342900"/>
                  </a:cubicBezTo>
                  <a:cubicBezTo>
                    <a:pt x="262794" y="347758"/>
                    <a:pt x="260509" y="353378"/>
                    <a:pt x="255651" y="355378"/>
                  </a:cubicBezTo>
                  <a:lnTo>
                    <a:pt x="253365" y="356330"/>
                  </a:lnTo>
                  <a:cubicBezTo>
                    <a:pt x="252222" y="356807"/>
                    <a:pt x="250984" y="356997"/>
                    <a:pt x="249841" y="356997"/>
                  </a:cubicBezTo>
                  <a:close/>
                  <a:moveTo>
                    <a:pt x="117920" y="356235"/>
                  </a:moveTo>
                  <a:cubicBezTo>
                    <a:pt x="116681" y="356235"/>
                    <a:pt x="115443" y="356044"/>
                    <a:pt x="114300" y="355473"/>
                  </a:cubicBezTo>
                  <a:lnTo>
                    <a:pt x="111919" y="354425"/>
                  </a:lnTo>
                  <a:cubicBezTo>
                    <a:pt x="107061" y="352330"/>
                    <a:pt x="104870" y="346710"/>
                    <a:pt x="106966" y="341852"/>
                  </a:cubicBezTo>
                  <a:cubicBezTo>
                    <a:pt x="109061" y="336994"/>
                    <a:pt x="114681" y="334804"/>
                    <a:pt x="119539" y="336899"/>
                  </a:cubicBezTo>
                  <a:lnTo>
                    <a:pt x="121539" y="337757"/>
                  </a:lnTo>
                  <a:cubicBezTo>
                    <a:pt x="126396" y="339757"/>
                    <a:pt x="128683" y="345281"/>
                    <a:pt x="126682" y="350234"/>
                  </a:cubicBezTo>
                  <a:cubicBezTo>
                    <a:pt x="125159" y="353949"/>
                    <a:pt x="121634" y="356140"/>
                    <a:pt x="117920" y="356140"/>
                  </a:cubicBezTo>
                  <a:close/>
                  <a:moveTo>
                    <a:pt x="307086" y="319754"/>
                  </a:moveTo>
                  <a:cubicBezTo>
                    <a:pt x="304609" y="319754"/>
                    <a:pt x="302133" y="318802"/>
                    <a:pt x="300228" y="316897"/>
                  </a:cubicBezTo>
                  <a:cubicBezTo>
                    <a:pt x="296513" y="313087"/>
                    <a:pt x="296609" y="307086"/>
                    <a:pt x="300418" y="303466"/>
                  </a:cubicBezTo>
                  <a:lnTo>
                    <a:pt x="302037" y="301847"/>
                  </a:lnTo>
                  <a:cubicBezTo>
                    <a:pt x="305752" y="298132"/>
                    <a:pt x="311753" y="298132"/>
                    <a:pt x="315468" y="301847"/>
                  </a:cubicBezTo>
                  <a:cubicBezTo>
                    <a:pt x="319183" y="305562"/>
                    <a:pt x="319183" y="311563"/>
                    <a:pt x="315468" y="315278"/>
                  </a:cubicBezTo>
                  <a:lnTo>
                    <a:pt x="313658" y="316992"/>
                  </a:lnTo>
                  <a:cubicBezTo>
                    <a:pt x="311848" y="318802"/>
                    <a:pt x="309372" y="319659"/>
                    <a:pt x="306991" y="319659"/>
                  </a:cubicBezTo>
                  <a:close/>
                  <a:moveTo>
                    <a:pt x="61055" y="318326"/>
                  </a:moveTo>
                  <a:cubicBezTo>
                    <a:pt x="58578" y="318326"/>
                    <a:pt x="56197" y="317373"/>
                    <a:pt x="54293" y="315563"/>
                  </a:cubicBezTo>
                  <a:lnTo>
                    <a:pt x="52578" y="313753"/>
                  </a:lnTo>
                  <a:cubicBezTo>
                    <a:pt x="48863" y="309944"/>
                    <a:pt x="48959" y="303943"/>
                    <a:pt x="52768" y="300323"/>
                  </a:cubicBezTo>
                  <a:cubicBezTo>
                    <a:pt x="56483" y="296608"/>
                    <a:pt x="62579" y="296704"/>
                    <a:pt x="66199" y="300514"/>
                  </a:cubicBezTo>
                  <a:lnTo>
                    <a:pt x="67818" y="302133"/>
                  </a:lnTo>
                  <a:cubicBezTo>
                    <a:pt x="71533" y="305848"/>
                    <a:pt x="71533" y="311848"/>
                    <a:pt x="67818" y="315563"/>
                  </a:cubicBezTo>
                  <a:cubicBezTo>
                    <a:pt x="65913" y="317468"/>
                    <a:pt x="63532" y="318326"/>
                    <a:pt x="61055" y="318326"/>
                  </a:cubicBezTo>
                  <a:close/>
                  <a:moveTo>
                    <a:pt x="345853" y="263461"/>
                  </a:moveTo>
                  <a:cubicBezTo>
                    <a:pt x="344614" y="263461"/>
                    <a:pt x="343281" y="263176"/>
                    <a:pt x="342043" y="262699"/>
                  </a:cubicBezTo>
                  <a:cubicBezTo>
                    <a:pt x="337185" y="260604"/>
                    <a:pt x="334994" y="254984"/>
                    <a:pt x="337090" y="250127"/>
                  </a:cubicBezTo>
                  <a:lnTo>
                    <a:pt x="337947" y="248031"/>
                  </a:lnTo>
                  <a:cubicBezTo>
                    <a:pt x="339947" y="243173"/>
                    <a:pt x="345567" y="240887"/>
                    <a:pt x="350425" y="242887"/>
                  </a:cubicBezTo>
                  <a:cubicBezTo>
                    <a:pt x="355282" y="244888"/>
                    <a:pt x="357568" y="250507"/>
                    <a:pt x="355568" y="255365"/>
                  </a:cubicBezTo>
                  <a:lnTo>
                    <a:pt x="354616" y="257651"/>
                  </a:lnTo>
                  <a:cubicBezTo>
                    <a:pt x="353092" y="261271"/>
                    <a:pt x="349568" y="263366"/>
                    <a:pt x="345853" y="263366"/>
                  </a:cubicBezTo>
                  <a:close/>
                  <a:moveTo>
                    <a:pt x="22955" y="261556"/>
                  </a:moveTo>
                  <a:cubicBezTo>
                    <a:pt x="19240" y="261556"/>
                    <a:pt x="15716" y="259366"/>
                    <a:pt x="14192" y="255746"/>
                  </a:cubicBezTo>
                  <a:lnTo>
                    <a:pt x="13240" y="253365"/>
                  </a:lnTo>
                  <a:cubicBezTo>
                    <a:pt x="11335" y="248507"/>
                    <a:pt x="13716" y="242983"/>
                    <a:pt x="18574" y="240982"/>
                  </a:cubicBezTo>
                  <a:cubicBezTo>
                    <a:pt x="23431" y="239077"/>
                    <a:pt x="28956" y="241459"/>
                    <a:pt x="30956" y="246316"/>
                  </a:cubicBezTo>
                  <a:lnTo>
                    <a:pt x="31718" y="248317"/>
                  </a:lnTo>
                  <a:cubicBezTo>
                    <a:pt x="33718" y="253174"/>
                    <a:pt x="31528" y="258794"/>
                    <a:pt x="26670" y="260794"/>
                  </a:cubicBezTo>
                  <a:cubicBezTo>
                    <a:pt x="25432" y="261271"/>
                    <a:pt x="24193" y="261556"/>
                    <a:pt x="22955" y="261556"/>
                  </a:cubicBezTo>
                  <a:close/>
                  <a:moveTo>
                    <a:pt x="360045" y="196596"/>
                  </a:moveTo>
                  <a:lnTo>
                    <a:pt x="359950" y="196596"/>
                  </a:lnTo>
                  <a:cubicBezTo>
                    <a:pt x="354711" y="196596"/>
                    <a:pt x="350425" y="192215"/>
                    <a:pt x="350520" y="186976"/>
                  </a:cubicBezTo>
                  <a:lnTo>
                    <a:pt x="350520" y="184690"/>
                  </a:lnTo>
                  <a:cubicBezTo>
                    <a:pt x="350520" y="179451"/>
                    <a:pt x="354806" y="174784"/>
                    <a:pt x="360045" y="174784"/>
                  </a:cubicBezTo>
                  <a:cubicBezTo>
                    <a:pt x="365284" y="174784"/>
                    <a:pt x="369570" y="178689"/>
                    <a:pt x="369570" y="183928"/>
                  </a:cubicBezTo>
                  <a:lnTo>
                    <a:pt x="369570" y="187071"/>
                  </a:lnTo>
                  <a:cubicBezTo>
                    <a:pt x="369570" y="192310"/>
                    <a:pt x="365188" y="196501"/>
                    <a:pt x="360045" y="196501"/>
                  </a:cubicBezTo>
                  <a:close/>
                  <a:moveTo>
                    <a:pt x="9525" y="194405"/>
                  </a:moveTo>
                  <a:cubicBezTo>
                    <a:pt x="4286" y="194405"/>
                    <a:pt x="0" y="190310"/>
                    <a:pt x="0" y="185071"/>
                  </a:cubicBezTo>
                  <a:lnTo>
                    <a:pt x="0" y="182594"/>
                  </a:lnTo>
                  <a:cubicBezTo>
                    <a:pt x="0" y="177356"/>
                    <a:pt x="4763" y="172974"/>
                    <a:pt x="9620" y="173165"/>
                  </a:cubicBezTo>
                  <a:cubicBezTo>
                    <a:pt x="14859" y="173165"/>
                    <a:pt x="19050" y="177546"/>
                    <a:pt x="19050" y="182785"/>
                  </a:cubicBezTo>
                  <a:lnTo>
                    <a:pt x="19050" y="184690"/>
                  </a:lnTo>
                  <a:cubicBezTo>
                    <a:pt x="19050" y="189928"/>
                    <a:pt x="14764" y="194405"/>
                    <a:pt x="9525" y="194405"/>
                  </a:cubicBezTo>
                  <a:close/>
                  <a:moveTo>
                    <a:pt x="347376" y="128778"/>
                  </a:moveTo>
                  <a:cubicBezTo>
                    <a:pt x="343662" y="128778"/>
                    <a:pt x="340043" y="126492"/>
                    <a:pt x="338518" y="122873"/>
                  </a:cubicBezTo>
                  <a:lnTo>
                    <a:pt x="337661" y="120777"/>
                  </a:lnTo>
                  <a:cubicBezTo>
                    <a:pt x="335661" y="115919"/>
                    <a:pt x="337851" y="110300"/>
                    <a:pt x="342709" y="108299"/>
                  </a:cubicBezTo>
                  <a:cubicBezTo>
                    <a:pt x="347567" y="106299"/>
                    <a:pt x="353187" y="108490"/>
                    <a:pt x="355187" y="113348"/>
                  </a:cubicBezTo>
                  <a:lnTo>
                    <a:pt x="356140" y="115633"/>
                  </a:lnTo>
                  <a:cubicBezTo>
                    <a:pt x="358140" y="120491"/>
                    <a:pt x="355759" y="126111"/>
                    <a:pt x="350901" y="128016"/>
                  </a:cubicBezTo>
                  <a:cubicBezTo>
                    <a:pt x="349758" y="128492"/>
                    <a:pt x="348519" y="128683"/>
                    <a:pt x="347281" y="128683"/>
                  </a:cubicBezTo>
                  <a:close/>
                  <a:moveTo>
                    <a:pt x="22670" y="127540"/>
                  </a:moveTo>
                  <a:cubicBezTo>
                    <a:pt x="21431" y="127540"/>
                    <a:pt x="20193" y="127349"/>
                    <a:pt x="18955" y="126778"/>
                  </a:cubicBezTo>
                  <a:cubicBezTo>
                    <a:pt x="14097" y="124777"/>
                    <a:pt x="11811" y="119158"/>
                    <a:pt x="13811" y="114300"/>
                  </a:cubicBezTo>
                  <a:lnTo>
                    <a:pt x="14764" y="112109"/>
                  </a:lnTo>
                  <a:cubicBezTo>
                    <a:pt x="16764" y="107252"/>
                    <a:pt x="22384" y="104965"/>
                    <a:pt x="27241" y="107061"/>
                  </a:cubicBezTo>
                  <a:cubicBezTo>
                    <a:pt x="32099" y="109061"/>
                    <a:pt x="34385" y="114681"/>
                    <a:pt x="32290" y="119539"/>
                  </a:cubicBezTo>
                  <a:lnTo>
                    <a:pt x="31337" y="121729"/>
                  </a:lnTo>
                  <a:cubicBezTo>
                    <a:pt x="29813" y="125349"/>
                    <a:pt x="26289" y="127635"/>
                    <a:pt x="22574" y="127635"/>
                  </a:cubicBezTo>
                  <a:close/>
                  <a:moveTo>
                    <a:pt x="309943" y="71628"/>
                  </a:moveTo>
                  <a:cubicBezTo>
                    <a:pt x="307467" y="71628"/>
                    <a:pt x="305085" y="70675"/>
                    <a:pt x="303181" y="68771"/>
                  </a:cubicBezTo>
                  <a:lnTo>
                    <a:pt x="301561" y="67151"/>
                  </a:lnTo>
                  <a:cubicBezTo>
                    <a:pt x="297846" y="63436"/>
                    <a:pt x="297846" y="57436"/>
                    <a:pt x="301561" y="53721"/>
                  </a:cubicBezTo>
                  <a:cubicBezTo>
                    <a:pt x="305276" y="50006"/>
                    <a:pt x="311277" y="50006"/>
                    <a:pt x="314992" y="53721"/>
                  </a:cubicBezTo>
                  <a:lnTo>
                    <a:pt x="316706" y="55435"/>
                  </a:lnTo>
                  <a:cubicBezTo>
                    <a:pt x="320421" y="59150"/>
                    <a:pt x="320421" y="65246"/>
                    <a:pt x="316706" y="68866"/>
                  </a:cubicBezTo>
                  <a:cubicBezTo>
                    <a:pt x="314801" y="70675"/>
                    <a:pt x="312420" y="71628"/>
                    <a:pt x="310039" y="71628"/>
                  </a:cubicBezTo>
                  <a:close/>
                  <a:moveTo>
                    <a:pt x="60579" y="70675"/>
                  </a:moveTo>
                  <a:cubicBezTo>
                    <a:pt x="58102" y="70675"/>
                    <a:pt x="55721" y="69723"/>
                    <a:pt x="53816" y="67913"/>
                  </a:cubicBezTo>
                  <a:cubicBezTo>
                    <a:pt x="50102" y="64198"/>
                    <a:pt x="50102" y="58198"/>
                    <a:pt x="53816" y="54483"/>
                  </a:cubicBezTo>
                  <a:lnTo>
                    <a:pt x="55626" y="52769"/>
                  </a:lnTo>
                  <a:cubicBezTo>
                    <a:pt x="59436" y="49149"/>
                    <a:pt x="65437" y="49149"/>
                    <a:pt x="69056" y="52959"/>
                  </a:cubicBezTo>
                  <a:cubicBezTo>
                    <a:pt x="72771" y="56769"/>
                    <a:pt x="72676" y="62770"/>
                    <a:pt x="68866" y="66389"/>
                  </a:cubicBezTo>
                  <a:lnTo>
                    <a:pt x="67246" y="68008"/>
                  </a:lnTo>
                  <a:cubicBezTo>
                    <a:pt x="65341" y="69913"/>
                    <a:pt x="62960" y="70771"/>
                    <a:pt x="60484" y="70771"/>
                  </a:cubicBezTo>
                  <a:close/>
                  <a:moveTo>
                    <a:pt x="253555" y="33052"/>
                  </a:moveTo>
                  <a:cubicBezTo>
                    <a:pt x="252317" y="33052"/>
                    <a:pt x="250984" y="32766"/>
                    <a:pt x="249841" y="32290"/>
                  </a:cubicBezTo>
                  <a:lnTo>
                    <a:pt x="247745" y="31432"/>
                  </a:lnTo>
                  <a:cubicBezTo>
                    <a:pt x="242888" y="29432"/>
                    <a:pt x="240602" y="23908"/>
                    <a:pt x="242601" y="18955"/>
                  </a:cubicBezTo>
                  <a:cubicBezTo>
                    <a:pt x="244602" y="14097"/>
                    <a:pt x="250127" y="11811"/>
                    <a:pt x="255079" y="13811"/>
                  </a:cubicBezTo>
                  <a:lnTo>
                    <a:pt x="257365" y="14764"/>
                  </a:lnTo>
                  <a:cubicBezTo>
                    <a:pt x="262223" y="16859"/>
                    <a:pt x="264414" y="22479"/>
                    <a:pt x="262318" y="27242"/>
                  </a:cubicBezTo>
                  <a:cubicBezTo>
                    <a:pt x="260795" y="30861"/>
                    <a:pt x="257270" y="33052"/>
                    <a:pt x="253555" y="33052"/>
                  </a:cubicBezTo>
                  <a:close/>
                  <a:moveTo>
                    <a:pt x="117253" y="32480"/>
                  </a:moveTo>
                  <a:cubicBezTo>
                    <a:pt x="113538" y="32480"/>
                    <a:pt x="110014" y="30290"/>
                    <a:pt x="108490" y="26575"/>
                  </a:cubicBezTo>
                  <a:cubicBezTo>
                    <a:pt x="106489" y="21717"/>
                    <a:pt x="108775" y="16097"/>
                    <a:pt x="113633" y="14097"/>
                  </a:cubicBezTo>
                  <a:lnTo>
                    <a:pt x="115919" y="13144"/>
                  </a:lnTo>
                  <a:cubicBezTo>
                    <a:pt x="120777" y="11144"/>
                    <a:pt x="126302" y="13525"/>
                    <a:pt x="128301" y="18383"/>
                  </a:cubicBezTo>
                  <a:cubicBezTo>
                    <a:pt x="130302" y="23241"/>
                    <a:pt x="127921" y="28861"/>
                    <a:pt x="123063" y="30766"/>
                  </a:cubicBezTo>
                  <a:lnTo>
                    <a:pt x="120968" y="31623"/>
                  </a:lnTo>
                  <a:cubicBezTo>
                    <a:pt x="119729" y="32099"/>
                    <a:pt x="118491" y="32385"/>
                    <a:pt x="117348" y="32385"/>
                  </a:cubicBezTo>
                  <a:close/>
                  <a:moveTo>
                    <a:pt x="186594" y="19050"/>
                  </a:moveTo>
                  <a:lnTo>
                    <a:pt x="184785" y="19050"/>
                  </a:lnTo>
                  <a:cubicBezTo>
                    <a:pt x="179546" y="19050"/>
                    <a:pt x="174974" y="14764"/>
                    <a:pt x="174974" y="9525"/>
                  </a:cubicBezTo>
                  <a:cubicBezTo>
                    <a:pt x="174974" y="4286"/>
                    <a:pt x="178975" y="0"/>
                    <a:pt x="184213" y="0"/>
                  </a:cubicBezTo>
                  <a:lnTo>
                    <a:pt x="186690" y="0"/>
                  </a:lnTo>
                  <a:cubicBezTo>
                    <a:pt x="191928" y="0"/>
                    <a:pt x="196215" y="4381"/>
                    <a:pt x="196119" y="9620"/>
                  </a:cubicBezTo>
                  <a:cubicBezTo>
                    <a:pt x="196119" y="14859"/>
                    <a:pt x="191834" y="19050"/>
                    <a:pt x="186594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C97D80C8-82C9-530A-B3D0-9E22C529F624}"/>
                </a:ext>
              </a:extLst>
            </p:cNvPr>
            <p:cNvSpPr/>
            <p:nvPr/>
          </p:nvSpPr>
          <p:spPr>
            <a:xfrm rot="316174">
              <a:off x="11066666" y="3563221"/>
              <a:ext cx="331508" cy="333466"/>
            </a:xfrm>
            <a:custGeom>
              <a:avLst/>
              <a:gdLst>
                <a:gd name="connsiteX0" fmla="*/ 166666 w 306778"/>
                <a:gd name="connsiteY0" fmla="*/ 308591 h 308590"/>
                <a:gd name="connsiteX1" fmla="*/ 157236 w 306778"/>
                <a:gd name="connsiteY1" fmla="*/ 300018 h 308590"/>
                <a:gd name="connsiteX2" fmla="*/ 165714 w 306778"/>
                <a:gd name="connsiteY2" fmla="*/ 289541 h 308590"/>
                <a:gd name="connsiteX3" fmla="*/ 168000 w 306778"/>
                <a:gd name="connsiteY3" fmla="*/ 289255 h 308590"/>
                <a:gd name="connsiteX4" fmla="*/ 178573 w 306778"/>
                <a:gd name="connsiteY4" fmla="*/ 297637 h 308590"/>
                <a:gd name="connsiteX5" fmla="*/ 170191 w 306778"/>
                <a:gd name="connsiteY5" fmla="*/ 308209 h 308590"/>
                <a:gd name="connsiteX6" fmla="*/ 167619 w 306778"/>
                <a:gd name="connsiteY6" fmla="*/ 308495 h 308590"/>
                <a:gd name="connsiteX7" fmla="*/ 166666 w 306778"/>
                <a:gd name="connsiteY7" fmla="*/ 308495 h 308590"/>
                <a:gd name="connsiteX8" fmla="*/ 99896 w 306778"/>
                <a:gd name="connsiteY8" fmla="*/ 300018 h 308590"/>
                <a:gd name="connsiteX9" fmla="*/ 96562 w 306778"/>
                <a:gd name="connsiteY9" fmla="*/ 299447 h 308590"/>
                <a:gd name="connsiteX10" fmla="*/ 94181 w 306778"/>
                <a:gd name="connsiteY10" fmla="*/ 298494 h 308590"/>
                <a:gd name="connsiteX11" fmla="*/ 88847 w 306778"/>
                <a:gd name="connsiteY11" fmla="*/ 286111 h 308590"/>
                <a:gd name="connsiteX12" fmla="*/ 101230 w 306778"/>
                <a:gd name="connsiteY12" fmla="*/ 280777 h 308590"/>
                <a:gd name="connsiteX13" fmla="*/ 103325 w 306778"/>
                <a:gd name="connsiteY13" fmla="*/ 281635 h 308590"/>
                <a:gd name="connsiteX14" fmla="*/ 108850 w 306778"/>
                <a:gd name="connsiteY14" fmla="*/ 293922 h 308590"/>
                <a:gd name="connsiteX15" fmla="*/ 99896 w 306778"/>
                <a:gd name="connsiteY15" fmla="*/ 300113 h 308590"/>
                <a:gd name="connsiteX16" fmla="*/ 232293 w 306778"/>
                <a:gd name="connsiteY16" fmla="*/ 284968 h 308590"/>
                <a:gd name="connsiteX17" fmla="*/ 224388 w 306778"/>
                <a:gd name="connsiteY17" fmla="*/ 280777 h 308590"/>
                <a:gd name="connsiteX18" fmla="*/ 226864 w 306778"/>
                <a:gd name="connsiteY18" fmla="*/ 267538 h 308590"/>
                <a:gd name="connsiteX19" fmla="*/ 228769 w 306778"/>
                <a:gd name="connsiteY19" fmla="*/ 266204 h 308590"/>
                <a:gd name="connsiteX20" fmla="*/ 242009 w 306778"/>
                <a:gd name="connsiteY20" fmla="*/ 268585 h 308590"/>
                <a:gd name="connsiteX21" fmla="*/ 239628 w 306778"/>
                <a:gd name="connsiteY21" fmla="*/ 281825 h 308590"/>
                <a:gd name="connsiteX22" fmla="*/ 237532 w 306778"/>
                <a:gd name="connsiteY22" fmla="*/ 283254 h 308590"/>
                <a:gd name="connsiteX23" fmla="*/ 232199 w 306778"/>
                <a:gd name="connsiteY23" fmla="*/ 284873 h 308590"/>
                <a:gd name="connsiteX24" fmla="*/ 42555 w 306778"/>
                <a:gd name="connsiteY24" fmla="*/ 260489 h 308590"/>
                <a:gd name="connsiteX25" fmla="*/ 35412 w 306778"/>
                <a:gd name="connsiteY25" fmla="*/ 257346 h 308590"/>
                <a:gd name="connsiteX26" fmla="*/ 33697 w 306778"/>
                <a:gd name="connsiteY26" fmla="*/ 255441 h 308590"/>
                <a:gd name="connsiteX27" fmla="*/ 34650 w 306778"/>
                <a:gd name="connsiteY27" fmla="*/ 242011 h 308590"/>
                <a:gd name="connsiteX28" fmla="*/ 48080 w 306778"/>
                <a:gd name="connsiteY28" fmla="*/ 242963 h 308590"/>
                <a:gd name="connsiteX29" fmla="*/ 49604 w 306778"/>
                <a:gd name="connsiteY29" fmla="*/ 244678 h 308590"/>
                <a:gd name="connsiteX30" fmla="*/ 48842 w 306778"/>
                <a:gd name="connsiteY30" fmla="*/ 258108 h 308590"/>
                <a:gd name="connsiteX31" fmla="*/ 42460 w 306778"/>
                <a:gd name="connsiteY31" fmla="*/ 260489 h 308590"/>
                <a:gd name="connsiteX32" fmla="*/ 279442 w 306778"/>
                <a:gd name="connsiteY32" fmla="*/ 233534 h 308590"/>
                <a:gd name="connsiteX33" fmla="*/ 274870 w 306778"/>
                <a:gd name="connsiteY33" fmla="*/ 232391 h 308590"/>
                <a:gd name="connsiteX34" fmla="*/ 271155 w 306778"/>
                <a:gd name="connsiteY34" fmla="*/ 219436 h 308590"/>
                <a:gd name="connsiteX35" fmla="*/ 272203 w 306778"/>
                <a:gd name="connsiteY35" fmla="*/ 217436 h 308590"/>
                <a:gd name="connsiteX36" fmla="*/ 285062 w 306778"/>
                <a:gd name="connsiteY36" fmla="*/ 213531 h 308590"/>
                <a:gd name="connsiteX37" fmla="*/ 288967 w 306778"/>
                <a:gd name="connsiteY37" fmla="*/ 226390 h 308590"/>
                <a:gd name="connsiteX38" fmla="*/ 287729 w 306778"/>
                <a:gd name="connsiteY38" fmla="*/ 228676 h 308590"/>
                <a:gd name="connsiteX39" fmla="*/ 279347 w 306778"/>
                <a:gd name="connsiteY39" fmla="*/ 233629 h 308590"/>
                <a:gd name="connsiteX40" fmla="*/ 10075 w 306778"/>
                <a:gd name="connsiteY40" fmla="*/ 198863 h 308590"/>
                <a:gd name="connsiteX41" fmla="*/ 836 w 306778"/>
                <a:gd name="connsiteY41" fmla="*/ 191624 h 308590"/>
                <a:gd name="connsiteX42" fmla="*/ 264 w 306778"/>
                <a:gd name="connsiteY42" fmla="*/ 189147 h 308590"/>
                <a:gd name="connsiteX43" fmla="*/ 7313 w 306778"/>
                <a:gd name="connsiteY43" fmla="*/ 177717 h 308590"/>
                <a:gd name="connsiteX44" fmla="*/ 18743 w 306778"/>
                <a:gd name="connsiteY44" fmla="*/ 184766 h 308590"/>
                <a:gd name="connsiteX45" fmla="*/ 19314 w 306778"/>
                <a:gd name="connsiteY45" fmla="*/ 187051 h 308590"/>
                <a:gd name="connsiteX46" fmla="*/ 12361 w 306778"/>
                <a:gd name="connsiteY46" fmla="*/ 198577 h 308590"/>
                <a:gd name="connsiteX47" fmla="*/ 10075 w 306778"/>
                <a:gd name="connsiteY47" fmla="*/ 198863 h 308590"/>
                <a:gd name="connsiteX48" fmla="*/ 297254 w 306778"/>
                <a:gd name="connsiteY48" fmla="*/ 166192 h 308590"/>
                <a:gd name="connsiteX49" fmla="*/ 297159 w 306778"/>
                <a:gd name="connsiteY49" fmla="*/ 166192 h 308590"/>
                <a:gd name="connsiteX50" fmla="*/ 287729 w 306778"/>
                <a:gd name="connsiteY50" fmla="*/ 156571 h 308590"/>
                <a:gd name="connsiteX51" fmla="*/ 287729 w 306778"/>
                <a:gd name="connsiteY51" fmla="*/ 154286 h 308590"/>
                <a:gd name="connsiteX52" fmla="*/ 297254 w 306778"/>
                <a:gd name="connsiteY52" fmla="*/ 144475 h 308590"/>
                <a:gd name="connsiteX53" fmla="*/ 306779 w 306778"/>
                <a:gd name="connsiteY53" fmla="*/ 153714 h 308590"/>
                <a:gd name="connsiteX54" fmla="*/ 306779 w 306778"/>
                <a:gd name="connsiteY54" fmla="*/ 156857 h 308590"/>
                <a:gd name="connsiteX55" fmla="*/ 297254 w 306778"/>
                <a:gd name="connsiteY55" fmla="*/ 166287 h 308590"/>
                <a:gd name="connsiteX56" fmla="*/ 9980 w 306778"/>
                <a:gd name="connsiteY56" fmla="*/ 129140 h 308590"/>
                <a:gd name="connsiteX57" fmla="*/ 7694 w 306778"/>
                <a:gd name="connsiteY57" fmla="*/ 128854 h 308590"/>
                <a:gd name="connsiteX58" fmla="*/ 741 w 306778"/>
                <a:gd name="connsiteY58" fmla="*/ 117329 h 308590"/>
                <a:gd name="connsiteX59" fmla="*/ 1407 w 306778"/>
                <a:gd name="connsiteY59" fmla="*/ 114852 h 308590"/>
                <a:gd name="connsiteX60" fmla="*/ 13028 w 306778"/>
                <a:gd name="connsiteY60" fmla="*/ 108089 h 308590"/>
                <a:gd name="connsiteX61" fmla="*/ 19791 w 306778"/>
                <a:gd name="connsiteY61" fmla="*/ 119710 h 308590"/>
                <a:gd name="connsiteX62" fmla="*/ 19219 w 306778"/>
                <a:gd name="connsiteY62" fmla="*/ 121900 h 308590"/>
                <a:gd name="connsiteX63" fmla="*/ 9980 w 306778"/>
                <a:gd name="connsiteY63" fmla="*/ 129140 h 308590"/>
                <a:gd name="connsiteX64" fmla="*/ 281443 w 306778"/>
                <a:gd name="connsiteY64" fmla="*/ 97707 h 308590"/>
                <a:gd name="connsiteX65" fmla="*/ 272965 w 306778"/>
                <a:gd name="connsiteY65" fmla="*/ 92468 h 308590"/>
                <a:gd name="connsiteX66" fmla="*/ 271918 w 306778"/>
                <a:gd name="connsiteY66" fmla="*/ 90468 h 308590"/>
                <a:gd name="connsiteX67" fmla="*/ 275823 w 306778"/>
                <a:gd name="connsiteY67" fmla="*/ 77609 h 308590"/>
                <a:gd name="connsiteX68" fmla="*/ 288682 w 306778"/>
                <a:gd name="connsiteY68" fmla="*/ 81515 h 308590"/>
                <a:gd name="connsiteX69" fmla="*/ 289920 w 306778"/>
                <a:gd name="connsiteY69" fmla="*/ 83800 h 308590"/>
                <a:gd name="connsiteX70" fmla="*/ 285729 w 306778"/>
                <a:gd name="connsiteY70" fmla="*/ 96564 h 308590"/>
                <a:gd name="connsiteX71" fmla="*/ 281443 w 306778"/>
                <a:gd name="connsiteY71" fmla="*/ 97612 h 308590"/>
                <a:gd name="connsiteX72" fmla="*/ 42175 w 306778"/>
                <a:gd name="connsiteY72" fmla="*/ 67417 h 308590"/>
                <a:gd name="connsiteX73" fmla="*/ 35792 w 306778"/>
                <a:gd name="connsiteY73" fmla="*/ 65036 h 308590"/>
                <a:gd name="connsiteX74" fmla="*/ 35031 w 306778"/>
                <a:gd name="connsiteY74" fmla="*/ 51606 h 308590"/>
                <a:gd name="connsiteX75" fmla="*/ 36650 w 306778"/>
                <a:gd name="connsiteY75" fmla="*/ 49701 h 308590"/>
                <a:gd name="connsiteX76" fmla="*/ 50080 w 306778"/>
                <a:gd name="connsiteY76" fmla="*/ 49034 h 308590"/>
                <a:gd name="connsiteX77" fmla="*/ 50747 w 306778"/>
                <a:gd name="connsiteY77" fmla="*/ 62465 h 308590"/>
                <a:gd name="connsiteX78" fmla="*/ 49223 w 306778"/>
                <a:gd name="connsiteY78" fmla="*/ 64179 h 308590"/>
                <a:gd name="connsiteX79" fmla="*/ 42079 w 306778"/>
                <a:gd name="connsiteY79" fmla="*/ 67322 h 308590"/>
                <a:gd name="connsiteX80" fmla="*/ 235817 w 306778"/>
                <a:gd name="connsiteY80" fmla="*/ 44938 h 308590"/>
                <a:gd name="connsiteX81" fmla="*/ 230293 w 306778"/>
                <a:gd name="connsiteY81" fmla="*/ 43129 h 308590"/>
                <a:gd name="connsiteX82" fmla="*/ 228484 w 306778"/>
                <a:gd name="connsiteY82" fmla="*/ 41891 h 308590"/>
                <a:gd name="connsiteX83" fmla="*/ 226007 w 306778"/>
                <a:gd name="connsiteY83" fmla="*/ 28651 h 308590"/>
                <a:gd name="connsiteX84" fmla="*/ 239247 w 306778"/>
                <a:gd name="connsiteY84" fmla="*/ 26174 h 308590"/>
                <a:gd name="connsiteX85" fmla="*/ 241437 w 306778"/>
                <a:gd name="connsiteY85" fmla="*/ 27698 h 308590"/>
                <a:gd name="connsiteX86" fmla="*/ 243628 w 306778"/>
                <a:gd name="connsiteY86" fmla="*/ 41033 h 308590"/>
                <a:gd name="connsiteX87" fmla="*/ 235913 w 306778"/>
                <a:gd name="connsiteY87" fmla="*/ 45034 h 308590"/>
                <a:gd name="connsiteX88" fmla="*/ 99420 w 306778"/>
                <a:gd name="connsiteY88" fmla="*/ 27603 h 308590"/>
                <a:gd name="connsiteX89" fmla="*/ 90561 w 306778"/>
                <a:gd name="connsiteY89" fmla="*/ 21507 h 308590"/>
                <a:gd name="connsiteX90" fmla="*/ 96086 w 306778"/>
                <a:gd name="connsiteY90" fmla="*/ 9220 h 308590"/>
                <a:gd name="connsiteX91" fmla="*/ 98467 w 306778"/>
                <a:gd name="connsiteY91" fmla="*/ 8363 h 308590"/>
                <a:gd name="connsiteX92" fmla="*/ 110659 w 306778"/>
                <a:gd name="connsiteY92" fmla="*/ 14078 h 308590"/>
                <a:gd name="connsiteX93" fmla="*/ 104944 w 306778"/>
                <a:gd name="connsiteY93" fmla="*/ 26270 h 308590"/>
                <a:gd name="connsiteX94" fmla="*/ 102754 w 306778"/>
                <a:gd name="connsiteY94" fmla="*/ 27032 h 308590"/>
                <a:gd name="connsiteX95" fmla="*/ 99325 w 306778"/>
                <a:gd name="connsiteY95" fmla="*/ 27698 h 308590"/>
                <a:gd name="connsiteX96" fmla="*/ 171048 w 306778"/>
                <a:gd name="connsiteY96" fmla="*/ 19316 h 308590"/>
                <a:gd name="connsiteX97" fmla="*/ 169714 w 306778"/>
                <a:gd name="connsiteY97" fmla="*/ 19316 h 308590"/>
                <a:gd name="connsiteX98" fmla="*/ 167523 w 306778"/>
                <a:gd name="connsiteY98" fmla="*/ 19030 h 308590"/>
                <a:gd name="connsiteX99" fmla="*/ 159141 w 306778"/>
                <a:gd name="connsiteY99" fmla="*/ 8458 h 308590"/>
                <a:gd name="connsiteX100" fmla="*/ 169714 w 306778"/>
                <a:gd name="connsiteY100" fmla="*/ 76 h 308590"/>
                <a:gd name="connsiteX101" fmla="*/ 172381 w 306778"/>
                <a:gd name="connsiteY101" fmla="*/ 457 h 308590"/>
                <a:gd name="connsiteX102" fmla="*/ 180477 w 306778"/>
                <a:gd name="connsiteY102" fmla="*/ 11220 h 308590"/>
                <a:gd name="connsiteX103" fmla="*/ 171048 w 306778"/>
                <a:gd name="connsiteY103" fmla="*/ 19412 h 30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306778" h="308590">
                  <a:moveTo>
                    <a:pt x="166666" y="308591"/>
                  </a:moveTo>
                  <a:cubicBezTo>
                    <a:pt x="161809" y="308591"/>
                    <a:pt x="157713" y="304971"/>
                    <a:pt x="157236" y="300018"/>
                  </a:cubicBezTo>
                  <a:cubicBezTo>
                    <a:pt x="156665" y="294779"/>
                    <a:pt x="160475" y="290112"/>
                    <a:pt x="165714" y="289541"/>
                  </a:cubicBezTo>
                  <a:lnTo>
                    <a:pt x="168000" y="289255"/>
                  </a:lnTo>
                  <a:cubicBezTo>
                    <a:pt x="173239" y="288588"/>
                    <a:pt x="177906" y="292398"/>
                    <a:pt x="178573" y="297637"/>
                  </a:cubicBezTo>
                  <a:cubicBezTo>
                    <a:pt x="179144" y="302876"/>
                    <a:pt x="175429" y="307543"/>
                    <a:pt x="170191" y="308209"/>
                  </a:cubicBezTo>
                  <a:lnTo>
                    <a:pt x="167619" y="308495"/>
                  </a:lnTo>
                  <a:cubicBezTo>
                    <a:pt x="167619" y="308495"/>
                    <a:pt x="166952" y="308495"/>
                    <a:pt x="166666" y="308495"/>
                  </a:cubicBezTo>
                  <a:close/>
                  <a:moveTo>
                    <a:pt x="99896" y="300018"/>
                  </a:moveTo>
                  <a:cubicBezTo>
                    <a:pt x="98753" y="300018"/>
                    <a:pt x="97610" y="299827"/>
                    <a:pt x="96562" y="299447"/>
                  </a:cubicBezTo>
                  <a:lnTo>
                    <a:pt x="94181" y="298494"/>
                  </a:lnTo>
                  <a:cubicBezTo>
                    <a:pt x="89324" y="296589"/>
                    <a:pt x="86847" y="291065"/>
                    <a:pt x="88847" y="286111"/>
                  </a:cubicBezTo>
                  <a:cubicBezTo>
                    <a:pt x="90847" y="281159"/>
                    <a:pt x="96277" y="278777"/>
                    <a:pt x="101230" y="280777"/>
                  </a:cubicBezTo>
                  <a:lnTo>
                    <a:pt x="103325" y="281635"/>
                  </a:lnTo>
                  <a:cubicBezTo>
                    <a:pt x="108278" y="283540"/>
                    <a:pt x="110755" y="288969"/>
                    <a:pt x="108850" y="293922"/>
                  </a:cubicBezTo>
                  <a:cubicBezTo>
                    <a:pt x="107421" y="297732"/>
                    <a:pt x="103801" y="300113"/>
                    <a:pt x="99896" y="300113"/>
                  </a:cubicBezTo>
                  <a:close/>
                  <a:moveTo>
                    <a:pt x="232293" y="284968"/>
                  </a:moveTo>
                  <a:cubicBezTo>
                    <a:pt x="229245" y="284968"/>
                    <a:pt x="226292" y="283540"/>
                    <a:pt x="224388" y="280777"/>
                  </a:cubicBezTo>
                  <a:cubicBezTo>
                    <a:pt x="221435" y="276396"/>
                    <a:pt x="222578" y="270491"/>
                    <a:pt x="226864" y="267538"/>
                  </a:cubicBezTo>
                  <a:lnTo>
                    <a:pt x="228769" y="266204"/>
                  </a:lnTo>
                  <a:cubicBezTo>
                    <a:pt x="233151" y="263251"/>
                    <a:pt x="239056" y="264299"/>
                    <a:pt x="242009" y="268585"/>
                  </a:cubicBezTo>
                  <a:cubicBezTo>
                    <a:pt x="244962" y="272872"/>
                    <a:pt x="243914" y="278873"/>
                    <a:pt x="239628" y="281825"/>
                  </a:cubicBezTo>
                  <a:lnTo>
                    <a:pt x="237532" y="283254"/>
                  </a:lnTo>
                  <a:cubicBezTo>
                    <a:pt x="235913" y="284397"/>
                    <a:pt x="234008" y="284873"/>
                    <a:pt x="232199" y="284873"/>
                  </a:cubicBezTo>
                  <a:close/>
                  <a:moveTo>
                    <a:pt x="42555" y="260489"/>
                  </a:moveTo>
                  <a:cubicBezTo>
                    <a:pt x="39983" y="260489"/>
                    <a:pt x="37317" y="259442"/>
                    <a:pt x="35412" y="257346"/>
                  </a:cubicBezTo>
                  <a:lnTo>
                    <a:pt x="33697" y="255441"/>
                  </a:lnTo>
                  <a:cubicBezTo>
                    <a:pt x="30268" y="251441"/>
                    <a:pt x="30745" y="245440"/>
                    <a:pt x="34650" y="242011"/>
                  </a:cubicBezTo>
                  <a:cubicBezTo>
                    <a:pt x="38555" y="238582"/>
                    <a:pt x="44651" y="238963"/>
                    <a:pt x="48080" y="242963"/>
                  </a:cubicBezTo>
                  <a:lnTo>
                    <a:pt x="49604" y="244678"/>
                  </a:lnTo>
                  <a:cubicBezTo>
                    <a:pt x="53128" y="248583"/>
                    <a:pt x="52747" y="254679"/>
                    <a:pt x="48842" y="258108"/>
                  </a:cubicBezTo>
                  <a:cubicBezTo>
                    <a:pt x="47032" y="259727"/>
                    <a:pt x="44746" y="260489"/>
                    <a:pt x="42460" y="260489"/>
                  </a:cubicBezTo>
                  <a:close/>
                  <a:moveTo>
                    <a:pt x="279442" y="233534"/>
                  </a:moveTo>
                  <a:cubicBezTo>
                    <a:pt x="277918" y="233534"/>
                    <a:pt x="276299" y="233152"/>
                    <a:pt x="274870" y="232391"/>
                  </a:cubicBezTo>
                  <a:cubicBezTo>
                    <a:pt x="270299" y="229819"/>
                    <a:pt x="268584" y="224009"/>
                    <a:pt x="271155" y="219436"/>
                  </a:cubicBezTo>
                  <a:lnTo>
                    <a:pt x="272203" y="217436"/>
                  </a:lnTo>
                  <a:cubicBezTo>
                    <a:pt x="274680" y="212769"/>
                    <a:pt x="280490" y="211055"/>
                    <a:pt x="285062" y="213531"/>
                  </a:cubicBezTo>
                  <a:cubicBezTo>
                    <a:pt x="289729" y="216008"/>
                    <a:pt x="291444" y="221818"/>
                    <a:pt x="288967" y="226390"/>
                  </a:cubicBezTo>
                  <a:lnTo>
                    <a:pt x="287729" y="228676"/>
                  </a:lnTo>
                  <a:cubicBezTo>
                    <a:pt x="286014" y="231819"/>
                    <a:pt x="282776" y="233629"/>
                    <a:pt x="279347" y="233629"/>
                  </a:cubicBezTo>
                  <a:close/>
                  <a:moveTo>
                    <a:pt x="10075" y="198863"/>
                  </a:moveTo>
                  <a:cubicBezTo>
                    <a:pt x="5789" y="198863"/>
                    <a:pt x="1883" y="196005"/>
                    <a:pt x="836" y="191624"/>
                  </a:cubicBezTo>
                  <a:lnTo>
                    <a:pt x="264" y="189147"/>
                  </a:lnTo>
                  <a:cubicBezTo>
                    <a:pt x="-974" y="184004"/>
                    <a:pt x="2265" y="178860"/>
                    <a:pt x="7313" y="177717"/>
                  </a:cubicBezTo>
                  <a:cubicBezTo>
                    <a:pt x="12457" y="176574"/>
                    <a:pt x="17600" y="179717"/>
                    <a:pt x="18743" y="184766"/>
                  </a:cubicBezTo>
                  <a:lnTo>
                    <a:pt x="19314" y="187051"/>
                  </a:lnTo>
                  <a:cubicBezTo>
                    <a:pt x="20553" y="192195"/>
                    <a:pt x="17505" y="197338"/>
                    <a:pt x="12361" y="198577"/>
                  </a:cubicBezTo>
                  <a:cubicBezTo>
                    <a:pt x="11599" y="198767"/>
                    <a:pt x="10837" y="198863"/>
                    <a:pt x="10075" y="198863"/>
                  </a:cubicBezTo>
                  <a:close/>
                  <a:moveTo>
                    <a:pt x="297254" y="166192"/>
                  </a:moveTo>
                  <a:lnTo>
                    <a:pt x="297159" y="166192"/>
                  </a:lnTo>
                  <a:cubicBezTo>
                    <a:pt x="291920" y="166192"/>
                    <a:pt x="287729" y="161810"/>
                    <a:pt x="287729" y="156571"/>
                  </a:cubicBezTo>
                  <a:lnTo>
                    <a:pt x="287729" y="154286"/>
                  </a:lnTo>
                  <a:cubicBezTo>
                    <a:pt x="287729" y="149047"/>
                    <a:pt x="292015" y="144475"/>
                    <a:pt x="297254" y="144475"/>
                  </a:cubicBezTo>
                  <a:cubicBezTo>
                    <a:pt x="302492" y="144475"/>
                    <a:pt x="306779" y="148475"/>
                    <a:pt x="306779" y="153714"/>
                  </a:cubicBezTo>
                  <a:lnTo>
                    <a:pt x="306779" y="156857"/>
                  </a:lnTo>
                  <a:cubicBezTo>
                    <a:pt x="306779" y="162096"/>
                    <a:pt x="302398" y="166287"/>
                    <a:pt x="297254" y="166287"/>
                  </a:cubicBezTo>
                  <a:close/>
                  <a:moveTo>
                    <a:pt x="9980" y="129140"/>
                  </a:moveTo>
                  <a:cubicBezTo>
                    <a:pt x="9218" y="129140"/>
                    <a:pt x="8456" y="129140"/>
                    <a:pt x="7694" y="128854"/>
                  </a:cubicBezTo>
                  <a:cubicBezTo>
                    <a:pt x="2550" y="127616"/>
                    <a:pt x="-498" y="122472"/>
                    <a:pt x="741" y="117329"/>
                  </a:cubicBezTo>
                  <a:lnTo>
                    <a:pt x="1407" y="114852"/>
                  </a:lnTo>
                  <a:cubicBezTo>
                    <a:pt x="2741" y="109709"/>
                    <a:pt x="7980" y="106756"/>
                    <a:pt x="13028" y="108089"/>
                  </a:cubicBezTo>
                  <a:cubicBezTo>
                    <a:pt x="18171" y="109423"/>
                    <a:pt x="21124" y="114662"/>
                    <a:pt x="19791" y="119710"/>
                  </a:cubicBezTo>
                  <a:lnTo>
                    <a:pt x="19219" y="121900"/>
                  </a:lnTo>
                  <a:cubicBezTo>
                    <a:pt x="18171" y="126282"/>
                    <a:pt x="14266" y="129140"/>
                    <a:pt x="9980" y="129140"/>
                  </a:cubicBezTo>
                  <a:close/>
                  <a:moveTo>
                    <a:pt x="281443" y="97707"/>
                  </a:moveTo>
                  <a:cubicBezTo>
                    <a:pt x="277918" y="97707"/>
                    <a:pt x="274584" y="95802"/>
                    <a:pt x="272965" y="92468"/>
                  </a:cubicBezTo>
                  <a:lnTo>
                    <a:pt x="271918" y="90468"/>
                  </a:lnTo>
                  <a:cubicBezTo>
                    <a:pt x="269441" y="85801"/>
                    <a:pt x="271251" y="80086"/>
                    <a:pt x="275823" y="77609"/>
                  </a:cubicBezTo>
                  <a:cubicBezTo>
                    <a:pt x="280490" y="75133"/>
                    <a:pt x="286205" y="76942"/>
                    <a:pt x="288682" y="81515"/>
                  </a:cubicBezTo>
                  <a:lnTo>
                    <a:pt x="289920" y="83800"/>
                  </a:lnTo>
                  <a:cubicBezTo>
                    <a:pt x="292301" y="88468"/>
                    <a:pt x="290396" y="94183"/>
                    <a:pt x="285729" y="96564"/>
                  </a:cubicBezTo>
                  <a:cubicBezTo>
                    <a:pt x="284300" y="97231"/>
                    <a:pt x="282871" y="97612"/>
                    <a:pt x="281443" y="97612"/>
                  </a:cubicBezTo>
                  <a:close/>
                  <a:moveTo>
                    <a:pt x="42175" y="67417"/>
                  </a:moveTo>
                  <a:cubicBezTo>
                    <a:pt x="39889" y="67417"/>
                    <a:pt x="37698" y="66655"/>
                    <a:pt x="35792" y="65036"/>
                  </a:cubicBezTo>
                  <a:cubicBezTo>
                    <a:pt x="31887" y="61512"/>
                    <a:pt x="31507" y="55511"/>
                    <a:pt x="35031" y="51606"/>
                  </a:cubicBezTo>
                  <a:lnTo>
                    <a:pt x="36650" y="49701"/>
                  </a:lnTo>
                  <a:cubicBezTo>
                    <a:pt x="40174" y="45796"/>
                    <a:pt x="46175" y="45510"/>
                    <a:pt x="50080" y="49034"/>
                  </a:cubicBezTo>
                  <a:cubicBezTo>
                    <a:pt x="53986" y="52558"/>
                    <a:pt x="54271" y="58559"/>
                    <a:pt x="50747" y="62465"/>
                  </a:cubicBezTo>
                  <a:lnTo>
                    <a:pt x="49223" y="64179"/>
                  </a:lnTo>
                  <a:cubicBezTo>
                    <a:pt x="47318" y="66275"/>
                    <a:pt x="44746" y="67322"/>
                    <a:pt x="42079" y="67322"/>
                  </a:cubicBezTo>
                  <a:close/>
                  <a:moveTo>
                    <a:pt x="235817" y="44938"/>
                  </a:moveTo>
                  <a:cubicBezTo>
                    <a:pt x="233913" y="44938"/>
                    <a:pt x="231912" y="44367"/>
                    <a:pt x="230293" y="43129"/>
                  </a:cubicBezTo>
                  <a:lnTo>
                    <a:pt x="228484" y="41891"/>
                  </a:lnTo>
                  <a:cubicBezTo>
                    <a:pt x="224102" y="38938"/>
                    <a:pt x="222959" y="33032"/>
                    <a:pt x="226007" y="28651"/>
                  </a:cubicBezTo>
                  <a:cubicBezTo>
                    <a:pt x="228960" y="24269"/>
                    <a:pt x="234865" y="23126"/>
                    <a:pt x="239247" y="26174"/>
                  </a:cubicBezTo>
                  <a:lnTo>
                    <a:pt x="241437" y="27698"/>
                  </a:lnTo>
                  <a:cubicBezTo>
                    <a:pt x="245724" y="30746"/>
                    <a:pt x="246676" y="36747"/>
                    <a:pt x="243628" y="41033"/>
                  </a:cubicBezTo>
                  <a:cubicBezTo>
                    <a:pt x="241724" y="43605"/>
                    <a:pt x="238866" y="45034"/>
                    <a:pt x="235913" y="45034"/>
                  </a:cubicBezTo>
                  <a:close/>
                  <a:moveTo>
                    <a:pt x="99420" y="27603"/>
                  </a:moveTo>
                  <a:cubicBezTo>
                    <a:pt x="95610" y="27603"/>
                    <a:pt x="91990" y="25317"/>
                    <a:pt x="90561" y="21507"/>
                  </a:cubicBezTo>
                  <a:cubicBezTo>
                    <a:pt x="88657" y="16554"/>
                    <a:pt x="91133" y="11125"/>
                    <a:pt x="96086" y="9220"/>
                  </a:cubicBezTo>
                  <a:lnTo>
                    <a:pt x="98467" y="8363"/>
                  </a:lnTo>
                  <a:cubicBezTo>
                    <a:pt x="103420" y="6553"/>
                    <a:pt x="108850" y="9125"/>
                    <a:pt x="110659" y="14078"/>
                  </a:cubicBezTo>
                  <a:cubicBezTo>
                    <a:pt x="112469" y="19030"/>
                    <a:pt x="109897" y="24460"/>
                    <a:pt x="104944" y="26270"/>
                  </a:cubicBezTo>
                  <a:lnTo>
                    <a:pt x="102754" y="27032"/>
                  </a:lnTo>
                  <a:cubicBezTo>
                    <a:pt x="101611" y="27413"/>
                    <a:pt x="100468" y="27698"/>
                    <a:pt x="99325" y="27698"/>
                  </a:cubicBezTo>
                  <a:close/>
                  <a:moveTo>
                    <a:pt x="171048" y="19316"/>
                  </a:moveTo>
                  <a:cubicBezTo>
                    <a:pt x="171048" y="19316"/>
                    <a:pt x="170191" y="19316"/>
                    <a:pt x="169714" y="19316"/>
                  </a:cubicBezTo>
                  <a:lnTo>
                    <a:pt x="167523" y="19030"/>
                  </a:lnTo>
                  <a:cubicBezTo>
                    <a:pt x="162285" y="18459"/>
                    <a:pt x="158570" y="13696"/>
                    <a:pt x="159141" y="8458"/>
                  </a:cubicBezTo>
                  <a:cubicBezTo>
                    <a:pt x="159713" y="3219"/>
                    <a:pt x="164475" y="-591"/>
                    <a:pt x="169714" y="76"/>
                  </a:cubicBezTo>
                  <a:lnTo>
                    <a:pt x="172381" y="457"/>
                  </a:lnTo>
                  <a:cubicBezTo>
                    <a:pt x="177620" y="1219"/>
                    <a:pt x="181239" y="5981"/>
                    <a:pt x="180477" y="11220"/>
                  </a:cubicBezTo>
                  <a:cubicBezTo>
                    <a:pt x="179811" y="15983"/>
                    <a:pt x="175715" y="19412"/>
                    <a:pt x="171048" y="19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9DB5DC17-E848-6CAB-A754-EE302B58DA75}"/>
                </a:ext>
              </a:extLst>
            </p:cNvPr>
            <p:cNvSpPr/>
            <p:nvPr/>
          </p:nvSpPr>
          <p:spPr>
            <a:xfrm rot="316174">
              <a:off x="11137000" y="1764803"/>
              <a:ext cx="605197" cy="606469"/>
            </a:xfrm>
            <a:custGeom>
              <a:avLst/>
              <a:gdLst>
                <a:gd name="connsiteX0" fmla="*/ 294017 w 560050"/>
                <a:gd name="connsiteY0" fmla="*/ 561227 h 561227"/>
                <a:gd name="connsiteX1" fmla="*/ 284492 w 560050"/>
                <a:gd name="connsiteY1" fmla="*/ 552179 h 561227"/>
                <a:gd name="connsiteX2" fmla="*/ 293541 w 560050"/>
                <a:gd name="connsiteY2" fmla="*/ 542177 h 561227"/>
                <a:gd name="connsiteX3" fmla="*/ 295732 w 560050"/>
                <a:gd name="connsiteY3" fmla="*/ 542177 h 561227"/>
                <a:gd name="connsiteX4" fmla="*/ 305828 w 560050"/>
                <a:gd name="connsiteY4" fmla="*/ 550940 h 561227"/>
                <a:gd name="connsiteX5" fmla="*/ 296970 w 560050"/>
                <a:gd name="connsiteY5" fmla="*/ 561037 h 561227"/>
                <a:gd name="connsiteX6" fmla="*/ 294493 w 560050"/>
                <a:gd name="connsiteY6" fmla="*/ 561227 h 561227"/>
                <a:gd name="connsiteX7" fmla="*/ 294017 w 560050"/>
                <a:gd name="connsiteY7" fmla="*/ 561227 h 561227"/>
                <a:gd name="connsiteX8" fmla="*/ 228485 w 560050"/>
                <a:gd name="connsiteY8" fmla="*/ 556941 h 561227"/>
                <a:gd name="connsiteX9" fmla="*/ 226771 w 560050"/>
                <a:gd name="connsiteY9" fmla="*/ 556751 h 561227"/>
                <a:gd name="connsiteX10" fmla="*/ 224294 w 560050"/>
                <a:gd name="connsiteY10" fmla="*/ 556274 h 561227"/>
                <a:gd name="connsiteX11" fmla="*/ 216865 w 560050"/>
                <a:gd name="connsiteY11" fmla="*/ 545035 h 561227"/>
                <a:gd name="connsiteX12" fmla="*/ 228104 w 560050"/>
                <a:gd name="connsiteY12" fmla="*/ 537605 h 561227"/>
                <a:gd name="connsiteX13" fmla="*/ 230295 w 560050"/>
                <a:gd name="connsiteY13" fmla="*/ 537986 h 561227"/>
                <a:gd name="connsiteX14" fmla="*/ 237915 w 560050"/>
                <a:gd name="connsiteY14" fmla="*/ 549131 h 561227"/>
                <a:gd name="connsiteX15" fmla="*/ 228580 w 560050"/>
                <a:gd name="connsiteY15" fmla="*/ 556941 h 561227"/>
                <a:gd name="connsiteX16" fmla="*/ 360883 w 560050"/>
                <a:gd name="connsiteY16" fmla="*/ 549035 h 561227"/>
                <a:gd name="connsiteX17" fmla="*/ 351834 w 560050"/>
                <a:gd name="connsiteY17" fmla="*/ 542368 h 561227"/>
                <a:gd name="connsiteX18" fmla="*/ 358025 w 560050"/>
                <a:gd name="connsiteY18" fmla="*/ 530462 h 561227"/>
                <a:gd name="connsiteX19" fmla="*/ 360216 w 560050"/>
                <a:gd name="connsiteY19" fmla="*/ 529795 h 561227"/>
                <a:gd name="connsiteX20" fmla="*/ 372218 w 560050"/>
                <a:gd name="connsiteY20" fmla="*/ 535891 h 561227"/>
                <a:gd name="connsiteX21" fmla="*/ 366121 w 560050"/>
                <a:gd name="connsiteY21" fmla="*/ 547892 h 561227"/>
                <a:gd name="connsiteX22" fmla="*/ 363836 w 560050"/>
                <a:gd name="connsiteY22" fmla="*/ 548654 h 561227"/>
                <a:gd name="connsiteX23" fmla="*/ 360978 w 560050"/>
                <a:gd name="connsiteY23" fmla="*/ 549131 h 561227"/>
                <a:gd name="connsiteX24" fmla="*/ 163715 w 560050"/>
                <a:gd name="connsiteY24" fmla="*/ 535986 h 561227"/>
                <a:gd name="connsiteX25" fmla="*/ 159715 w 560050"/>
                <a:gd name="connsiteY25" fmla="*/ 535129 h 561227"/>
                <a:gd name="connsiteX26" fmla="*/ 157524 w 560050"/>
                <a:gd name="connsiteY26" fmla="*/ 534081 h 561227"/>
                <a:gd name="connsiteX27" fmla="*/ 153047 w 560050"/>
                <a:gd name="connsiteY27" fmla="*/ 521413 h 561227"/>
                <a:gd name="connsiteX28" fmla="*/ 165716 w 560050"/>
                <a:gd name="connsiteY28" fmla="*/ 516936 h 561227"/>
                <a:gd name="connsiteX29" fmla="*/ 167716 w 560050"/>
                <a:gd name="connsiteY29" fmla="*/ 517889 h 561227"/>
                <a:gd name="connsiteX30" fmla="*/ 172288 w 560050"/>
                <a:gd name="connsiteY30" fmla="*/ 530557 h 561227"/>
                <a:gd name="connsiteX31" fmla="*/ 163620 w 560050"/>
                <a:gd name="connsiteY31" fmla="*/ 536081 h 561227"/>
                <a:gd name="connsiteX32" fmla="*/ 422700 w 560050"/>
                <a:gd name="connsiteY32" fmla="*/ 520556 h 561227"/>
                <a:gd name="connsiteX33" fmla="*/ 414604 w 560050"/>
                <a:gd name="connsiteY33" fmla="*/ 516079 h 561227"/>
                <a:gd name="connsiteX34" fmla="*/ 417652 w 560050"/>
                <a:gd name="connsiteY34" fmla="*/ 502934 h 561227"/>
                <a:gd name="connsiteX35" fmla="*/ 419557 w 560050"/>
                <a:gd name="connsiteY35" fmla="*/ 501696 h 561227"/>
                <a:gd name="connsiteX36" fmla="*/ 432701 w 560050"/>
                <a:gd name="connsiteY36" fmla="*/ 504649 h 561227"/>
                <a:gd name="connsiteX37" fmla="*/ 429748 w 560050"/>
                <a:gd name="connsiteY37" fmla="*/ 517793 h 561227"/>
                <a:gd name="connsiteX38" fmla="*/ 427749 w 560050"/>
                <a:gd name="connsiteY38" fmla="*/ 519032 h 561227"/>
                <a:gd name="connsiteX39" fmla="*/ 422700 w 560050"/>
                <a:gd name="connsiteY39" fmla="*/ 520460 h 561227"/>
                <a:gd name="connsiteX40" fmla="*/ 106280 w 560050"/>
                <a:gd name="connsiteY40" fmla="*/ 499505 h 561227"/>
                <a:gd name="connsiteX41" fmla="*/ 100279 w 560050"/>
                <a:gd name="connsiteY41" fmla="*/ 497315 h 561227"/>
                <a:gd name="connsiteX42" fmla="*/ 98374 w 560050"/>
                <a:gd name="connsiteY42" fmla="*/ 495695 h 561227"/>
                <a:gd name="connsiteX43" fmla="*/ 97326 w 560050"/>
                <a:gd name="connsiteY43" fmla="*/ 482265 h 561227"/>
                <a:gd name="connsiteX44" fmla="*/ 110756 w 560050"/>
                <a:gd name="connsiteY44" fmla="*/ 481217 h 561227"/>
                <a:gd name="connsiteX45" fmla="*/ 112471 w 560050"/>
                <a:gd name="connsiteY45" fmla="*/ 482646 h 561227"/>
                <a:gd name="connsiteX46" fmla="*/ 113804 w 560050"/>
                <a:gd name="connsiteY46" fmla="*/ 496076 h 561227"/>
                <a:gd name="connsiteX47" fmla="*/ 106470 w 560050"/>
                <a:gd name="connsiteY47" fmla="*/ 499505 h 561227"/>
                <a:gd name="connsiteX48" fmla="*/ 475374 w 560050"/>
                <a:gd name="connsiteY48" fmla="*/ 477598 h 561227"/>
                <a:gd name="connsiteX49" fmla="*/ 468801 w 560050"/>
                <a:gd name="connsiteY49" fmla="*/ 474931 h 561227"/>
                <a:gd name="connsiteX50" fmla="*/ 468420 w 560050"/>
                <a:gd name="connsiteY50" fmla="*/ 461501 h 561227"/>
                <a:gd name="connsiteX51" fmla="*/ 470040 w 560050"/>
                <a:gd name="connsiteY51" fmla="*/ 459786 h 561227"/>
                <a:gd name="connsiteX52" fmla="*/ 483470 w 560050"/>
                <a:gd name="connsiteY52" fmla="*/ 459405 h 561227"/>
                <a:gd name="connsiteX53" fmla="*/ 483850 w 560050"/>
                <a:gd name="connsiteY53" fmla="*/ 472835 h 561227"/>
                <a:gd name="connsiteX54" fmla="*/ 482231 w 560050"/>
                <a:gd name="connsiteY54" fmla="*/ 474550 h 561227"/>
                <a:gd name="connsiteX55" fmla="*/ 475374 w 560050"/>
                <a:gd name="connsiteY55" fmla="*/ 477503 h 561227"/>
                <a:gd name="connsiteX56" fmla="*/ 59607 w 560050"/>
                <a:gd name="connsiteY56" fmla="*/ 450071 h 561227"/>
                <a:gd name="connsiteX57" fmla="*/ 51892 w 560050"/>
                <a:gd name="connsiteY57" fmla="*/ 446165 h 561227"/>
                <a:gd name="connsiteX58" fmla="*/ 50463 w 560050"/>
                <a:gd name="connsiteY58" fmla="*/ 444165 h 561227"/>
                <a:gd name="connsiteX59" fmla="*/ 52654 w 560050"/>
                <a:gd name="connsiteY59" fmla="*/ 430830 h 561227"/>
                <a:gd name="connsiteX60" fmla="*/ 65989 w 560050"/>
                <a:gd name="connsiteY60" fmla="*/ 433021 h 561227"/>
                <a:gd name="connsiteX61" fmla="*/ 67322 w 560050"/>
                <a:gd name="connsiteY61" fmla="*/ 434831 h 561227"/>
                <a:gd name="connsiteX62" fmla="*/ 65322 w 560050"/>
                <a:gd name="connsiteY62" fmla="*/ 448166 h 561227"/>
                <a:gd name="connsiteX63" fmla="*/ 59702 w 560050"/>
                <a:gd name="connsiteY63" fmla="*/ 449975 h 561227"/>
                <a:gd name="connsiteX64" fmla="*/ 515855 w 560050"/>
                <a:gd name="connsiteY64" fmla="*/ 422924 h 561227"/>
                <a:gd name="connsiteX65" fmla="*/ 511187 w 560050"/>
                <a:gd name="connsiteY65" fmla="*/ 421686 h 561227"/>
                <a:gd name="connsiteX66" fmla="*/ 507473 w 560050"/>
                <a:gd name="connsiteY66" fmla="*/ 408732 h 561227"/>
                <a:gd name="connsiteX67" fmla="*/ 508616 w 560050"/>
                <a:gd name="connsiteY67" fmla="*/ 406732 h 561227"/>
                <a:gd name="connsiteX68" fmla="*/ 521570 w 560050"/>
                <a:gd name="connsiteY68" fmla="*/ 403017 h 561227"/>
                <a:gd name="connsiteX69" fmla="*/ 525284 w 560050"/>
                <a:gd name="connsiteY69" fmla="*/ 415971 h 561227"/>
                <a:gd name="connsiteX70" fmla="*/ 524141 w 560050"/>
                <a:gd name="connsiteY70" fmla="*/ 418067 h 561227"/>
                <a:gd name="connsiteX71" fmla="*/ 515855 w 560050"/>
                <a:gd name="connsiteY71" fmla="*/ 422924 h 561227"/>
                <a:gd name="connsiteX72" fmla="*/ 26746 w 560050"/>
                <a:gd name="connsiteY72" fmla="*/ 390539 h 561227"/>
                <a:gd name="connsiteX73" fmla="*/ 17888 w 560050"/>
                <a:gd name="connsiteY73" fmla="*/ 384539 h 561227"/>
                <a:gd name="connsiteX74" fmla="*/ 17031 w 560050"/>
                <a:gd name="connsiteY74" fmla="*/ 382348 h 561227"/>
                <a:gd name="connsiteX75" fmla="*/ 22365 w 560050"/>
                <a:gd name="connsiteY75" fmla="*/ 369965 h 561227"/>
                <a:gd name="connsiteX76" fmla="*/ 34747 w 560050"/>
                <a:gd name="connsiteY76" fmla="*/ 375299 h 561227"/>
                <a:gd name="connsiteX77" fmla="*/ 35604 w 560050"/>
                <a:gd name="connsiteY77" fmla="*/ 377490 h 561227"/>
                <a:gd name="connsiteX78" fmla="*/ 30270 w 560050"/>
                <a:gd name="connsiteY78" fmla="*/ 389873 h 561227"/>
                <a:gd name="connsiteX79" fmla="*/ 26746 w 560050"/>
                <a:gd name="connsiteY79" fmla="*/ 390539 h 561227"/>
                <a:gd name="connsiteX80" fmla="*/ 541477 w 560050"/>
                <a:gd name="connsiteY80" fmla="*/ 359869 h 561227"/>
                <a:gd name="connsiteX81" fmla="*/ 539000 w 560050"/>
                <a:gd name="connsiteY81" fmla="*/ 359488 h 561227"/>
                <a:gd name="connsiteX82" fmla="*/ 532333 w 560050"/>
                <a:gd name="connsiteY82" fmla="*/ 347772 h 561227"/>
                <a:gd name="connsiteX83" fmla="*/ 532904 w 560050"/>
                <a:gd name="connsiteY83" fmla="*/ 345581 h 561227"/>
                <a:gd name="connsiteX84" fmla="*/ 544525 w 560050"/>
                <a:gd name="connsiteY84" fmla="*/ 338723 h 561227"/>
                <a:gd name="connsiteX85" fmla="*/ 551383 w 560050"/>
                <a:gd name="connsiteY85" fmla="*/ 350344 h 561227"/>
                <a:gd name="connsiteX86" fmla="*/ 550716 w 560050"/>
                <a:gd name="connsiteY86" fmla="*/ 352725 h 561227"/>
                <a:gd name="connsiteX87" fmla="*/ 541572 w 560050"/>
                <a:gd name="connsiteY87" fmla="*/ 359774 h 561227"/>
                <a:gd name="connsiteX88" fmla="*/ 9791 w 560050"/>
                <a:gd name="connsiteY88" fmla="*/ 324626 h 561227"/>
                <a:gd name="connsiteX89" fmla="*/ 362 w 560050"/>
                <a:gd name="connsiteY89" fmla="*/ 316340 h 561227"/>
                <a:gd name="connsiteX90" fmla="*/ 76 w 560050"/>
                <a:gd name="connsiteY90" fmla="*/ 313863 h 561227"/>
                <a:gd name="connsiteX91" fmla="*/ 8458 w 560050"/>
                <a:gd name="connsiteY91" fmla="*/ 303290 h 561227"/>
                <a:gd name="connsiteX92" fmla="*/ 19030 w 560050"/>
                <a:gd name="connsiteY92" fmla="*/ 311672 h 561227"/>
                <a:gd name="connsiteX93" fmla="*/ 19316 w 560050"/>
                <a:gd name="connsiteY93" fmla="*/ 313863 h 561227"/>
                <a:gd name="connsiteX94" fmla="*/ 11125 w 560050"/>
                <a:gd name="connsiteY94" fmla="*/ 324531 h 561227"/>
                <a:gd name="connsiteX95" fmla="*/ 9887 w 560050"/>
                <a:gd name="connsiteY95" fmla="*/ 324531 h 561227"/>
                <a:gd name="connsiteX96" fmla="*/ 550525 w 560050"/>
                <a:gd name="connsiteY96" fmla="*/ 292432 h 561227"/>
                <a:gd name="connsiteX97" fmla="*/ 550431 w 560050"/>
                <a:gd name="connsiteY97" fmla="*/ 292432 h 561227"/>
                <a:gd name="connsiteX98" fmla="*/ 541000 w 560050"/>
                <a:gd name="connsiteY98" fmla="*/ 282812 h 561227"/>
                <a:gd name="connsiteX99" fmla="*/ 541000 w 560050"/>
                <a:gd name="connsiteY99" fmla="*/ 279478 h 561227"/>
                <a:gd name="connsiteX100" fmla="*/ 550525 w 560050"/>
                <a:gd name="connsiteY100" fmla="*/ 269953 h 561227"/>
                <a:gd name="connsiteX101" fmla="*/ 560050 w 560050"/>
                <a:gd name="connsiteY101" fmla="*/ 279478 h 561227"/>
                <a:gd name="connsiteX102" fmla="*/ 560050 w 560050"/>
                <a:gd name="connsiteY102" fmla="*/ 283002 h 561227"/>
                <a:gd name="connsiteX103" fmla="*/ 550525 w 560050"/>
                <a:gd name="connsiteY103" fmla="*/ 292432 h 561227"/>
                <a:gd name="connsiteX104" fmla="*/ 9696 w 560050"/>
                <a:gd name="connsiteY104" fmla="*/ 256618 h 561227"/>
                <a:gd name="connsiteX105" fmla="*/ 8553 w 560050"/>
                <a:gd name="connsiteY105" fmla="*/ 256618 h 561227"/>
                <a:gd name="connsiteX106" fmla="*/ 266 w 560050"/>
                <a:gd name="connsiteY106" fmla="*/ 246045 h 561227"/>
                <a:gd name="connsiteX107" fmla="*/ 552 w 560050"/>
                <a:gd name="connsiteY107" fmla="*/ 243759 h 561227"/>
                <a:gd name="connsiteX108" fmla="*/ 11220 w 560050"/>
                <a:gd name="connsiteY108" fmla="*/ 235472 h 561227"/>
                <a:gd name="connsiteX109" fmla="*/ 19412 w 560050"/>
                <a:gd name="connsiteY109" fmla="*/ 246045 h 561227"/>
                <a:gd name="connsiteX110" fmla="*/ 19126 w 560050"/>
                <a:gd name="connsiteY110" fmla="*/ 248236 h 561227"/>
                <a:gd name="connsiteX111" fmla="*/ 9696 w 560050"/>
                <a:gd name="connsiteY111" fmla="*/ 256618 h 561227"/>
                <a:gd name="connsiteX112" fmla="*/ 542429 w 560050"/>
                <a:gd name="connsiteY112" fmla="*/ 223852 h 561227"/>
                <a:gd name="connsiteX113" fmla="*/ 533190 w 560050"/>
                <a:gd name="connsiteY113" fmla="*/ 216708 h 561227"/>
                <a:gd name="connsiteX114" fmla="*/ 532618 w 560050"/>
                <a:gd name="connsiteY114" fmla="*/ 214422 h 561227"/>
                <a:gd name="connsiteX115" fmla="*/ 539477 w 560050"/>
                <a:gd name="connsiteY115" fmla="*/ 202802 h 561227"/>
                <a:gd name="connsiteX116" fmla="*/ 551097 w 560050"/>
                <a:gd name="connsiteY116" fmla="*/ 209660 h 561227"/>
                <a:gd name="connsiteX117" fmla="*/ 551668 w 560050"/>
                <a:gd name="connsiteY117" fmla="*/ 211946 h 561227"/>
                <a:gd name="connsiteX118" fmla="*/ 544811 w 560050"/>
                <a:gd name="connsiteY118" fmla="*/ 223566 h 561227"/>
                <a:gd name="connsiteX119" fmla="*/ 542429 w 560050"/>
                <a:gd name="connsiteY119" fmla="*/ 223852 h 561227"/>
                <a:gd name="connsiteX120" fmla="*/ 26460 w 560050"/>
                <a:gd name="connsiteY120" fmla="*/ 190705 h 561227"/>
                <a:gd name="connsiteX121" fmla="*/ 22936 w 560050"/>
                <a:gd name="connsiteY121" fmla="*/ 190038 h 561227"/>
                <a:gd name="connsiteX122" fmla="*/ 17602 w 560050"/>
                <a:gd name="connsiteY122" fmla="*/ 177656 h 561227"/>
                <a:gd name="connsiteX123" fmla="*/ 18554 w 560050"/>
                <a:gd name="connsiteY123" fmla="*/ 175370 h 561227"/>
                <a:gd name="connsiteX124" fmla="*/ 30937 w 560050"/>
                <a:gd name="connsiteY124" fmla="*/ 170131 h 561227"/>
                <a:gd name="connsiteX125" fmla="*/ 36175 w 560050"/>
                <a:gd name="connsiteY125" fmla="*/ 182513 h 561227"/>
                <a:gd name="connsiteX126" fmla="*/ 35318 w 560050"/>
                <a:gd name="connsiteY126" fmla="*/ 184609 h 561227"/>
                <a:gd name="connsiteX127" fmla="*/ 26460 w 560050"/>
                <a:gd name="connsiteY127" fmla="*/ 190610 h 561227"/>
                <a:gd name="connsiteX128" fmla="*/ 517759 w 560050"/>
                <a:gd name="connsiteY128" fmla="*/ 160511 h 561227"/>
                <a:gd name="connsiteX129" fmla="*/ 509377 w 560050"/>
                <a:gd name="connsiteY129" fmla="*/ 155558 h 561227"/>
                <a:gd name="connsiteX130" fmla="*/ 508330 w 560050"/>
                <a:gd name="connsiteY130" fmla="*/ 153653 h 561227"/>
                <a:gd name="connsiteX131" fmla="*/ 512045 w 560050"/>
                <a:gd name="connsiteY131" fmla="*/ 140699 h 561227"/>
                <a:gd name="connsiteX132" fmla="*/ 524998 w 560050"/>
                <a:gd name="connsiteY132" fmla="*/ 144413 h 561227"/>
                <a:gd name="connsiteX133" fmla="*/ 526141 w 560050"/>
                <a:gd name="connsiteY133" fmla="*/ 146604 h 561227"/>
                <a:gd name="connsiteX134" fmla="*/ 522332 w 560050"/>
                <a:gd name="connsiteY134" fmla="*/ 159558 h 561227"/>
                <a:gd name="connsiteX135" fmla="*/ 517855 w 560050"/>
                <a:gd name="connsiteY135" fmla="*/ 160701 h 561227"/>
                <a:gd name="connsiteX136" fmla="*/ 59131 w 560050"/>
                <a:gd name="connsiteY136" fmla="*/ 131078 h 561227"/>
                <a:gd name="connsiteX137" fmla="*/ 53606 w 560050"/>
                <a:gd name="connsiteY137" fmla="*/ 129269 h 561227"/>
                <a:gd name="connsiteX138" fmla="*/ 51416 w 560050"/>
                <a:gd name="connsiteY138" fmla="*/ 115934 h 561227"/>
                <a:gd name="connsiteX139" fmla="*/ 52844 w 560050"/>
                <a:gd name="connsiteY139" fmla="*/ 113933 h 561227"/>
                <a:gd name="connsiteX140" fmla="*/ 66179 w 560050"/>
                <a:gd name="connsiteY140" fmla="*/ 111933 h 561227"/>
                <a:gd name="connsiteX141" fmla="*/ 68180 w 560050"/>
                <a:gd name="connsiteY141" fmla="*/ 125268 h 561227"/>
                <a:gd name="connsiteX142" fmla="*/ 66846 w 560050"/>
                <a:gd name="connsiteY142" fmla="*/ 127078 h 561227"/>
                <a:gd name="connsiteX143" fmla="*/ 59131 w 560050"/>
                <a:gd name="connsiteY143" fmla="*/ 131078 h 561227"/>
                <a:gd name="connsiteX144" fmla="*/ 478040 w 560050"/>
                <a:gd name="connsiteY144" fmla="*/ 105361 h 561227"/>
                <a:gd name="connsiteX145" fmla="*/ 470992 w 560050"/>
                <a:gd name="connsiteY145" fmla="*/ 102313 h 561227"/>
                <a:gd name="connsiteX146" fmla="*/ 469468 w 560050"/>
                <a:gd name="connsiteY146" fmla="*/ 100694 h 561227"/>
                <a:gd name="connsiteX147" fmla="*/ 469849 w 560050"/>
                <a:gd name="connsiteY147" fmla="*/ 87263 h 561227"/>
                <a:gd name="connsiteX148" fmla="*/ 483279 w 560050"/>
                <a:gd name="connsiteY148" fmla="*/ 87644 h 561227"/>
                <a:gd name="connsiteX149" fmla="*/ 484993 w 560050"/>
                <a:gd name="connsiteY149" fmla="*/ 89454 h 561227"/>
                <a:gd name="connsiteX150" fmla="*/ 484422 w 560050"/>
                <a:gd name="connsiteY150" fmla="*/ 102884 h 561227"/>
                <a:gd name="connsiteX151" fmla="*/ 477945 w 560050"/>
                <a:gd name="connsiteY151" fmla="*/ 105361 h 561227"/>
                <a:gd name="connsiteX152" fmla="*/ 105613 w 560050"/>
                <a:gd name="connsiteY152" fmla="*/ 81358 h 561227"/>
                <a:gd name="connsiteX153" fmla="*/ 98279 w 560050"/>
                <a:gd name="connsiteY153" fmla="*/ 77929 h 561227"/>
                <a:gd name="connsiteX154" fmla="*/ 99517 w 560050"/>
                <a:gd name="connsiteY154" fmla="*/ 64499 h 561227"/>
                <a:gd name="connsiteX155" fmla="*/ 101422 w 560050"/>
                <a:gd name="connsiteY155" fmla="*/ 62975 h 561227"/>
                <a:gd name="connsiteX156" fmla="*/ 114852 w 560050"/>
                <a:gd name="connsiteY156" fmla="*/ 64308 h 561227"/>
                <a:gd name="connsiteX157" fmla="*/ 113518 w 560050"/>
                <a:gd name="connsiteY157" fmla="*/ 77738 h 561227"/>
                <a:gd name="connsiteX158" fmla="*/ 111804 w 560050"/>
                <a:gd name="connsiteY158" fmla="*/ 79167 h 561227"/>
                <a:gd name="connsiteX159" fmla="*/ 105708 w 560050"/>
                <a:gd name="connsiteY159" fmla="*/ 81358 h 561227"/>
                <a:gd name="connsiteX160" fmla="*/ 425843 w 560050"/>
                <a:gd name="connsiteY160" fmla="*/ 61641 h 561227"/>
                <a:gd name="connsiteX161" fmla="*/ 420795 w 560050"/>
                <a:gd name="connsiteY161" fmla="*/ 60212 h 561227"/>
                <a:gd name="connsiteX162" fmla="*/ 418795 w 560050"/>
                <a:gd name="connsiteY162" fmla="*/ 58974 h 561227"/>
                <a:gd name="connsiteX163" fmla="*/ 415842 w 560050"/>
                <a:gd name="connsiteY163" fmla="*/ 45830 h 561227"/>
                <a:gd name="connsiteX164" fmla="*/ 428987 w 560050"/>
                <a:gd name="connsiteY164" fmla="*/ 42877 h 561227"/>
                <a:gd name="connsiteX165" fmla="*/ 430987 w 560050"/>
                <a:gd name="connsiteY165" fmla="*/ 44115 h 561227"/>
                <a:gd name="connsiteX166" fmla="*/ 433939 w 560050"/>
                <a:gd name="connsiteY166" fmla="*/ 57260 h 561227"/>
                <a:gd name="connsiteX167" fmla="*/ 425843 w 560050"/>
                <a:gd name="connsiteY167" fmla="*/ 61736 h 561227"/>
                <a:gd name="connsiteX168" fmla="*/ 162858 w 560050"/>
                <a:gd name="connsiteY168" fmla="*/ 44687 h 561227"/>
                <a:gd name="connsiteX169" fmla="*/ 154286 w 560050"/>
                <a:gd name="connsiteY169" fmla="*/ 39257 h 561227"/>
                <a:gd name="connsiteX170" fmla="*/ 158857 w 560050"/>
                <a:gd name="connsiteY170" fmla="*/ 26589 h 561227"/>
                <a:gd name="connsiteX171" fmla="*/ 161049 w 560050"/>
                <a:gd name="connsiteY171" fmla="*/ 25541 h 561227"/>
                <a:gd name="connsiteX172" fmla="*/ 173716 w 560050"/>
                <a:gd name="connsiteY172" fmla="*/ 30113 h 561227"/>
                <a:gd name="connsiteX173" fmla="*/ 169145 w 560050"/>
                <a:gd name="connsiteY173" fmla="*/ 42782 h 561227"/>
                <a:gd name="connsiteX174" fmla="*/ 167049 w 560050"/>
                <a:gd name="connsiteY174" fmla="*/ 43734 h 561227"/>
                <a:gd name="connsiteX175" fmla="*/ 162953 w 560050"/>
                <a:gd name="connsiteY175" fmla="*/ 44687 h 561227"/>
                <a:gd name="connsiteX176" fmla="*/ 364407 w 560050"/>
                <a:gd name="connsiteY176" fmla="*/ 32304 h 561227"/>
                <a:gd name="connsiteX177" fmla="*/ 361454 w 560050"/>
                <a:gd name="connsiteY177" fmla="*/ 31828 h 561227"/>
                <a:gd name="connsiteX178" fmla="*/ 359264 w 560050"/>
                <a:gd name="connsiteY178" fmla="*/ 31161 h 561227"/>
                <a:gd name="connsiteX179" fmla="*/ 353072 w 560050"/>
                <a:gd name="connsiteY179" fmla="*/ 19160 h 561227"/>
                <a:gd name="connsiteX180" fmla="*/ 365074 w 560050"/>
                <a:gd name="connsiteY180" fmla="*/ 12968 h 561227"/>
                <a:gd name="connsiteX181" fmla="*/ 367360 w 560050"/>
                <a:gd name="connsiteY181" fmla="*/ 13730 h 561227"/>
                <a:gd name="connsiteX182" fmla="*/ 373361 w 560050"/>
                <a:gd name="connsiteY182" fmla="*/ 25732 h 561227"/>
                <a:gd name="connsiteX183" fmla="*/ 364312 w 560050"/>
                <a:gd name="connsiteY183" fmla="*/ 32304 h 561227"/>
                <a:gd name="connsiteX184" fmla="*/ 227438 w 560050"/>
                <a:gd name="connsiteY184" fmla="*/ 23541 h 561227"/>
                <a:gd name="connsiteX185" fmla="*/ 218103 w 560050"/>
                <a:gd name="connsiteY185" fmla="*/ 15826 h 561227"/>
                <a:gd name="connsiteX186" fmla="*/ 225628 w 560050"/>
                <a:gd name="connsiteY186" fmla="*/ 4682 h 561227"/>
                <a:gd name="connsiteX187" fmla="*/ 228009 w 560050"/>
                <a:gd name="connsiteY187" fmla="*/ 4205 h 561227"/>
                <a:gd name="connsiteX188" fmla="*/ 239058 w 560050"/>
                <a:gd name="connsiteY188" fmla="*/ 11825 h 561227"/>
                <a:gd name="connsiteX189" fmla="*/ 231438 w 560050"/>
                <a:gd name="connsiteY189" fmla="*/ 22874 h 561227"/>
                <a:gd name="connsiteX190" fmla="*/ 229247 w 560050"/>
                <a:gd name="connsiteY190" fmla="*/ 23255 h 561227"/>
                <a:gd name="connsiteX191" fmla="*/ 227438 w 560050"/>
                <a:gd name="connsiteY191" fmla="*/ 23446 h 561227"/>
                <a:gd name="connsiteX192" fmla="*/ 297637 w 560050"/>
                <a:gd name="connsiteY192" fmla="*/ 19255 h 561227"/>
                <a:gd name="connsiteX193" fmla="*/ 296970 w 560050"/>
                <a:gd name="connsiteY193" fmla="*/ 19255 h 561227"/>
                <a:gd name="connsiteX194" fmla="*/ 294684 w 560050"/>
                <a:gd name="connsiteY194" fmla="*/ 19064 h 561227"/>
                <a:gd name="connsiteX195" fmla="*/ 285730 w 560050"/>
                <a:gd name="connsiteY195" fmla="*/ 8968 h 561227"/>
                <a:gd name="connsiteX196" fmla="*/ 295827 w 560050"/>
                <a:gd name="connsiteY196" fmla="*/ 14 h 561227"/>
                <a:gd name="connsiteX197" fmla="*/ 298208 w 560050"/>
                <a:gd name="connsiteY197" fmla="*/ 205 h 561227"/>
                <a:gd name="connsiteX198" fmla="*/ 307066 w 560050"/>
                <a:gd name="connsiteY198" fmla="*/ 10301 h 561227"/>
                <a:gd name="connsiteX199" fmla="*/ 297541 w 560050"/>
                <a:gd name="connsiteY199" fmla="*/ 19160 h 561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60050" h="561227">
                  <a:moveTo>
                    <a:pt x="294017" y="561227"/>
                  </a:moveTo>
                  <a:cubicBezTo>
                    <a:pt x="288969" y="561227"/>
                    <a:pt x="284778" y="557322"/>
                    <a:pt x="284492" y="552179"/>
                  </a:cubicBezTo>
                  <a:cubicBezTo>
                    <a:pt x="284207" y="546940"/>
                    <a:pt x="288207" y="542463"/>
                    <a:pt x="293541" y="542177"/>
                  </a:cubicBezTo>
                  <a:lnTo>
                    <a:pt x="295732" y="542177"/>
                  </a:lnTo>
                  <a:cubicBezTo>
                    <a:pt x="301161" y="541701"/>
                    <a:pt x="305543" y="545702"/>
                    <a:pt x="305828" y="550940"/>
                  </a:cubicBezTo>
                  <a:cubicBezTo>
                    <a:pt x="306209" y="556179"/>
                    <a:pt x="302209" y="560751"/>
                    <a:pt x="296970" y="561037"/>
                  </a:cubicBezTo>
                  <a:lnTo>
                    <a:pt x="294493" y="561227"/>
                  </a:lnTo>
                  <a:cubicBezTo>
                    <a:pt x="294493" y="561227"/>
                    <a:pt x="294113" y="561227"/>
                    <a:pt x="294017" y="561227"/>
                  </a:cubicBezTo>
                  <a:close/>
                  <a:moveTo>
                    <a:pt x="228485" y="556941"/>
                  </a:moveTo>
                  <a:cubicBezTo>
                    <a:pt x="227914" y="556941"/>
                    <a:pt x="227342" y="556941"/>
                    <a:pt x="226771" y="556751"/>
                  </a:cubicBezTo>
                  <a:lnTo>
                    <a:pt x="224294" y="556274"/>
                  </a:lnTo>
                  <a:cubicBezTo>
                    <a:pt x="219151" y="555227"/>
                    <a:pt x="215817" y="550178"/>
                    <a:pt x="216865" y="545035"/>
                  </a:cubicBezTo>
                  <a:cubicBezTo>
                    <a:pt x="217913" y="539891"/>
                    <a:pt x="222961" y="536558"/>
                    <a:pt x="228104" y="537605"/>
                  </a:cubicBezTo>
                  <a:lnTo>
                    <a:pt x="230295" y="537986"/>
                  </a:lnTo>
                  <a:cubicBezTo>
                    <a:pt x="235439" y="538939"/>
                    <a:pt x="238868" y="543892"/>
                    <a:pt x="237915" y="549131"/>
                  </a:cubicBezTo>
                  <a:cubicBezTo>
                    <a:pt x="237058" y="553703"/>
                    <a:pt x="233058" y="556941"/>
                    <a:pt x="228580" y="556941"/>
                  </a:cubicBezTo>
                  <a:close/>
                  <a:moveTo>
                    <a:pt x="360883" y="549035"/>
                  </a:moveTo>
                  <a:cubicBezTo>
                    <a:pt x="356883" y="549035"/>
                    <a:pt x="353072" y="546464"/>
                    <a:pt x="351834" y="542368"/>
                  </a:cubicBezTo>
                  <a:cubicBezTo>
                    <a:pt x="350215" y="537320"/>
                    <a:pt x="353072" y="531986"/>
                    <a:pt x="358025" y="530462"/>
                  </a:cubicBezTo>
                  <a:lnTo>
                    <a:pt x="360216" y="529795"/>
                  </a:lnTo>
                  <a:cubicBezTo>
                    <a:pt x="365265" y="528176"/>
                    <a:pt x="370599" y="530938"/>
                    <a:pt x="372218" y="535891"/>
                  </a:cubicBezTo>
                  <a:cubicBezTo>
                    <a:pt x="373837" y="540939"/>
                    <a:pt x="371075" y="546273"/>
                    <a:pt x="366121" y="547892"/>
                  </a:cubicBezTo>
                  <a:lnTo>
                    <a:pt x="363836" y="548654"/>
                  </a:lnTo>
                  <a:cubicBezTo>
                    <a:pt x="362883" y="548940"/>
                    <a:pt x="361930" y="549131"/>
                    <a:pt x="360978" y="549131"/>
                  </a:cubicBezTo>
                  <a:close/>
                  <a:moveTo>
                    <a:pt x="163715" y="535986"/>
                  </a:moveTo>
                  <a:cubicBezTo>
                    <a:pt x="162382" y="535986"/>
                    <a:pt x="160953" y="535700"/>
                    <a:pt x="159715" y="535129"/>
                  </a:cubicBezTo>
                  <a:lnTo>
                    <a:pt x="157524" y="534081"/>
                  </a:lnTo>
                  <a:cubicBezTo>
                    <a:pt x="152762" y="531795"/>
                    <a:pt x="150761" y="526080"/>
                    <a:pt x="153047" y="521413"/>
                  </a:cubicBezTo>
                  <a:cubicBezTo>
                    <a:pt x="155333" y="516650"/>
                    <a:pt x="160953" y="514650"/>
                    <a:pt x="165716" y="516936"/>
                  </a:cubicBezTo>
                  <a:lnTo>
                    <a:pt x="167716" y="517889"/>
                  </a:lnTo>
                  <a:cubicBezTo>
                    <a:pt x="172478" y="520079"/>
                    <a:pt x="174574" y="525794"/>
                    <a:pt x="172288" y="530557"/>
                  </a:cubicBezTo>
                  <a:cubicBezTo>
                    <a:pt x="170668" y="533986"/>
                    <a:pt x="167239" y="536081"/>
                    <a:pt x="163620" y="536081"/>
                  </a:cubicBezTo>
                  <a:close/>
                  <a:moveTo>
                    <a:pt x="422700" y="520556"/>
                  </a:moveTo>
                  <a:cubicBezTo>
                    <a:pt x="419557" y="520556"/>
                    <a:pt x="416414" y="518936"/>
                    <a:pt x="414604" y="516079"/>
                  </a:cubicBezTo>
                  <a:cubicBezTo>
                    <a:pt x="411841" y="511602"/>
                    <a:pt x="413175" y="505697"/>
                    <a:pt x="417652" y="502934"/>
                  </a:cubicBezTo>
                  <a:lnTo>
                    <a:pt x="419557" y="501696"/>
                  </a:lnTo>
                  <a:cubicBezTo>
                    <a:pt x="424034" y="498934"/>
                    <a:pt x="429844" y="500172"/>
                    <a:pt x="432701" y="504649"/>
                  </a:cubicBezTo>
                  <a:cubicBezTo>
                    <a:pt x="435559" y="509126"/>
                    <a:pt x="434225" y="514936"/>
                    <a:pt x="429748" y="517793"/>
                  </a:cubicBezTo>
                  <a:lnTo>
                    <a:pt x="427749" y="519032"/>
                  </a:lnTo>
                  <a:cubicBezTo>
                    <a:pt x="426224" y="519984"/>
                    <a:pt x="424414" y="520460"/>
                    <a:pt x="422700" y="520460"/>
                  </a:cubicBezTo>
                  <a:close/>
                  <a:moveTo>
                    <a:pt x="106280" y="499505"/>
                  </a:moveTo>
                  <a:cubicBezTo>
                    <a:pt x="104184" y="499505"/>
                    <a:pt x="101993" y="498839"/>
                    <a:pt x="100279" y="497315"/>
                  </a:cubicBezTo>
                  <a:lnTo>
                    <a:pt x="98374" y="495695"/>
                  </a:lnTo>
                  <a:cubicBezTo>
                    <a:pt x="94374" y="492266"/>
                    <a:pt x="93897" y="486266"/>
                    <a:pt x="97326" y="482265"/>
                  </a:cubicBezTo>
                  <a:cubicBezTo>
                    <a:pt x="100755" y="478265"/>
                    <a:pt x="106756" y="477788"/>
                    <a:pt x="110756" y="481217"/>
                  </a:cubicBezTo>
                  <a:lnTo>
                    <a:pt x="112471" y="482646"/>
                  </a:lnTo>
                  <a:cubicBezTo>
                    <a:pt x="116566" y="485980"/>
                    <a:pt x="117138" y="491981"/>
                    <a:pt x="113804" y="496076"/>
                  </a:cubicBezTo>
                  <a:cubicBezTo>
                    <a:pt x="111899" y="498362"/>
                    <a:pt x="109233" y="499505"/>
                    <a:pt x="106470" y="499505"/>
                  </a:cubicBezTo>
                  <a:close/>
                  <a:moveTo>
                    <a:pt x="475374" y="477598"/>
                  </a:moveTo>
                  <a:cubicBezTo>
                    <a:pt x="472992" y="477598"/>
                    <a:pt x="470611" y="476741"/>
                    <a:pt x="468801" y="474931"/>
                  </a:cubicBezTo>
                  <a:cubicBezTo>
                    <a:pt x="464991" y="471311"/>
                    <a:pt x="464800" y="465311"/>
                    <a:pt x="468420" y="461501"/>
                  </a:cubicBezTo>
                  <a:lnTo>
                    <a:pt x="470040" y="459786"/>
                  </a:lnTo>
                  <a:cubicBezTo>
                    <a:pt x="473659" y="455976"/>
                    <a:pt x="479659" y="455786"/>
                    <a:pt x="483470" y="459405"/>
                  </a:cubicBezTo>
                  <a:cubicBezTo>
                    <a:pt x="487280" y="463025"/>
                    <a:pt x="487470" y="469025"/>
                    <a:pt x="483850" y="472835"/>
                  </a:cubicBezTo>
                  <a:lnTo>
                    <a:pt x="482231" y="474550"/>
                  </a:lnTo>
                  <a:cubicBezTo>
                    <a:pt x="480326" y="476550"/>
                    <a:pt x="477850" y="477503"/>
                    <a:pt x="475374" y="477503"/>
                  </a:cubicBezTo>
                  <a:close/>
                  <a:moveTo>
                    <a:pt x="59607" y="450071"/>
                  </a:moveTo>
                  <a:cubicBezTo>
                    <a:pt x="56654" y="450071"/>
                    <a:pt x="53797" y="448737"/>
                    <a:pt x="51892" y="446165"/>
                  </a:cubicBezTo>
                  <a:lnTo>
                    <a:pt x="50463" y="444165"/>
                  </a:lnTo>
                  <a:cubicBezTo>
                    <a:pt x="47415" y="439879"/>
                    <a:pt x="48368" y="433973"/>
                    <a:pt x="52654" y="430830"/>
                  </a:cubicBezTo>
                  <a:cubicBezTo>
                    <a:pt x="56940" y="427782"/>
                    <a:pt x="62846" y="428735"/>
                    <a:pt x="65989" y="433021"/>
                  </a:cubicBezTo>
                  <a:lnTo>
                    <a:pt x="67322" y="434831"/>
                  </a:lnTo>
                  <a:cubicBezTo>
                    <a:pt x="70466" y="439022"/>
                    <a:pt x="69513" y="445022"/>
                    <a:pt x="65322" y="448166"/>
                  </a:cubicBezTo>
                  <a:cubicBezTo>
                    <a:pt x="63607" y="449404"/>
                    <a:pt x="61608" y="449975"/>
                    <a:pt x="59702" y="449975"/>
                  </a:cubicBezTo>
                  <a:close/>
                  <a:moveTo>
                    <a:pt x="515855" y="422924"/>
                  </a:moveTo>
                  <a:cubicBezTo>
                    <a:pt x="514235" y="422924"/>
                    <a:pt x="512711" y="422543"/>
                    <a:pt x="511187" y="421686"/>
                  </a:cubicBezTo>
                  <a:cubicBezTo>
                    <a:pt x="506615" y="419114"/>
                    <a:pt x="504901" y="413304"/>
                    <a:pt x="507473" y="408732"/>
                  </a:cubicBezTo>
                  <a:lnTo>
                    <a:pt x="508616" y="406732"/>
                  </a:lnTo>
                  <a:cubicBezTo>
                    <a:pt x="511187" y="402160"/>
                    <a:pt x="516998" y="400445"/>
                    <a:pt x="521570" y="403017"/>
                  </a:cubicBezTo>
                  <a:cubicBezTo>
                    <a:pt x="526141" y="405589"/>
                    <a:pt x="527856" y="411399"/>
                    <a:pt x="525284" y="415971"/>
                  </a:cubicBezTo>
                  <a:lnTo>
                    <a:pt x="524141" y="418067"/>
                  </a:lnTo>
                  <a:cubicBezTo>
                    <a:pt x="522427" y="421210"/>
                    <a:pt x="519188" y="422924"/>
                    <a:pt x="515855" y="422924"/>
                  </a:cubicBezTo>
                  <a:close/>
                  <a:moveTo>
                    <a:pt x="26746" y="390539"/>
                  </a:moveTo>
                  <a:cubicBezTo>
                    <a:pt x="22936" y="390539"/>
                    <a:pt x="19412" y="388253"/>
                    <a:pt x="17888" y="384539"/>
                  </a:cubicBezTo>
                  <a:lnTo>
                    <a:pt x="17031" y="382348"/>
                  </a:lnTo>
                  <a:cubicBezTo>
                    <a:pt x="15125" y="377490"/>
                    <a:pt x="17507" y="371966"/>
                    <a:pt x="22365" y="369965"/>
                  </a:cubicBezTo>
                  <a:cubicBezTo>
                    <a:pt x="27222" y="368060"/>
                    <a:pt x="32746" y="370442"/>
                    <a:pt x="34747" y="375299"/>
                  </a:cubicBezTo>
                  <a:lnTo>
                    <a:pt x="35604" y="377490"/>
                  </a:lnTo>
                  <a:cubicBezTo>
                    <a:pt x="37509" y="382348"/>
                    <a:pt x="35128" y="387872"/>
                    <a:pt x="30270" y="389873"/>
                  </a:cubicBezTo>
                  <a:cubicBezTo>
                    <a:pt x="29127" y="390349"/>
                    <a:pt x="27889" y="390539"/>
                    <a:pt x="26746" y="390539"/>
                  </a:cubicBezTo>
                  <a:close/>
                  <a:moveTo>
                    <a:pt x="541477" y="359869"/>
                  </a:moveTo>
                  <a:cubicBezTo>
                    <a:pt x="540620" y="359869"/>
                    <a:pt x="539857" y="359774"/>
                    <a:pt x="539000" y="359488"/>
                  </a:cubicBezTo>
                  <a:cubicBezTo>
                    <a:pt x="533952" y="358154"/>
                    <a:pt x="530904" y="352916"/>
                    <a:pt x="532333" y="347772"/>
                  </a:cubicBezTo>
                  <a:lnTo>
                    <a:pt x="532904" y="345581"/>
                  </a:lnTo>
                  <a:cubicBezTo>
                    <a:pt x="534238" y="340438"/>
                    <a:pt x="539381" y="337485"/>
                    <a:pt x="544525" y="338723"/>
                  </a:cubicBezTo>
                  <a:cubicBezTo>
                    <a:pt x="549573" y="340057"/>
                    <a:pt x="552717" y="345200"/>
                    <a:pt x="551383" y="350344"/>
                  </a:cubicBezTo>
                  <a:lnTo>
                    <a:pt x="550716" y="352725"/>
                  </a:lnTo>
                  <a:cubicBezTo>
                    <a:pt x="549573" y="357011"/>
                    <a:pt x="545763" y="359774"/>
                    <a:pt x="541572" y="359774"/>
                  </a:cubicBezTo>
                  <a:close/>
                  <a:moveTo>
                    <a:pt x="9791" y="324626"/>
                  </a:moveTo>
                  <a:cubicBezTo>
                    <a:pt x="5124" y="324626"/>
                    <a:pt x="1028" y="321102"/>
                    <a:pt x="362" y="316340"/>
                  </a:cubicBezTo>
                  <a:lnTo>
                    <a:pt x="76" y="313863"/>
                  </a:lnTo>
                  <a:cubicBezTo>
                    <a:pt x="-591" y="308624"/>
                    <a:pt x="3219" y="303862"/>
                    <a:pt x="8458" y="303290"/>
                  </a:cubicBezTo>
                  <a:cubicBezTo>
                    <a:pt x="13696" y="302719"/>
                    <a:pt x="18459" y="306434"/>
                    <a:pt x="19030" y="311672"/>
                  </a:cubicBezTo>
                  <a:lnTo>
                    <a:pt x="19316" y="313863"/>
                  </a:lnTo>
                  <a:cubicBezTo>
                    <a:pt x="19983" y="319102"/>
                    <a:pt x="16364" y="323864"/>
                    <a:pt x="11125" y="324531"/>
                  </a:cubicBezTo>
                  <a:cubicBezTo>
                    <a:pt x="10744" y="324531"/>
                    <a:pt x="10268" y="324531"/>
                    <a:pt x="9887" y="324531"/>
                  </a:cubicBezTo>
                  <a:close/>
                  <a:moveTo>
                    <a:pt x="550525" y="292432"/>
                  </a:moveTo>
                  <a:lnTo>
                    <a:pt x="550431" y="292432"/>
                  </a:lnTo>
                  <a:cubicBezTo>
                    <a:pt x="545191" y="292432"/>
                    <a:pt x="540906" y="288050"/>
                    <a:pt x="541000" y="282812"/>
                  </a:cubicBezTo>
                  <a:lnTo>
                    <a:pt x="541000" y="279478"/>
                  </a:lnTo>
                  <a:cubicBezTo>
                    <a:pt x="541000" y="274239"/>
                    <a:pt x="545287" y="269953"/>
                    <a:pt x="550525" y="269953"/>
                  </a:cubicBezTo>
                  <a:cubicBezTo>
                    <a:pt x="555765" y="269953"/>
                    <a:pt x="560050" y="274239"/>
                    <a:pt x="560050" y="279478"/>
                  </a:cubicBezTo>
                  <a:lnTo>
                    <a:pt x="560050" y="283002"/>
                  </a:lnTo>
                  <a:cubicBezTo>
                    <a:pt x="560050" y="288241"/>
                    <a:pt x="555765" y="292432"/>
                    <a:pt x="550525" y="292432"/>
                  </a:cubicBezTo>
                  <a:close/>
                  <a:moveTo>
                    <a:pt x="9696" y="256618"/>
                  </a:moveTo>
                  <a:cubicBezTo>
                    <a:pt x="9696" y="256618"/>
                    <a:pt x="8934" y="256618"/>
                    <a:pt x="8553" y="256618"/>
                  </a:cubicBezTo>
                  <a:cubicBezTo>
                    <a:pt x="3315" y="255951"/>
                    <a:pt x="-400" y="251284"/>
                    <a:pt x="266" y="246045"/>
                  </a:cubicBezTo>
                  <a:lnTo>
                    <a:pt x="552" y="243759"/>
                  </a:lnTo>
                  <a:cubicBezTo>
                    <a:pt x="1219" y="238520"/>
                    <a:pt x="6077" y="234806"/>
                    <a:pt x="11220" y="235472"/>
                  </a:cubicBezTo>
                  <a:cubicBezTo>
                    <a:pt x="16459" y="236139"/>
                    <a:pt x="20078" y="240902"/>
                    <a:pt x="19412" y="246045"/>
                  </a:cubicBezTo>
                  <a:lnTo>
                    <a:pt x="19126" y="248236"/>
                  </a:lnTo>
                  <a:cubicBezTo>
                    <a:pt x="18554" y="253094"/>
                    <a:pt x="14459" y="256618"/>
                    <a:pt x="9696" y="256618"/>
                  </a:cubicBezTo>
                  <a:close/>
                  <a:moveTo>
                    <a:pt x="542429" y="223852"/>
                  </a:moveTo>
                  <a:cubicBezTo>
                    <a:pt x="538143" y="223852"/>
                    <a:pt x="534333" y="220994"/>
                    <a:pt x="533190" y="216708"/>
                  </a:cubicBezTo>
                  <a:lnTo>
                    <a:pt x="532618" y="214422"/>
                  </a:lnTo>
                  <a:cubicBezTo>
                    <a:pt x="531285" y="209374"/>
                    <a:pt x="534333" y="204135"/>
                    <a:pt x="539477" y="202802"/>
                  </a:cubicBezTo>
                  <a:cubicBezTo>
                    <a:pt x="544620" y="201468"/>
                    <a:pt x="549764" y="204516"/>
                    <a:pt x="551097" y="209660"/>
                  </a:cubicBezTo>
                  <a:lnTo>
                    <a:pt x="551668" y="211946"/>
                  </a:lnTo>
                  <a:cubicBezTo>
                    <a:pt x="553002" y="217089"/>
                    <a:pt x="549859" y="222233"/>
                    <a:pt x="544811" y="223566"/>
                  </a:cubicBezTo>
                  <a:cubicBezTo>
                    <a:pt x="544048" y="223757"/>
                    <a:pt x="543192" y="223852"/>
                    <a:pt x="542429" y="223852"/>
                  </a:cubicBezTo>
                  <a:close/>
                  <a:moveTo>
                    <a:pt x="26460" y="190705"/>
                  </a:moveTo>
                  <a:cubicBezTo>
                    <a:pt x="25317" y="190705"/>
                    <a:pt x="24079" y="190514"/>
                    <a:pt x="22936" y="190038"/>
                  </a:cubicBezTo>
                  <a:cubicBezTo>
                    <a:pt x="18078" y="188133"/>
                    <a:pt x="15602" y="182609"/>
                    <a:pt x="17602" y="177656"/>
                  </a:cubicBezTo>
                  <a:lnTo>
                    <a:pt x="18554" y="175370"/>
                  </a:lnTo>
                  <a:cubicBezTo>
                    <a:pt x="20555" y="170512"/>
                    <a:pt x="26079" y="168131"/>
                    <a:pt x="30937" y="170131"/>
                  </a:cubicBezTo>
                  <a:cubicBezTo>
                    <a:pt x="35795" y="172131"/>
                    <a:pt x="38176" y="177656"/>
                    <a:pt x="36175" y="182513"/>
                  </a:cubicBezTo>
                  <a:lnTo>
                    <a:pt x="35318" y="184609"/>
                  </a:lnTo>
                  <a:cubicBezTo>
                    <a:pt x="33794" y="188324"/>
                    <a:pt x="30270" y="190610"/>
                    <a:pt x="26460" y="190610"/>
                  </a:cubicBezTo>
                  <a:close/>
                  <a:moveTo>
                    <a:pt x="517759" y="160511"/>
                  </a:moveTo>
                  <a:cubicBezTo>
                    <a:pt x="514330" y="160511"/>
                    <a:pt x="511092" y="158701"/>
                    <a:pt x="509377" y="155558"/>
                  </a:cubicBezTo>
                  <a:lnTo>
                    <a:pt x="508330" y="153653"/>
                  </a:lnTo>
                  <a:cubicBezTo>
                    <a:pt x="505758" y="149081"/>
                    <a:pt x="507377" y="143270"/>
                    <a:pt x="512045" y="140699"/>
                  </a:cubicBezTo>
                  <a:cubicBezTo>
                    <a:pt x="516616" y="138127"/>
                    <a:pt x="522427" y="139746"/>
                    <a:pt x="524998" y="144413"/>
                  </a:cubicBezTo>
                  <a:lnTo>
                    <a:pt x="526141" y="146604"/>
                  </a:lnTo>
                  <a:cubicBezTo>
                    <a:pt x="528618" y="151271"/>
                    <a:pt x="526904" y="156986"/>
                    <a:pt x="522332" y="159558"/>
                  </a:cubicBezTo>
                  <a:cubicBezTo>
                    <a:pt x="520903" y="160320"/>
                    <a:pt x="519379" y="160701"/>
                    <a:pt x="517855" y="160701"/>
                  </a:cubicBezTo>
                  <a:close/>
                  <a:moveTo>
                    <a:pt x="59131" y="131078"/>
                  </a:moveTo>
                  <a:cubicBezTo>
                    <a:pt x="57226" y="131078"/>
                    <a:pt x="55321" y="130507"/>
                    <a:pt x="53606" y="129269"/>
                  </a:cubicBezTo>
                  <a:cubicBezTo>
                    <a:pt x="49320" y="126221"/>
                    <a:pt x="48368" y="120220"/>
                    <a:pt x="51416" y="115934"/>
                  </a:cubicBezTo>
                  <a:lnTo>
                    <a:pt x="52844" y="113933"/>
                  </a:lnTo>
                  <a:cubicBezTo>
                    <a:pt x="55988" y="109647"/>
                    <a:pt x="61893" y="108790"/>
                    <a:pt x="66179" y="111933"/>
                  </a:cubicBezTo>
                  <a:cubicBezTo>
                    <a:pt x="70370" y="115076"/>
                    <a:pt x="71323" y="120982"/>
                    <a:pt x="68180" y="125268"/>
                  </a:cubicBezTo>
                  <a:lnTo>
                    <a:pt x="66846" y="127078"/>
                  </a:lnTo>
                  <a:cubicBezTo>
                    <a:pt x="64941" y="129650"/>
                    <a:pt x="62084" y="131078"/>
                    <a:pt x="59131" y="131078"/>
                  </a:cubicBezTo>
                  <a:close/>
                  <a:moveTo>
                    <a:pt x="478040" y="105361"/>
                  </a:moveTo>
                  <a:cubicBezTo>
                    <a:pt x="475468" y="105361"/>
                    <a:pt x="472897" y="104313"/>
                    <a:pt x="470992" y="102313"/>
                  </a:cubicBezTo>
                  <a:lnTo>
                    <a:pt x="469468" y="100694"/>
                  </a:lnTo>
                  <a:cubicBezTo>
                    <a:pt x="465849" y="96884"/>
                    <a:pt x="466039" y="90883"/>
                    <a:pt x="469849" y="87263"/>
                  </a:cubicBezTo>
                  <a:cubicBezTo>
                    <a:pt x="473659" y="83644"/>
                    <a:pt x="479659" y="83739"/>
                    <a:pt x="483279" y="87644"/>
                  </a:cubicBezTo>
                  <a:lnTo>
                    <a:pt x="484993" y="89454"/>
                  </a:lnTo>
                  <a:cubicBezTo>
                    <a:pt x="488518" y="93359"/>
                    <a:pt x="488327" y="99360"/>
                    <a:pt x="484422" y="102884"/>
                  </a:cubicBezTo>
                  <a:cubicBezTo>
                    <a:pt x="482612" y="104599"/>
                    <a:pt x="480326" y="105361"/>
                    <a:pt x="477945" y="105361"/>
                  </a:cubicBezTo>
                  <a:close/>
                  <a:moveTo>
                    <a:pt x="105613" y="81358"/>
                  </a:moveTo>
                  <a:cubicBezTo>
                    <a:pt x="102850" y="81358"/>
                    <a:pt x="100184" y="80215"/>
                    <a:pt x="98279" y="77929"/>
                  </a:cubicBezTo>
                  <a:cubicBezTo>
                    <a:pt x="94945" y="73928"/>
                    <a:pt x="95516" y="67832"/>
                    <a:pt x="99517" y="64499"/>
                  </a:cubicBezTo>
                  <a:lnTo>
                    <a:pt x="101422" y="62975"/>
                  </a:lnTo>
                  <a:cubicBezTo>
                    <a:pt x="105518" y="59641"/>
                    <a:pt x="111518" y="60308"/>
                    <a:pt x="114852" y="64308"/>
                  </a:cubicBezTo>
                  <a:cubicBezTo>
                    <a:pt x="118186" y="68404"/>
                    <a:pt x="117519" y="74405"/>
                    <a:pt x="113518" y="77738"/>
                  </a:cubicBezTo>
                  <a:lnTo>
                    <a:pt x="111804" y="79167"/>
                  </a:lnTo>
                  <a:cubicBezTo>
                    <a:pt x="109994" y="80691"/>
                    <a:pt x="107899" y="81358"/>
                    <a:pt x="105708" y="81358"/>
                  </a:cubicBezTo>
                  <a:close/>
                  <a:moveTo>
                    <a:pt x="425843" y="61641"/>
                  </a:moveTo>
                  <a:cubicBezTo>
                    <a:pt x="424129" y="61641"/>
                    <a:pt x="422319" y="61165"/>
                    <a:pt x="420795" y="60212"/>
                  </a:cubicBezTo>
                  <a:lnTo>
                    <a:pt x="418795" y="58974"/>
                  </a:lnTo>
                  <a:cubicBezTo>
                    <a:pt x="414318" y="56117"/>
                    <a:pt x="412984" y="50306"/>
                    <a:pt x="415842" y="45830"/>
                  </a:cubicBezTo>
                  <a:cubicBezTo>
                    <a:pt x="418700" y="41353"/>
                    <a:pt x="424510" y="40115"/>
                    <a:pt x="428987" y="42877"/>
                  </a:cubicBezTo>
                  <a:lnTo>
                    <a:pt x="430987" y="44115"/>
                  </a:lnTo>
                  <a:cubicBezTo>
                    <a:pt x="435464" y="46877"/>
                    <a:pt x="436797" y="52783"/>
                    <a:pt x="433939" y="57260"/>
                  </a:cubicBezTo>
                  <a:cubicBezTo>
                    <a:pt x="432130" y="60117"/>
                    <a:pt x="429082" y="61736"/>
                    <a:pt x="425843" y="61736"/>
                  </a:cubicBezTo>
                  <a:close/>
                  <a:moveTo>
                    <a:pt x="162858" y="44687"/>
                  </a:moveTo>
                  <a:cubicBezTo>
                    <a:pt x="159334" y="44687"/>
                    <a:pt x="155905" y="42686"/>
                    <a:pt x="154286" y="39257"/>
                  </a:cubicBezTo>
                  <a:cubicBezTo>
                    <a:pt x="152000" y="34495"/>
                    <a:pt x="154095" y="28780"/>
                    <a:pt x="158857" y="26589"/>
                  </a:cubicBezTo>
                  <a:lnTo>
                    <a:pt x="161049" y="25541"/>
                  </a:lnTo>
                  <a:cubicBezTo>
                    <a:pt x="165811" y="23351"/>
                    <a:pt x="171526" y="25351"/>
                    <a:pt x="173716" y="30113"/>
                  </a:cubicBezTo>
                  <a:cubicBezTo>
                    <a:pt x="175908" y="34876"/>
                    <a:pt x="173907" y="40591"/>
                    <a:pt x="169145" y="42782"/>
                  </a:cubicBezTo>
                  <a:lnTo>
                    <a:pt x="167049" y="43734"/>
                  </a:lnTo>
                  <a:cubicBezTo>
                    <a:pt x="165716" y="44401"/>
                    <a:pt x="164382" y="44687"/>
                    <a:pt x="162953" y="44687"/>
                  </a:cubicBezTo>
                  <a:close/>
                  <a:moveTo>
                    <a:pt x="364407" y="32304"/>
                  </a:moveTo>
                  <a:cubicBezTo>
                    <a:pt x="363455" y="32304"/>
                    <a:pt x="362407" y="32114"/>
                    <a:pt x="361454" y="31828"/>
                  </a:cubicBezTo>
                  <a:lnTo>
                    <a:pt x="359264" y="31161"/>
                  </a:lnTo>
                  <a:cubicBezTo>
                    <a:pt x="354215" y="29542"/>
                    <a:pt x="351453" y="24208"/>
                    <a:pt x="353072" y="19160"/>
                  </a:cubicBezTo>
                  <a:cubicBezTo>
                    <a:pt x="354691" y="14111"/>
                    <a:pt x="360025" y="11349"/>
                    <a:pt x="365074" y="12968"/>
                  </a:cubicBezTo>
                  <a:lnTo>
                    <a:pt x="367360" y="13730"/>
                  </a:lnTo>
                  <a:cubicBezTo>
                    <a:pt x="372313" y="15350"/>
                    <a:pt x="375075" y="20779"/>
                    <a:pt x="373361" y="25732"/>
                  </a:cubicBezTo>
                  <a:cubicBezTo>
                    <a:pt x="372027" y="29732"/>
                    <a:pt x="368312" y="32304"/>
                    <a:pt x="364312" y="32304"/>
                  </a:cubicBezTo>
                  <a:close/>
                  <a:moveTo>
                    <a:pt x="227438" y="23541"/>
                  </a:moveTo>
                  <a:cubicBezTo>
                    <a:pt x="222961" y="23541"/>
                    <a:pt x="218960" y="20398"/>
                    <a:pt x="218103" y="15826"/>
                  </a:cubicBezTo>
                  <a:cubicBezTo>
                    <a:pt x="217056" y="10682"/>
                    <a:pt x="220484" y="5634"/>
                    <a:pt x="225628" y="4682"/>
                  </a:cubicBezTo>
                  <a:lnTo>
                    <a:pt x="228009" y="4205"/>
                  </a:lnTo>
                  <a:cubicBezTo>
                    <a:pt x="233152" y="3348"/>
                    <a:pt x="238105" y="6682"/>
                    <a:pt x="239058" y="11825"/>
                  </a:cubicBezTo>
                  <a:cubicBezTo>
                    <a:pt x="240011" y="16969"/>
                    <a:pt x="236582" y="21922"/>
                    <a:pt x="231438" y="22874"/>
                  </a:cubicBezTo>
                  <a:lnTo>
                    <a:pt x="229247" y="23255"/>
                  </a:lnTo>
                  <a:cubicBezTo>
                    <a:pt x="228676" y="23351"/>
                    <a:pt x="228009" y="23446"/>
                    <a:pt x="227438" y="23446"/>
                  </a:cubicBezTo>
                  <a:close/>
                  <a:moveTo>
                    <a:pt x="297637" y="19255"/>
                  </a:moveTo>
                  <a:cubicBezTo>
                    <a:pt x="297637" y="19255"/>
                    <a:pt x="297256" y="19255"/>
                    <a:pt x="296970" y="19255"/>
                  </a:cubicBezTo>
                  <a:lnTo>
                    <a:pt x="294684" y="19064"/>
                  </a:lnTo>
                  <a:cubicBezTo>
                    <a:pt x="289445" y="18779"/>
                    <a:pt x="285445" y="14207"/>
                    <a:pt x="285730" y="8968"/>
                  </a:cubicBezTo>
                  <a:cubicBezTo>
                    <a:pt x="286016" y="3729"/>
                    <a:pt x="290493" y="-271"/>
                    <a:pt x="295827" y="14"/>
                  </a:cubicBezTo>
                  <a:lnTo>
                    <a:pt x="298208" y="205"/>
                  </a:lnTo>
                  <a:cubicBezTo>
                    <a:pt x="303447" y="586"/>
                    <a:pt x="307448" y="5063"/>
                    <a:pt x="307066" y="10301"/>
                  </a:cubicBezTo>
                  <a:cubicBezTo>
                    <a:pt x="306686" y="15350"/>
                    <a:pt x="302590" y="19160"/>
                    <a:pt x="297541" y="191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40EB77B5-D770-C0B9-7628-4A88E4C3156D}"/>
                </a:ext>
              </a:extLst>
            </p:cNvPr>
            <p:cNvSpPr/>
            <p:nvPr/>
          </p:nvSpPr>
          <p:spPr>
            <a:xfrm rot="316174">
              <a:off x="11191535" y="1820921"/>
              <a:ext cx="494056" cy="494056"/>
            </a:xfrm>
            <a:custGeom>
              <a:avLst/>
              <a:gdLst>
                <a:gd name="connsiteX0" fmla="*/ 457200 w 457200"/>
                <a:gd name="connsiteY0" fmla="*/ 228600 h 457200"/>
                <a:gd name="connsiteX1" fmla="*/ 228600 w 457200"/>
                <a:gd name="connsiteY1" fmla="*/ 457200 h 457200"/>
                <a:gd name="connsiteX2" fmla="*/ 0 w 457200"/>
                <a:gd name="connsiteY2" fmla="*/ 228600 h 457200"/>
                <a:gd name="connsiteX3" fmla="*/ 228600 w 457200"/>
                <a:gd name="connsiteY3" fmla="*/ 0 h 457200"/>
                <a:gd name="connsiteX4" fmla="*/ 457200 w 457200"/>
                <a:gd name="connsiteY4" fmla="*/ 2286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200" h="457200">
                  <a:moveTo>
                    <a:pt x="457200" y="228600"/>
                  </a:moveTo>
                  <a:cubicBezTo>
                    <a:pt x="457200" y="354852"/>
                    <a:pt x="354852" y="457200"/>
                    <a:pt x="228600" y="457200"/>
                  </a:cubicBezTo>
                  <a:cubicBezTo>
                    <a:pt x="102348" y="457200"/>
                    <a:pt x="0" y="354852"/>
                    <a:pt x="0" y="228600"/>
                  </a:cubicBezTo>
                  <a:cubicBezTo>
                    <a:pt x="0" y="102348"/>
                    <a:pt x="102348" y="0"/>
                    <a:pt x="228600" y="0"/>
                  </a:cubicBezTo>
                  <a:cubicBezTo>
                    <a:pt x="354852" y="0"/>
                    <a:pt x="457200" y="102348"/>
                    <a:pt x="457200" y="2286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4679BBB6-9D29-2E0D-F6BC-EC7E36BF440F}"/>
                </a:ext>
              </a:extLst>
            </p:cNvPr>
            <p:cNvSpPr/>
            <p:nvPr/>
          </p:nvSpPr>
          <p:spPr>
            <a:xfrm rot="316174">
              <a:off x="11427157" y="3160236"/>
              <a:ext cx="535227" cy="530701"/>
            </a:xfrm>
            <a:custGeom>
              <a:avLst/>
              <a:gdLst>
                <a:gd name="connsiteX0" fmla="*/ 279463 w 495300"/>
                <a:gd name="connsiteY0" fmla="*/ 491113 h 491112"/>
                <a:gd name="connsiteX1" fmla="*/ 270034 w 495300"/>
                <a:gd name="connsiteY1" fmla="*/ 482826 h 491112"/>
                <a:gd name="connsiteX2" fmla="*/ 278225 w 495300"/>
                <a:gd name="connsiteY2" fmla="*/ 472158 h 491112"/>
                <a:gd name="connsiteX3" fmla="*/ 280416 w 495300"/>
                <a:gd name="connsiteY3" fmla="*/ 471872 h 491112"/>
                <a:gd name="connsiteX4" fmla="*/ 291179 w 495300"/>
                <a:gd name="connsiteY4" fmla="*/ 479969 h 491112"/>
                <a:gd name="connsiteX5" fmla="*/ 283083 w 495300"/>
                <a:gd name="connsiteY5" fmla="*/ 490732 h 491112"/>
                <a:gd name="connsiteX6" fmla="*/ 280606 w 495300"/>
                <a:gd name="connsiteY6" fmla="*/ 491113 h 491112"/>
                <a:gd name="connsiteX7" fmla="*/ 279368 w 495300"/>
                <a:gd name="connsiteY7" fmla="*/ 491113 h 491112"/>
                <a:gd name="connsiteX8" fmla="*/ 214026 w 495300"/>
                <a:gd name="connsiteY8" fmla="*/ 490827 h 491112"/>
                <a:gd name="connsiteX9" fmla="*/ 212693 w 495300"/>
                <a:gd name="connsiteY9" fmla="*/ 490732 h 491112"/>
                <a:gd name="connsiteX10" fmla="*/ 210407 w 495300"/>
                <a:gd name="connsiteY10" fmla="*/ 490351 h 491112"/>
                <a:gd name="connsiteX11" fmla="*/ 202311 w 495300"/>
                <a:gd name="connsiteY11" fmla="*/ 479588 h 491112"/>
                <a:gd name="connsiteX12" fmla="*/ 213074 w 495300"/>
                <a:gd name="connsiteY12" fmla="*/ 471492 h 491112"/>
                <a:gd name="connsiteX13" fmla="*/ 215360 w 495300"/>
                <a:gd name="connsiteY13" fmla="*/ 471872 h 491112"/>
                <a:gd name="connsiteX14" fmla="*/ 223456 w 495300"/>
                <a:gd name="connsiteY14" fmla="*/ 482636 h 491112"/>
                <a:gd name="connsiteX15" fmla="*/ 214026 w 495300"/>
                <a:gd name="connsiteY15" fmla="*/ 490827 h 491112"/>
                <a:gd name="connsiteX16" fmla="*/ 344614 w 495300"/>
                <a:gd name="connsiteY16" fmla="*/ 472634 h 491112"/>
                <a:gd name="connsiteX17" fmla="*/ 335852 w 495300"/>
                <a:gd name="connsiteY17" fmla="*/ 466920 h 491112"/>
                <a:gd name="connsiteX18" fmla="*/ 340709 w 495300"/>
                <a:gd name="connsiteY18" fmla="*/ 454346 h 491112"/>
                <a:gd name="connsiteX19" fmla="*/ 342709 w 495300"/>
                <a:gd name="connsiteY19" fmla="*/ 453489 h 491112"/>
                <a:gd name="connsiteX20" fmla="*/ 355378 w 495300"/>
                <a:gd name="connsiteY20" fmla="*/ 458157 h 491112"/>
                <a:gd name="connsiteX21" fmla="*/ 350711 w 495300"/>
                <a:gd name="connsiteY21" fmla="*/ 470825 h 491112"/>
                <a:gd name="connsiteX22" fmla="*/ 348424 w 495300"/>
                <a:gd name="connsiteY22" fmla="*/ 471872 h 491112"/>
                <a:gd name="connsiteX23" fmla="*/ 344614 w 495300"/>
                <a:gd name="connsiteY23" fmla="*/ 472634 h 491112"/>
                <a:gd name="connsiteX24" fmla="*/ 148971 w 495300"/>
                <a:gd name="connsiteY24" fmla="*/ 471872 h 491112"/>
                <a:gd name="connsiteX25" fmla="*/ 145066 w 495300"/>
                <a:gd name="connsiteY25" fmla="*/ 471015 h 491112"/>
                <a:gd name="connsiteX26" fmla="*/ 142780 w 495300"/>
                <a:gd name="connsiteY26" fmla="*/ 469967 h 491112"/>
                <a:gd name="connsiteX27" fmla="*/ 138208 w 495300"/>
                <a:gd name="connsiteY27" fmla="*/ 457299 h 491112"/>
                <a:gd name="connsiteX28" fmla="*/ 150876 w 495300"/>
                <a:gd name="connsiteY28" fmla="*/ 452727 h 491112"/>
                <a:gd name="connsiteX29" fmla="*/ 152876 w 495300"/>
                <a:gd name="connsiteY29" fmla="*/ 453680 h 491112"/>
                <a:gd name="connsiteX30" fmla="*/ 157639 w 495300"/>
                <a:gd name="connsiteY30" fmla="*/ 466253 h 491112"/>
                <a:gd name="connsiteX31" fmla="*/ 148971 w 495300"/>
                <a:gd name="connsiteY31" fmla="*/ 471872 h 491112"/>
                <a:gd name="connsiteX32" fmla="*/ 401860 w 495300"/>
                <a:gd name="connsiteY32" fmla="*/ 436535 h 491112"/>
                <a:gd name="connsiteX33" fmla="*/ 394525 w 495300"/>
                <a:gd name="connsiteY33" fmla="*/ 433106 h 491112"/>
                <a:gd name="connsiteX34" fmla="*/ 395668 w 495300"/>
                <a:gd name="connsiteY34" fmla="*/ 419675 h 491112"/>
                <a:gd name="connsiteX35" fmla="*/ 397287 w 495300"/>
                <a:gd name="connsiteY35" fmla="*/ 418247 h 491112"/>
                <a:gd name="connsiteX36" fmla="*/ 410718 w 495300"/>
                <a:gd name="connsiteY36" fmla="*/ 419199 h 491112"/>
                <a:gd name="connsiteX37" fmla="*/ 409765 w 495300"/>
                <a:gd name="connsiteY37" fmla="*/ 432629 h 491112"/>
                <a:gd name="connsiteX38" fmla="*/ 407861 w 495300"/>
                <a:gd name="connsiteY38" fmla="*/ 434249 h 491112"/>
                <a:gd name="connsiteX39" fmla="*/ 401764 w 495300"/>
                <a:gd name="connsiteY39" fmla="*/ 436535 h 491112"/>
                <a:gd name="connsiteX40" fmla="*/ 91916 w 495300"/>
                <a:gd name="connsiteY40" fmla="*/ 435296 h 491112"/>
                <a:gd name="connsiteX41" fmla="*/ 85725 w 495300"/>
                <a:gd name="connsiteY41" fmla="*/ 433011 h 491112"/>
                <a:gd name="connsiteX42" fmla="*/ 83820 w 495300"/>
                <a:gd name="connsiteY42" fmla="*/ 431391 h 491112"/>
                <a:gd name="connsiteX43" fmla="*/ 83058 w 495300"/>
                <a:gd name="connsiteY43" fmla="*/ 417961 h 491112"/>
                <a:gd name="connsiteX44" fmla="*/ 96488 w 495300"/>
                <a:gd name="connsiteY44" fmla="*/ 417199 h 491112"/>
                <a:gd name="connsiteX45" fmla="*/ 98107 w 495300"/>
                <a:gd name="connsiteY45" fmla="*/ 418628 h 491112"/>
                <a:gd name="connsiteX46" fmla="*/ 99155 w 495300"/>
                <a:gd name="connsiteY46" fmla="*/ 432058 h 491112"/>
                <a:gd name="connsiteX47" fmla="*/ 91916 w 495300"/>
                <a:gd name="connsiteY47" fmla="*/ 435392 h 491112"/>
                <a:gd name="connsiteX48" fmla="*/ 446722 w 495300"/>
                <a:gd name="connsiteY48" fmla="*/ 385767 h 491112"/>
                <a:gd name="connsiteX49" fmla="*/ 441484 w 495300"/>
                <a:gd name="connsiteY49" fmla="*/ 384242 h 491112"/>
                <a:gd name="connsiteX50" fmla="*/ 438721 w 495300"/>
                <a:gd name="connsiteY50" fmla="*/ 371098 h 491112"/>
                <a:gd name="connsiteX51" fmla="*/ 439960 w 495300"/>
                <a:gd name="connsiteY51" fmla="*/ 369193 h 491112"/>
                <a:gd name="connsiteX52" fmla="*/ 453104 w 495300"/>
                <a:gd name="connsiteY52" fmla="*/ 366336 h 491112"/>
                <a:gd name="connsiteX53" fmla="*/ 455866 w 495300"/>
                <a:gd name="connsiteY53" fmla="*/ 379480 h 491112"/>
                <a:gd name="connsiteX54" fmla="*/ 454533 w 495300"/>
                <a:gd name="connsiteY54" fmla="*/ 381480 h 491112"/>
                <a:gd name="connsiteX55" fmla="*/ 446532 w 495300"/>
                <a:gd name="connsiteY55" fmla="*/ 385767 h 491112"/>
                <a:gd name="connsiteX56" fmla="*/ 47530 w 495300"/>
                <a:gd name="connsiteY56" fmla="*/ 384242 h 491112"/>
                <a:gd name="connsiteX57" fmla="*/ 39528 w 495300"/>
                <a:gd name="connsiteY57" fmla="*/ 379861 h 491112"/>
                <a:gd name="connsiteX58" fmla="*/ 38195 w 495300"/>
                <a:gd name="connsiteY58" fmla="*/ 377861 h 491112"/>
                <a:gd name="connsiteX59" fmla="*/ 41148 w 495300"/>
                <a:gd name="connsiteY59" fmla="*/ 364716 h 491112"/>
                <a:gd name="connsiteX60" fmla="*/ 54292 w 495300"/>
                <a:gd name="connsiteY60" fmla="*/ 367669 h 491112"/>
                <a:gd name="connsiteX61" fmla="*/ 55530 w 495300"/>
                <a:gd name="connsiteY61" fmla="*/ 369574 h 491112"/>
                <a:gd name="connsiteX62" fmla="*/ 52673 w 495300"/>
                <a:gd name="connsiteY62" fmla="*/ 382718 h 491112"/>
                <a:gd name="connsiteX63" fmla="*/ 47530 w 495300"/>
                <a:gd name="connsiteY63" fmla="*/ 384242 h 491112"/>
                <a:gd name="connsiteX64" fmla="*/ 475583 w 495300"/>
                <a:gd name="connsiteY64" fmla="*/ 324425 h 491112"/>
                <a:gd name="connsiteX65" fmla="*/ 472821 w 495300"/>
                <a:gd name="connsiteY65" fmla="*/ 324045 h 491112"/>
                <a:gd name="connsiteX66" fmla="*/ 466439 w 495300"/>
                <a:gd name="connsiteY66" fmla="*/ 312138 h 491112"/>
                <a:gd name="connsiteX67" fmla="*/ 467106 w 495300"/>
                <a:gd name="connsiteY67" fmla="*/ 309947 h 491112"/>
                <a:gd name="connsiteX68" fmla="*/ 478917 w 495300"/>
                <a:gd name="connsiteY68" fmla="*/ 303566 h 491112"/>
                <a:gd name="connsiteX69" fmla="*/ 485298 w 495300"/>
                <a:gd name="connsiteY69" fmla="*/ 315377 h 491112"/>
                <a:gd name="connsiteX70" fmla="*/ 484632 w 495300"/>
                <a:gd name="connsiteY70" fmla="*/ 317663 h 491112"/>
                <a:gd name="connsiteX71" fmla="*/ 475488 w 495300"/>
                <a:gd name="connsiteY71" fmla="*/ 324425 h 491112"/>
                <a:gd name="connsiteX72" fmla="*/ 19240 w 495300"/>
                <a:gd name="connsiteY72" fmla="*/ 322616 h 491112"/>
                <a:gd name="connsiteX73" fmla="*/ 10096 w 495300"/>
                <a:gd name="connsiteY73" fmla="*/ 315758 h 491112"/>
                <a:gd name="connsiteX74" fmla="*/ 9525 w 495300"/>
                <a:gd name="connsiteY74" fmla="*/ 313948 h 491112"/>
                <a:gd name="connsiteX75" fmla="*/ 16002 w 495300"/>
                <a:gd name="connsiteY75" fmla="*/ 301946 h 491112"/>
                <a:gd name="connsiteX76" fmla="*/ 27717 w 495300"/>
                <a:gd name="connsiteY76" fmla="*/ 308233 h 491112"/>
                <a:gd name="connsiteX77" fmla="*/ 28384 w 495300"/>
                <a:gd name="connsiteY77" fmla="*/ 310424 h 491112"/>
                <a:gd name="connsiteX78" fmla="*/ 22003 w 495300"/>
                <a:gd name="connsiteY78" fmla="*/ 322235 h 491112"/>
                <a:gd name="connsiteX79" fmla="*/ 19335 w 495300"/>
                <a:gd name="connsiteY79" fmla="*/ 322616 h 491112"/>
                <a:gd name="connsiteX80" fmla="*/ 485775 w 495300"/>
                <a:gd name="connsiteY80" fmla="*/ 257465 h 491112"/>
                <a:gd name="connsiteX81" fmla="*/ 485680 w 495300"/>
                <a:gd name="connsiteY81" fmla="*/ 257465 h 491112"/>
                <a:gd name="connsiteX82" fmla="*/ 476250 w 495300"/>
                <a:gd name="connsiteY82" fmla="*/ 247845 h 491112"/>
                <a:gd name="connsiteX83" fmla="*/ 476250 w 495300"/>
                <a:gd name="connsiteY83" fmla="*/ 244606 h 491112"/>
                <a:gd name="connsiteX84" fmla="*/ 485775 w 495300"/>
                <a:gd name="connsiteY84" fmla="*/ 235081 h 491112"/>
                <a:gd name="connsiteX85" fmla="*/ 495300 w 495300"/>
                <a:gd name="connsiteY85" fmla="*/ 244606 h 491112"/>
                <a:gd name="connsiteX86" fmla="*/ 495300 w 495300"/>
                <a:gd name="connsiteY86" fmla="*/ 248035 h 491112"/>
                <a:gd name="connsiteX87" fmla="*/ 485775 w 495300"/>
                <a:gd name="connsiteY87" fmla="*/ 257465 h 491112"/>
                <a:gd name="connsiteX88" fmla="*/ 9525 w 495300"/>
                <a:gd name="connsiteY88" fmla="*/ 255369 h 491112"/>
                <a:gd name="connsiteX89" fmla="*/ 0 w 495300"/>
                <a:gd name="connsiteY89" fmla="*/ 246130 h 491112"/>
                <a:gd name="connsiteX90" fmla="*/ 0 w 495300"/>
                <a:gd name="connsiteY90" fmla="*/ 243654 h 491112"/>
                <a:gd name="connsiteX91" fmla="*/ 9525 w 495300"/>
                <a:gd name="connsiteY91" fmla="*/ 234319 h 491112"/>
                <a:gd name="connsiteX92" fmla="*/ 9715 w 495300"/>
                <a:gd name="connsiteY92" fmla="*/ 234319 h 491112"/>
                <a:gd name="connsiteX93" fmla="*/ 19050 w 495300"/>
                <a:gd name="connsiteY93" fmla="*/ 244034 h 491112"/>
                <a:gd name="connsiteX94" fmla="*/ 19050 w 495300"/>
                <a:gd name="connsiteY94" fmla="*/ 245749 h 491112"/>
                <a:gd name="connsiteX95" fmla="*/ 9525 w 495300"/>
                <a:gd name="connsiteY95" fmla="*/ 255560 h 491112"/>
                <a:gd name="connsiteX96" fmla="*/ 476535 w 495300"/>
                <a:gd name="connsiteY96" fmla="*/ 189361 h 491112"/>
                <a:gd name="connsiteX97" fmla="*/ 467392 w 495300"/>
                <a:gd name="connsiteY97" fmla="*/ 182408 h 491112"/>
                <a:gd name="connsiteX98" fmla="*/ 466725 w 495300"/>
                <a:gd name="connsiteY98" fmla="*/ 180312 h 491112"/>
                <a:gd name="connsiteX99" fmla="*/ 473107 w 495300"/>
                <a:gd name="connsiteY99" fmla="*/ 168406 h 491112"/>
                <a:gd name="connsiteX100" fmla="*/ 485013 w 495300"/>
                <a:gd name="connsiteY100" fmla="*/ 174788 h 491112"/>
                <a:gd name="connsiteX101" fmla="*/ 485680 w 495300"/>
                <a:gd name="connsiteY101" fmla="*/ 177169 h 491112"/>
                <a:gd name="connsiteX102" fmla="*/ 479107 w 495300"/>
                <a:gd name="connsiteY102" fmla="*/ 188980 h 491112"/>
                <a:gd name="connsiteX103" fmla="*/ 476535 w 495300"/>
                <a:gd name="connsiteY103" fmla="*/ 189361 h 491112"/>
                <a:gd name="connsiteX104" fmla="*/ 18955 w 495300"/>
                <a:gd name="connsiteY104" fmla="*/ 188504 h 491112"/>
                <a:gd name="connsiteX105" fmla="*/ 16383 w 495300"/>
                <a:gd name="connsiteY105" fmla="*/ 188123 h 491112"/>
                <a:gd name="connsiteX106" fmla="*/ 9810 w 495300"/>
                <a:gd name="connsiteY106" fmla="*/ 176312 h 491112"/>
                <a:gd name="connsiteX107" fmla="*/ 10573 w 495300"/>
                <a:gd name="connsiteY107" fmla="*/ 173835 h 491112"/>
                <a:gd name="connsiteX108" fmla="*/ 22479 w 495300"/>
                <a:gd name="connsiteY108" fmla="*/ 167549 h 491112"/>
                <a:gd name="connsiteX109" fmla="*/ 28765 w 495300"/>
                <a:gd name="connsiteY109" fmla="*/ 179455 h 491112"/>
                <a:gd name="connsiteX110" fmla="*/ 28194 w 495300"/>
                <a:gd name="connsiteY110" fmla="*/ 181455 h 491112"/>
                <a:gd name="connsiteX111" fmla="*/ 19050 w 495300"/>
                <a:gd name="connsiteY111" fmla="*/ 188408 h 491112"/>
                <a:gd name="connsiteX112" fmla="*/ 448818 w 495300"/>
                <a:gd name="connsiteY112" fmla="*/ 127544 h 491112"/>
                <a:gd name="connsiteX113" fmla="*/ 440721 w 495300"/>
                <a:gd name="connsiteY113" fmla="*/ 123162 h 491112"/>
                <a:gd name="connsiteX114" fmla="*/ 439578 w 495300"/>
                <a:gd name="connsiteY114" fmla="*/ 121353 h 491112"/>
                <a:gd name="connsiteX115" fmla="*/ 442341 w 495300"/>
                <a:gd name="connsiteY115" fmla="*/ 108208 h 491112"/>
                <a:gd name="connsiteX116" fmla="*/ 455486 w 495300"/>
                <a:gd name="connsiteY116" fmla="*/ 110970 h 491112"/>
                <a:gd name="connsiteX117" fmla="*/ 456819 w 495300"/>
                <a:gd name="connsiteY117" fmla="*/ 113066 h 491112"/>
                <a:gd name="connsiteX118" fmla="*/ 453866 w 495300"/>
                <a:gd name="connsiteY118" fmla="*/ 126210 h 491112"/>
                <a:gd name="connsiteX119" fmla="*/ 448818 w 495300"/>
                <a:gd name="connsiteY119" fmla="*/ 127734 h 491112"/>
                <a:gd name="connsiteX120" fmla="*/ 46958 w 495300"/>
                <a:gd name="connsiteY120" fmla="*/ 126782 h 491112"/>
                <a:gd name="connsiteX121" fmla="*/ 41910 w 495300"/>
                <a:gd name="connsiteY121" fmla="*/ 125258 h 491112"/>
                <a:gd name="connsiteX122" fmla="*/ 38957 w 495300"/>
                <a:gd name="connsiteY122" fmla="*/ 112113 h 491112"/>
                <a:gd name="connsiteX123" fmla="*/ 40291 w 495300"/>
                <a:gd name="connsiteY123" fmla="*/ 110018 h 491112"/>
                <a:gd name="connsiteX124" fmla="*/ 53435 w 495300"/>
                <a:gd name="connsiteY124" fmla="*/ 107255 h 491112"/>
                <a:gd name="connsiteX125" fmla="*/ 56197 w 495300"/>
                <a:gd name="connsiteY125" fmla="*/ 120400 h 491112"/>
                <a:gd name="connsiteX126" fmla="*/ 55054 w 495300"/>
                <a:gd name="connsiteY126" fmla="*/ 122210 h 491112"/>
                <a:gd name="connsiteX127" fmla="*/ 46958 w 495300"/>
                <a:gd name="connsiteY127" fmla="*/ 126591 h 491112"/>
                <a:gd name="connsiteX128" fmla="*/ 404717 w 495300"/>
                <a:gd name="connsiteY128" fmla="*/ 76109 h 491112"/>
                <a:gd name="connsiteX129" fmla="*/ 398430 w 495300"/>
                <a:gd name="connsiteY129" fmla="*/ 73728 h 491112"/>
                <a:gd name="connsiteX130" fmla="*/ 396716 w 495300"/>
                <a:gd name="connsiteY130" fmla="*/ 72204 h 491112"/>
                <a:gd name="connsiteX131" fmla="*/ 395668 w 495300"/>
                <a:gd name="connsiteY131" fmla="*/ 58773 h 491112"/>
                <a:gd name="connsiteX132" fmla="*/ 409098 w 495300"/>
                <a:gd name="connsiteY132" fmla="*/ 57725 h 491112"/>
                <a:gd name="connsiteX133" fmla="*/ 410908 w 495300"/>
                <a:gd name="connsiteY133" fmla="*/ 59345 h 491112"/>
                <a:gd name="connsiteX134" fmla="*/ 411861 w 495300"/>
                <a:gd name="connsiteY134" fmla="*/ 72775 h 491112"/>
                <a:gd name="connsiteX135" fmla="*/ 404717 w 495300"/>
                <a:gd name="connsiteY135" fmla="*/ 76013 h 491112"/>
                <a:gd name="connsiteX136" fmla="*/ 91249 w 495300"/>
                <a:gd name="connsiteY136" fmla="*/ 75537 h 491112"/>
                <a:gd name="connsiteX137" fmla="*/ 84105 w 495300"/>
                <a:gd name="connsiteY137" fmla="*/ 72299 h 491112"/>
                <a:gd name="connsiteX138" fmla="*/ 85058 w 495300"/>
                <a:gd name="connsiteY138" fmla="*/ 58868 h 491112"/>
                <a:gd name="connsiteX139" fmla="*/ 86868 w 495300"/>
                <a:gd name="connsiteY139" fmla="*/ 57249 h 491112"/>
                <a:gd name="connsiteX140" fmla="*/ 100298 w 495300"/>
                <a:gd name="connsiteY140" fmla="*/ 58297 h 491112"/>
                <a:gd name="connsiteX141" fmla="*/ 99250 w 495300"/>
                <a:gd name="connsiteY141" fmla="*/ 71727 h 491112"/>
                <a:gd name="connsiteX142" fmla="*/ 97536 w 495300"/>
                <a:gd name="connsiteY142" fmla="*/ 73251 h 491112"/>
                <a:gd name="connsiteX143" fmla="*/ 91249 w 495300"/>
                <a:gd name="connsiteY143" fmla="*/ 75633 h 491112"/>
                <a:gd name="connsiteX144" fmla="*/ 347948 w 495300"/>
                <a:gd name="connsiteY144" fmla="*/ 39057 h 491112"/>
                <a:gd name="connsiteX145" fmla="*/ 343948 w 495300"/>
                <a:gd name="connsiteY145" fmla="*/ 38199 h 491112"/>
                <a:gd name="connsiteX146" fmla="*/ 341852 w 495300"/>
                <a:gd name="connsiteY146" fmla="*/ 37247 h 491112"/>
                <a:gd name="connsiteX147" fmla="*/ 337089 w 495300"/>
                <a:gd name="connsiteY147" fmla="*/ 24674 h 491112"/>
                <a:gd name="connsiteX148" fmla="*/ 349662 w 495300"/>
                <a:gd name="connsiteY148" fmla="*/ 19911 h 491112"/>
                <a:gd name="connsiteX149" fmla="*/ 351854 w 495300"/>
                <a:gd name="connsiteY149" fmla="*/ 20864 h 491112"/>
                <a:gd name="connsiteX150" fmla="*/ 356521 w 495300"/>
                <a:gd name="connsiteY150" fmla="*/ 33532 h 491112"/>
                <a:gd name="connsiteX151" fmla="*/ 347853 w 495300"/>
                <a:gd name="connsiteY151" fmla="*/ 39057 h 491112"/>
                <a:gd name="connsiteX152" fmla="*/ 148114 w 495300"/>
                <a:gd name="connsiteY152" fmla="*/ 38675 h 491112"/>
                <a:gd name="connsiteX153" fmla="*/ 139446 w 495300"/>
                <a:gd name="connsiteY153" fmla="*/ 33151 h 491112"/>
                <a:gd name="connsiteX154" fmla="*/ 144113 w 495300"/>
                <a:gd name="connsiteY154" fmla="*/ 20483 h 491112"/>
                <a:gd name="connsiteX155" fmla="*/ 146399 w 495300"/>
                <a:gd name="connsiteY155" fmla="*/ 19435 h 491112"/>
                <a:gd name="connsiteX156" fmla="*/ 158972 w 495300"/>
                <a:gd name="connsiteY156" fmla="*/ 24293 h 491112"/>
                <a:gd name="connsiteX157" fmla="*/ 154114 w 495300"/>
                <a:gd name="connsiteY157" fmla="*/ 36866 h 491112"/>
                <a:gd name="connsiteX158" fmla="*/ 152114 w 495300"/>
                <a:gd name="connsiteY158" fmla="*/ 37723 h 491112"/>
                <a:gd name="connsiteX159" fmla="*/ 148114 w 495300"/>
                <a:gd name="connsiteY159" fmla="*/ 38580 h 491112"/>
                <a:gd name="connsiteX160" fmla="*/ 283083 w 495300"/>
                <a:gd name="connsiteY160" fmla="*/ 19530 h 491112"/>
                <a:gd name="connsiteX161" fmla="*/ 281749 w 495300"/>
                <a:gd name="connsiteY161" fmla="*/ 19435 h 491112"/>
                <a:gd name="connsiteX162" fmla="*/ 279463 w 495300"/>
                <a:gd name="connsiteY162" fmla="*/ 19054 h 491112"/>
                <a:gd name="connsiteX163" fmla="*/ 271367 w 495300"/>
                <a:gd name="connsiteY163" fmla="*/ 8291 h 491112"/>
                <a:gd name="connsiteX164" fmla="*/ 282130 w 495300"/>
                <a:gd name="connsiteY164" fmla="*/ 195 h 491112"/>
                <a:gd name="connsiteX165" fmla="*/ 284416 w 495300"/>
                <a:gd name="connsiteY165" fmla="*/ 575 h 491112"/>
                <a:gd name="connsiteX166" fmla="*/ 292512 w 495300"/>
                <a:gd name="connsiteY166" fmla="*/ 11339 h 491112"/>
                <a:gd name="connsiteX167" fmla="*/ 283083 w 495300"/>
                <a:gd name="connsiteY167" fmla="*/ 19530 h 491112"/>
                <a:gd name="connsiteX168" fmla="*/ 212979 w 495300"/>
                <a:gd name="connsiteY168" fmla="*/ 19435 h 491112"/>
                <a:gd name="connsiteX169" fmla="*/ 203549 w 495300"/>
                <a:gd name="connsiteY169" fmla="*/ 11243 h 491112"/>
                <a:gd name="connsiteX170" fmla="*/ 211645 w 495300"/>
                <a:gd name="connsiteY170" fmla="*/ 480 h 491112"/>
                <a:gd name="connsiteX171" fmla="*/ 214122 w 495300"/>
                <a:gd name="connsiteY171" fmla="*/ 99 h 491112"/>
                <a:gd name="connsiteX172" fmla="*/ 224790 w 495300"/>
                <a:gd name="connsiteY172" fmla="*/ 8291 h 491112"/>
                <a:gd name="connsiteX173" fmla="*/ 216598 w 495300"/>
                <a:gd name="connsiteY173" fmla="*/ 18959 h 491112"/>
                <a:gd name="connsiteX174" fmla="*/ 214408 w 495300"/>
                <a:gd name="connsiteY174" fmla="*/ 19245 h 491112"/>
                <a:gd name="connsiteX175" fmla="*/ 213074 w 495300"/>
                <a:gd name="connsiteY175" fmla="*/ 19340 h 491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495300" h="491112">
                  <a:moveTo>
                    <a:pt x="279463" y="491113"/>
                  </a:moveTo>
                  <a:cubicBezTo>
                    <a:pt x="274701" y="491113"/>
                    <a:pt x="270700" y="487589"/>
                    <a:pt x="270034" y="482826"/>
                  </a:cubicBezTo>
                  <a:cubicBezTo>
                    <a:pt x="269367" y="477587"/>
                    <a:pt x="272986" y="472825"/>
                    <a:pt x="278225" y="472158"/>
                  </a:cubicBezTo>
                  <a:lnTo>
                    <a:pt x="280416" y="471872"/>
                  </a:lnTo>
                  <a:cubicBezTo>
                    <a:pt x="285750" y="471015"/>
                    <a:pt x="290417" y="474730"/>
                    <a:pt x="291179" y="479969"/>
                  </a:cubicBezTo>
                  <a:cubicBezTo>
                    <a:pt x="291941" y="485208"/>
                    <a:pt x="288321" y="489970"/>
                    <a:pt x="283083" y="490732"/>
                  </a:cubicBezTo>
                  <a:lnTo>
                    <a:pt x="280606" y="491113"/>
                  </a:lnTo>
                  <a:cubicBezTo>
                    <a:pt x="280606" y="491113"/>
                    <a:pt x="279749" y="491113"/>
                    <a:pt x="279368" y="491113"/>
                  </a:cubicBezTo>
                  <a:close/>
                  <a:moveTo>
                    <a:pt x="214026" y="490827"/>
                  </a:moveTo>
                  <a:cubicBezTo>
                    <a:pt x="214026" y="490827"/>
                    <a:pt x="213074" y="490827"/>
                    <a:pt x="212693" y="490732"/>
                  </a:cubicBezTo>
                  <a:lnTo>
                    <a:pt x="210407" y="490351"/>
                  </a:lnTo>
                  <a:cubicBezTo>
                    <a:pt x="205168" y="489589"/>
                    <a:pt x="201644" y="484731"/>
                    <a:pt x="202311" y="479588"/>
                  </a:cubicBezTo>
                  <a:cubicBezTo>
                    <a:pt x="203073" y="474349"/>
                    <a:pt x="207836" y="470729"/>
                    <a:pt x="213074" y="471492"/>
                  </a:cubicBezTo>
                  <a:lnTo>
                    <a:pt x="215360" y="471872"/>
                  </a:lnTo>
                  <a:cubicBezTo>
                    <a:pt x="220599" y="472634"/>
                    <a:pt x="224123" y="477492"/>
                    <a:pt x="223456" y="482636"/>
                  </a:cubicBezTo>
                  <a:cubicBezTo>
                    <a:pt x="222789" y="487398"/>
                    <a:pt x="218694" y="490827"/>
                    <a:pt x="214026" y="490827"/>
                  </a:cubicBezTo>
                  <a:close/>
                  <a:moveTo>
                    <a:pt x="344614" y="472634"/>
                  </a:moveTo>
                  <a:cubicBezTo>
                    <a:pt x="340995" y="472634"/>
                    <a:pt x="337471" y="470539"/>
                    <a:pt x="335852" y="466920"/>
                  </a:cubicBezTo>
                  <a:cubicBezTo>
                    <a:pt x="333756" y="462062"/>
                    <a:pt x="335852" y="456442"/>
                    <a:pt x="340709" y="454346"/>
                  </a:cubicBezTo>
                  <a:lnTo>
                    <a:pt x="342709" y="453489"/>
                  </a:lnTo>
                  <a:cubicBezTo>
                    <a:pt x="347472" y="451299"/>
                    <a:pt x="353092" y="453394"/>
                    <a:pt x="355378" y="458157"/>
                  </a:cubicBezTo>
                  <a:cubicBezTo>
                    <a:pt x="357568" y="462919"/>
                    <a:pt x="355473" y="468634"/>
                    <a:pt x="350711" y="470825"/>
                  </a:cubicBezTo>
                  <a:lnTo>
                    <a:pt x="348424" y="471872"/>
                  </a:lnTo>
                  <a:cubicBezTo>
                    <a:pt x="347186" y="472444"/>
                    <a:pt x="345853" y="472634"/>
                    <a:pt x="344614" y="472634"/>
                  </a:cubicBezTo>
                  <a:close/>
                  <a:moveTo>
                    <a:pt x="148971" y="471872"/>
                  </a:moveTo>
                  <a:cubicBezTo>
                    <a:pt x="147638" y="471872"/>
                    <a:pt x="146304" y="471587"/>
                    <a:pt x="145066" y="471015"/>
                  </a:cubicBezTo>
                  <a:lnTo>
                    <a:pt x="142780" y="469967"/>
                  </a:lnTo>
                  <a:cubicBezTo>
                    <a:pt x="138017" y="467682"/>
                    <a:pt x="136017" y="462062"/>
                    <a:pt x="138208" y="457299"/>
                  </a:cubicBezTo>
                  <a:cubicBezTo>
                    <a:pt x="140494" y="452537"/>
                    <a:pt x="146113" y="450537"/>
                    <a:pt x="150876" y="452727"/>
                  </a:cubicBezTo>
                  <a:lnTo>
                    <a:pt x="152876" y="453680"/>
                  </a:lnTo>
                  <a:cubicBezTo>
                    <a:pt x="157639" y="455871"/>
                    <a:pt x="159734" y="461490"/>
                    <a:pt x="157639" y="466253"/>
                  </a:cubicBezTo>
                  <a:cubicBezTo>
                    <a:pt x="156020" y="469777"/>
                    <a:pt x="152590" y="471872"/>
                    <a:pt x="148971" y="471872"/>
                  </a:cubicBezTo>
                  <a:close/>
                  <a:moveTo>
                    <a:pt x="401860" y="436535"/>
                  </a:moveTo>
                  <a:cubicBezTo>
                    <a:pt x="399097" y="436535"/>
                    <a:pt x="396430" y="435392"/>
                    <a:pt x="394525" y="433106"/>
                  </a:cubicBezTo>
                  <a:cubicBezTo>
                    <a:pt x="391096" y="429105"/>
                    <a:pt x="391668" y="423104"/>
                    <a:pt x="395668" y="419675"/>
                  </a:cubicBezTo>
                  <a:lnTo>
                    <a:pt x="397287" y="418247"/>
                  </a:lnTo>
                  <a:cubicBezTo>
                    <a:pt x="401193" y="414818"/>
                    <a:pt x="407289" y="415199"/>
                    <a:pt x="410718" y="419199"/>
                  </a:cubicBezTo>
                  <a:cubicBezTo>
                    <a:pt x="414147" y="423200"/>
                    <a:pt x="413766" y="429200"/>
                    <a:pt x="409765" y="432629"/>
                  </a:cubicBezTo>
                  <a:lnTo>
                    <a:pt x="407861" y="434249"/>
                  </a:lnTo>
                  <a:cubicBezTo>
                    <a:pt x="406051" y="435773"/>
                    <a:pt x="403860" y="436535"/>
                    <a:pt x="401764" y="436535"/>
                  </a:cubicBezTo>
                  <a:close/>
                  <a:moveTo>
                    <a:pt x="91916" y="435296"/>
                  </a:moveTo>
                  <a:cubicBezTo>
                    <a:pt x="89725" y="435296"/>
                    <a:pt x="87535" y="434534"/>
                    <a:pt x="85725" y="433011"/>
                  </a:cubicBezTo>
                  <a:lnTo>
                    <a:pt x="83820" y="431391"/>
                  </a:lnTo>
                  <a:cubicBezTo>
                    <a:pt x="79914" y="427867"/>
                    <a:pt x="79534" y="421866"/>
                    <a:pt x="83058" y="417961"/>
                  </a:cubicBezTo>
                  <a:cubicBezTo>
                    <a:pt x="86582" y="414056"/>
                    <a:pt x="92583" y="413675"/>
                    <a:pt x="96488" y="417199"/>
                  </a:cubicBezTo>
                  <a:lnTo>
                    <a:pt x="98107" y="418628"/>
                  </a:lnTo>
                  <a:cubicBezTo>
                    <a:pt x="102108" y="422057"/>
                    <a:pt x="102584" y="428058"/>
                    <a:pt x="99155" y="432058"/>
                  </a:cubicBezTo>
                  <a:cubicBezTo>
                    <a:pt x="97250" y="434249"/>
                    <a:pt x="94583" y="435392"/>
                    <a:pt x="91916" y="435392"/>
                  </a:cubicBezTo>
                  <a:close/>
                  <a:moveTo>
                    <a:pt x="446722" y="385767"/>
                  </a:moveTo>
                  <a:cubicBezTo>
                    <a:pt x="444912" y="385767"/>
                    <a:pt x="443103" y="385290"/>
                    <a:pt x="441484" y="384242"/>
                  </a:cubicBezTo>
                  <a:cubicBezTo>
                    <a:pt x="437102" y="381385"/>
                    <a:pt x="435864" y="375479"/>
                    <a:pt x="438721" y="371098"/>
                  </a:cubicBezTo>
                  <a:lnTo>
                    <a:pt x="439960" y="369193"/>
                  </a:lnTo>
                  <a:cubicBezTo>
                    <a:pt x="442817" y="364812"/>
                    <a:pt x="448723" y="363478"/>
                    <a:pt x="453104" y="366336"/>
                  </a:cubicBezTo>
                  <a:cubicBezTo>
                    <a:pt x="457485" y="369193"/>
                    <a:pt x="458819" y="375099"/>
                    <a:pt x="455866" y="379480"/>
                  </a:cubicBezTo>
                  <a:lnTo>
                    <a:pt x="454533" y="381480"/>
                  </a:lnTo>
                  <a:cubicBezTo>
                    <a:pt x="452723" y="384242"/>
                    <a:pt x="449675" y="385767"/>
                    <a:pt x="446532" y="385767"/>
                  </a:cubicBezTo>
                  <a:close/>
                  <a:moveTo>
                    <a:pt x="47530" y="384242"/>
                  </a:moveTo>
                  <a:cubicBezTo>
                    <a:pt x="44386" y="384242"/>
                    <a:pt x="41338" y="382718"/>
                    <a:pt x="39528" y="379861"/>
                  </a:cubicBezTo>
                  <a:lnTo>
                    <a:pt x="38195" y="377861"/>
                  </a:lnTo>
                  <a:cubicBezTo>
                    <a:pt x="35337" y="373384"/>
                    <a:pt x="36671" y="367574"/>
                    <a:pt x="41148" y="364716"/>
                  </a:cubicBezTo>
                  <a:cubicBezTo>
                    <a:pt x="45625" y="361859"/>
                    <a:pt x="51435" y="363192"/>
                    <a:pt x="54292" y="367669"/>
                  </a:cubicBezTo>
                  <a:lnTo>
                    <a:pt x="55530" y="369574"/>
                  </a:lnTo>
                  <a:cubicBezTo>
                    <a:pt x="58388" y="373955"/>
                    <a:pt x="57055" y="379861"/>
                    <a:pt x="52673" y="382718"/>
                  </a:cubicBezTo>
                  <a:cubicBezTo>
                    <a:pt x="51054" y="383766"/>
                    <a:pt x="49339" y="384242"/>
                    <a:pt x="47530" y="384242"/>
                  </a:cubicBezTo>
                  <a:close/>
                  <a:moveTo>
                    <a:pt x="475583" y="324425"/>
                  </a:moveTo>
                  <a:cubicBezTo>
                    <a:pt x="474726" y="324425"/>
                    <a:pt x="473773" y="324330"/>
                    <a:pt x="472821" y="324045"/>
                  </a:cubicBezTo>
                  <a:cubicBezTo>
                    <a:pt x="467773" y="322521"/>
                    <a:pt x="464915" y="317187"/>
                    <a:pt x="466439" y="312138"/>
                  </a:cubicBezTo>
                  <a:lnTo>
                    <a:pt x="467106" y="309947"/>
                  </a:lnTo>
                  <a:cubicBezTo>
                    <a:pt x="468630" y="304899"/>
                    <a:pt x="473869" y="302042"/>
                    <a:pt x="478917" y="303566"/>
                  </a:cubicBezTo>
                  <a:cubicBezTo>
                    <a:pt x="483965" y="305090"/>
                    <a:pt x="486823" y="310329"/>
                    <a:pt x="485298" y="315377"/>
                  </a:cubicBezTo>
                  <a:lnTo>
                    <a:pt x="484632" y="317663"/>
                  </a:lnTo>
                  <a:cubicBezTo>
                    <a:pt x="483394" y="321758"/>
                    <a:pt x="479584" y="324425"/>
                    <a:pt x="475488" y="324425"/>
                  </a:cubicBezTo>
                  <a:close/>
                  <a:moveTo>
                    <a:pt x="19240" y="322616"/>
                  </a:moveTo>
                  <a:cubicBezTo>
                    <a:pt x="15144" y="322616"/>
                    <a:pt x="11335" y="319949"/>
                    <a:pt x="10096" y="315758"/>
                  </a:cubicBezTo>
                  <a:lnTo>
                    <a:pt x="9525" y="313948"/>
                  </a:lnTo>
                  <a:cubicBezTo>
                    <a:pt x="8096" y="308900"/>
                    <a:pt x="10953" y="303375"/>
                    <a:pt x="16002" y="301946"/>
                  </a:cubicBezTo>
                  <a:cubicBezTo>
                    <a:pt x="21050" y="300518"/>
                    <a:pt x="26289" y="303185"/>
                    <a:pt x="27717" y="308233"/>
                  </a:cubicBezTo>
                  <a:lnTo>
                    <a:pt x="28384" y="310424"/>
                  </a:lnTo>
                  <a:cubicBezTo>
                    <a:pt x="29908" y="315472"/>
                    <a:pt x="26955" y="320806"/>
                    <a:pt x="22003" y="322235"/>
                  </a:cubicBezTo>
                  <a:cubicBezTo>
                    <a:pt x="21145" y="322521"/>
                    <a:pt x="20193" y="322616"/>
                    <a:pt x="19335" y="322616"/>
                  </a:cubicBezTo>
                  <a:close/>
                  <a:moveTo>
                    <a:pt x="485775" y="257465"/>
                  </a:moveTo>
                  <a:lnTo>
                    <a:pt x="485680" y="257465"/>
                  </a:lnTo>
                  <a:cubicBezTo>
                    <a:pt x="480441" y="257465"/>
                    <a:pt x="476155" y="253083"/>
                    <a:pt x="476250" y="247845"/>
                  </a:cubicBezTo>
                  <a:lnTo>
                    <a:pt x="476250" y="244606"/>
                  </a:lnTo>
                  <a:cubicBezTo>
                    <a:pt x="476250" y="239367"/>
                    <a:pt x="480536" y="235081"/>
                    <a:pt x="485775" y="235081"/>
                  </a:cubicBezTo>
                  <a:cubicBezTo>
                    <a:pt x="491014" y="235081"/>
                    <a:pt x="495300" y="239367"/>
                    <a:pt x="495300" y="244606"/>
                  </a:cubicBezTo>
                  <a:lnTo>
                    <a:pt x="495300" y="248035"/>
                  </a:lnTo>
                  <a:cubicBezTo>
                    <a:pt x="495300" y="253274"/>
                    <a:pt x="491014" y="257465"/>
                    <a:pt x="485775" y="257465"/>
                  </a:cubicBezTo>
                  <a:close/>
                  <a:moveTo>
                    <a:pt x="9525" y="255369"/>
                  </a:moveTo>
                  <a:cubicBezTo>
                    <a:pt x="4286" y="255369"/>
                    <a:pt x="0" y="251369"/>
                    <a:pt x="0" y="246130"/>
                  </a:cubicBezTo>
                  <a:lnTo>
                    <a:pt x="0" y="243654"/>
                  </a:lnTo>
                  <a:cubicBezTo>
                    <a:pt x="0" y="238415"/>
                    <a:pt x="4381" y="234319"/>
                    <a:pt x="9525" y="234319"/>
                  </a:cubicBezTo>
                  <a:lnTo>
                    <a:pt x="9715" y="234319"/>
                  </a:lnTo>
                  <a:cubicBezTo>
                    <a:pt x="14954" y="234319"/>
                    <a:pt x="19145" y="238700"/>
                    <a:pt x="19050" y="244034"/>
                  </a:cubicBezTo>
                  <a:lnTo>
                    <a:pt x="19050" y="245749"/>
                  </a:lnTo>
                  <a:cubicBezTo>
                    <a:pt x="19050" y="250988"/>
                    <a:pt x="14764" y="255560"/>
                    <a:pt x="9525" y="255560"/>
                  </a:cubicBezTo>
                  <a:close/>
                  <a:moveTo>
                    <a:pt x="476535" y="189361"/>
                  </a:moveTo>
                  <a:cubicBezTo>
                    <a:pt x="472344" y="189361"/>
                    <a:pt x="468535" y="186599"/>
                    <a:pt x="467392" y="182408"/>
                  </a:cubicBezTo>
                  <a:lnTo>
                    <a:pt x="466725" y="180312"/>
                  </a:lnTo>
                  <a:cubicBezTo>
                    <a:pt x="465201" y="175264"/>
                    <a:pt x="468058" y="169930"/>
                    <a:pt x="473107" y="168406"/>
                  </a:cubicBezTo>
                  <a:cubicBezTo>
                    <a:pt x="478155" y="166882"/>
                    <a:pt x="483489" y="169739"/>
                    <a:pt x="485013" y="174788"/>
                  </a:cubicBezTo>
                  <a:lnTo>
                    <a:pt x="485680" y="177169"/>
                  </a:lnTo>
                  <a:cubicBezTo>
                    <a:pt x="487108" y="182217"/>
                    <a:pt x="484155" y="187456"/>
                    <a:pt x="479107" y="188980"/>
                  </a:cubicBezTo>
                  <a:cubicBezTo>
                    <a:pt x="478250" y="189266"/>
                    <a:pt x="477393" y="189361"/>
                    <a:pt x="476535" y="189361"/>
                  </a:cubicBezTo>
                  <a:close/>
                  <a:moveTo>
                    <a:pt x="18955" y="188504"/>
                  </a:moveTo>
                  <a:cubicBezTo>
                    <a:pt x="18097" y="188504"/>
                    <a:pt x="17240" y="188408"/>
                    <a:pt x="16383" y="188123"/>
                  </a:cubicBezTo>
                  <a:cubicBezTo>
                    <a:pt x="11335" y="186694"/>
                    <a:pt x="8382" y="181455"/>
                    <a:pt x="9810" y="176312"/>
                  </a:cubicBezTo>
                  <a:lnTo>
                    <a:pt x="10573" y="173835"/>
                  </a:lnTo>
                  <a:cubicBezTo>
                    <a:pt x="12096" y="168787"/>
                    <a:pt x="17526" y="166025"/>
                    <a:pt x="22479" y="167549"/>
                  </a:cubicBezTo>
                  <a:cubicBezTo>
                    <a:pt x="27527" y="169073"/>
                    <a:pt x="30289" y="174502"/>
                    <a:pt x="28765" y="179455"/>
                  </a:cubicBezTo>
                  <a:lnTo>
                    <a:pt x="28194" y="181455"/>
                  </a:lnTo>
                  <a:cubicBezTo>
                    <a:pt x="27051" y="185646"/>
                    <a:pt x="23146" y="188408"/>
                    <a:pt x="19050" y="188408"/>
                  </a:cubicBezTo>
                  <a:close/>
                  <a:moveTo>
                    <a:pt x="448818" y="127544"/>
                  </a:moveTo>
                  <a:cubicBezTo>
                    <a:pt x="445675" y="127544"/>
                    <a:pt x="442531" y="126020"/>
                    <a:pt x="440721" y="123162"/>
                  </a:cubicBezTo>
                  <a:lnTo>
                    <a:pt x="439578" y="121353"/>
                  </a:lnTo>
                  <a:cubicBezTo>
                    <a:pt x="436721" y="116971"/>
                    <a:pt x="437959" y="111066"/>
                    <a:pt x="442341" y="108208"/>
                  </a:cubicBezTo>
                  <a:cubicBezTo>
                    <a:pt x="446722" y="105350"/>
                    <a:pt x="452628" y="106589"/>
                    <a:pt x="455486" y="110970"/>
                  </a:cubicBezTo>
                  <a:lnTo>
                    <a:pt x="456819" y="113066"/>
                  </a:lnTo>
                  <a:cubicBezTo>
                    <a:pt x="459677" y="117542"/>
                    <a:pt x="458343" y="123353"/>
                    <a:pt x="453866" y="126210"/>
                  </a:cubicBezTo>
                  <a:cubicBezTo>
                    <a:pt x="452247" y="127258"/>
                    <a:pt x="450532" y="127734"/>
                    <a:pt x="448818" y="127734"/>
                  </a:cubicBezTo>
                  <a:close/>
                  <a:moveTo>
                    <a:pt x="46958" y="126782"/>
                  </a:moveTo>
                  <a:cubicBezTo>
                    <a:pt x="45244" y="126782"/>
                    <a:pt x="43434" y="126305"/>
                    <a:pt x="41910" y="125258"/>
                  </a:cubicBezTo>
                  <a:cubicBezTo>
                    <a:pt x="37433" y="122400"/>
                    <a:pt x="36100" y="116590"/>
                    <a:pt x="38957" y="112113"/>
                  </a:cubicBezTo>
                  <a:lnTo>
                    <a:pt x="40291" y="110018"/>
                  </a:lnTo>
                  <a:cubicBezTo>
                    <a:pt x="43148" y="105636"/>
                    <a:pt x="49053" y="104398"/>
                    <a:pt x="53435" y="107255"/>
                  </a:cubicBezTo>
                  <a:cubicBezTo>
                    <a:pt x="57817" y="110113"/>
                    <a:pt x="59055" y="116018"/>
                    <a:pt x="56197" y="120400"/>
                  </a:cubicBezTo>
                  <a:lnTo>
                    <a:pt x="55054" y="122210"/>
                  </a:lnTo>
                  <a:cubicBezTo>
                    <a:pt x="53244" y="125067"/>
                    <a:pt x="50196" y="126591"/>
                    <a:pt x="46958" y="126591"/>
                  </a:cubicBezTo>
                  <a:close/>
                  <a:moveTo>
                    <a:pt x="404717" y="76109"/>
                  </a:moveTo>
                  <a:cubicBezTo>
                    <a:pt x="402527" y="76109"/>
                    <a:pt x="400240" y="75347"/>
                    <a:pt x="398430" y="73728"/>
                  </a:cubicBezTo>
                  <a:lnTo>
                    <a:pt x="396716" y="72204"/>
                  </a:lnTo>
                  <a:cubicBezTo>
                    <a:pt x="392716" y="68775"/>
                    <a:pt x="392239" y="62774"/>
                    <a:pt x="395668" y="58773"/>
                  </a:cubicBezTo>
                  <a:cubicBezTo>
                    <a:pt x="399097" y="54773"/>
                    <a:pt x="405098" y="54296"/>
                    <a:pt x="409098" y="57725"/>
                  </a:cubicBezTo>
                  <a:lnTo>
                    <a:pt x="410908" y="59345"/>
                  </a:lnTo>
                  <a:cubicBezTo>
                    <a:pt x="414909" y="62774"/>
                    <a:pt x="415290" y="68775"/>
                    <a:pt x="411861" y="72775"/>
                  </a:cubicBezTo>
                  <a:cubicBezTo>
                    <a:pt x="409956" y="74966"/>
                    <a:pt x="407384" y="76013"/>
                    <a:pt x="404717" y="76013"/>
                  </a:cubicBezTo>
                  <a:close/>
                  <a:moveTo>
                    <a:pt x="91249" y="75537"/>
                  </a:moveTo>
                  <a:cubicBezTo>
                    <a:pt x="88582" y="75537"/>
                    <a:pt x="85915" y="74394"/>
                    <a:pt x="84105" y="72299"/>
                  </a:cubicBezTo>
                  <a:cubicBezTo>
                    <a:pt x="80676" y="68298"/>
                    <a:pt x="81058" y="62297"/>
                    <a:pt x="85058" y="58868"/>
                  </a:cubicBezTo>
                  <a:lnTo>
                    <a:pt x="86868" y="57249"/>
                  </a:lnTo>
                  <a:cubicBezTo>
                    <a:pt x="90868" y="53820"/>
                    <a:pt x="96869" y="54296"/>
                    <a:pt x="100298" y="58297"/>
                  </a:cubicBezTo>
                  <a:cubicBezTo>
                    <a:pt x="103727" y="62297"/>
                    <a:pt x="103251" y="68298"/>
                    <a:pt x="99250" y="71727"/>
                  </a:cubicBezTo>
                  <a:lnTo>
                    <a:pt x="97536" y="73251"/>
                  </a:lnTo>
                  <a:cubicBezTo>
                    <a:pt x="95726" y="74870"/>
                    <a:pt x="93536" y="75633"/>
                    <a:pt x="91249" y="75633"/>
                  </a:cubicBezTo>
                  <a:close/>
                  <a:moveTo>
                    <a:pt x="347948" y="39057"/>
                  </a:moveTo>
                  <a:cubicBezTo>
                    <a:pt x="346614" y="39057"/>
                    <a:pt x="345281" y="38771"/>
                    <a:pt x="343948" y="38199"/>
                  </a:cubicBezTo>
                  <a:lnTo>
                    <a:pt x="341852" y="37247"/>
                  </a:lnTo>
                  <a:cubicBezTo>
                    <a:pt x="337089" y="35056"/>
                    <a:pt x="334994" y="29436"/>
                    <a:pt x="337089" y="24674"/>
                  </a:cubicBezTo>
                  <a:cubicBezTo>
                    <a:pt x="339280" y="19911"/>
                    <a:pt x="344900" y="17720"/>
                    <a:pt x="349662" y="19911"/>
                  </a:cubicBezTo>
                  <a:lnTo>
                    <a:pt x="351854" y="20864"/>
                  </a:lnTo>
                  <a:cubicBezTo>
                    <a:pt x="356616" y="23054"/>
                    <a:pt x="358711" y="28770"/>
                    <a:pt x="356521" y="33532"/>
                  </a:cubicBezTo>
                  <a:cubicBezTo>
                    <a:pt x="354902" y="37056"/>
                    <a:pt x="351472" y="39057"/>
                    <a:pt x="347853" y="39057"/>
                  </a:cubicBezTo>
                  <a:close/>
                  <a:moveTo>
                    <a:pt x="148114" y="38675"/>
                  </a:moveTo>
                  <a:cubicBezTo>
                    <a:pt x="144494" y="38675"/>
                    <a:pt x="141065" y="36580"/>
                    <a:pt x="139446" y="33151"/>
                  </a:cubicBezTo>
                  <a:cubicBezTo>
                    <a:pt x="137255" y="28388"/>
                    <a:pt x="139351" y="22674"/>
                    <a:pt x="144113" y="20483"/>
                  </a:cubicBezTo>
                  <a:lnTo>
                    <a:pt x="146399" y="19435"/>
                  </a:lnTo>
                  <a:cubicBezTo>
                    <a:pt x="151257" y="17339"/>
                    <a:pt x="156876" y="19435"/>
                    <a:pt x="158972" y="24293"/>
                  </a:cubicBezTo>
                  <a:cubicBezTo>
                    <a:pt x="161068" y="29150"/>
                    <a:pt x="158972" y="34770"/>
                    <a:pt x="154114" y="36866"/>
                  </a:cubicBezTo>
                  <a:lnTo>
                    <a:pt x="152114" y="37723"/>
                  </a:lnTo>
                  <a:cubicBezTo>
                    <a:pt x="150876" y="38295"/>
                    <a:pt x="149447" y="38580"/>
                    <a:pt x="148114" y="38580"/>
                  </a:cubicBezTo>
                  <a:close/>
                  <a:moveTo>
                    <a:pt x="283083" y="19530"/>
                  </a:moveTo>
                  <a:cubicBezTo>
                    <a:pt x="283083" y="19530"/>
                    <a:pt x="282130" y="19530"/>
                    <a:pt x="281749" y="19435"/>
                  </a:cubicBezTo>
                  <a:lnTo>
                    <a:pt x="279463" y="19054"/>
                  </a:lnTo>
                  <a:cubicBezTo>
                    <a:pt x="274225" y="18292"/>
                    <a:pt x="270700" y="13434"/>
                    <a:pt x="271367" y="8291"/>
                  </a:cubicBezTo>
                  <a:cubicBezTo>
                    <a:pt x="272129" y="3052"/>
                    <a:pt x="276892" y="-663"/>
                    <a:pt x="282130" y="195"/>
                  </a:cubicBezTo>
                  <a:lnTo>
                    <a:pt x="284416" y="575"/>
                  </a:lnTo>
                  <a:cubicBezTo>
                    <a:pt x="289655" y="1337"/>
                    <a:pt x="293179" y="6195"/>
                    <a:pt x="292512" y="11339"/>
                  </a:cubicBezTo>
                  <a:cubicBezTo>
                    <a:pt x="291846" y="16101"/>
                    <a:pt x="287750" y="19530"/>
                    <a:pt x="283083" y="19530"/>
                  </a:cubicBezTo>
                  <a:close/>
                  <a:moveTo>
                    <a:pt x="212979" y="19435"/>
                  </a:moveTo>
                  <a:cubicBezTo>
                    <a:pt x="208312" y="19435"/>
                    <a:pt x="204216" y="16006"/>
                    <a:pt x="203549" y="11243"/>
                  </a:cubicBezTo>
                  <a:cubicBezTo>
                    <a:pt x="202787" y="6005"/>
                    <a:pt x="206407" y="1242"/>
                    <a:pt x="211645" y="480"/>
                  </a:cubicBezTo>
                  <a:lnTo>
                    <a:pt x="214122" y="99"/>
                  </a:lnTo>
                  <a:cubicBezTo>
                    <a:pt x="219360" y="-663"/>
                    <a:pt x="224123" y="3052"/>
                    <a:pt x="224790" y="8291"/>
                  </a:cubicBezTo>
                  <a:cubicBezTo>
                    <a:pt x="225457" y="13529"/>
                    <a:pt x="221837" y="18292"/>
                    <a:pt x="216598" y="18959"/>
                  </a:cubicBezTo>
                  <a:lnTo>
                    <a:pt x="214408" y="19245"/>
                  </a:lnTo>
                  <a:cubicBezTo>
                    <a:pt x="214408" y="19245"/>
                    <a:pt x="213455" y="19340"/>
                    <a:pt x="213074" y="193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62141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>
            <a:extLst>
              <a:ext uri="{FF2B5EF4-FFF2-40B4-BE49-F238E27FC236}">
                <a16:creationId xmlns:a16="http://schemas.microsoft.com/office/drawing/2014/main" id="{BC6013ED-4DE4-76F1-9F74-CA0D6D966F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614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Rectangle 21">
            <a:extLst>
              <a:ext uri="{FF2B5EF4-FFF2-40B4-BE49-F238E27FC236}">
                <a16:creationId xmlns:a16="http://schemas.microsoft.com/office/drawing/2014/main" id="{D7B70A0D-6C25-8FD4-EAE0-2600F3EBD9C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C6B7DB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B7C524A7-E517-749D-B2B9-E1E582F7F186}"/>
              </a:ext>
            </a:extLst>
          </p:cNvPr>
          <p:cNvSpPr txBox="1">
            <a:spLocks/>
          </p:cNvSpPr>
          <p:nvPr/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AC3F618-7EE1-0849-8880-CB07A5842168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algn="r">
                <a:defRPr/>
              </a:pPr>
              <a:t>7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42608AC-1738-12F1-1B0B-7727947BB379}"/>
              </a:ext>
            </a:extLst>
          </p:cNvPr>
          <p:cNvSpPr txBox="1">
            <a:spLocks/>
          </p:cNvSpPr>
          <p:nvPr/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LO Journey Lab</a:t>
            </a:r>
            <a:endParaRPr lang="en-CA" dirty="0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064C822E-81BF-8195-34B1-D86AFA1E6A12}"/>
              </a:ext>
            </a:extLst>
          </p:cNvPr>
          <p:cNvSpPr txBox="1">
            <a:spLocks/>
          </p:cNvSpPr>
          <p:nvPr/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i="0" kern="1200">
                <a:solidFill>
                  <a:srgbClr val="175676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Milestones and workplan</a:t>
            </a:r>
            <a:endParaRPr lang="en-CA" dirty="0"/>
          </a:p>
        </p:txBody>
      </p:sp>
      <p:sp>
        <p:nvSpPr>
          <p:cNvPr id="27" name="Text Placeholder 61">
            <a:extLst>
              <a:ext uri="{FF2B5EF4-FFF2-40B4-BE49-F238E27FC236}">
                <a16:creationId xmlns:a16="http://schemas.microsoft.com/office/drawing/2014/main" id="{9B3FA688-2CD9-850C-C505-C978030BA582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563563" y="1586493"/>
            <a:ext cx="1994529" cy="213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56028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156028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6400" indent="-225425" algn="l" defTabSz="156028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100000"/>
              <a:buFont typeface="Times New Roman" panose="02020603050405020304" pitchFamily="18" charset="0"/>
              <a:buChar char="─"/>
              <a:defRPr lang="en-US" sz="16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4675" indent="-168275" algn="l" defTabSz="156028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lang="en-US" sz="16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4225" indent="-209550" algn="l" defTabSz="156028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100000"/>
              <a:buFont typeface="Times New Roman" panose="02020603050405020304" pitchFamily="18" charset="0"/>
              <a:buChar char="─"/>
              <a:tabLst/>
              <a:defRPr lang="en-US" sz="16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06655" indent="-226849" algn="l" defTabSz="156028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solidFill>
                  <a:schemeClr val="tx1"/>
                </a:solidFill>
                <a:latin typeface="+mn-lt"/>
              </a:defRPr>
            </a:lvl6pPr>
            <a:lvl7pPr marL="1306655" indent="-226849" algn="l" defTabSz="156028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solidFill>
                  <a:schemeClr val="tx1"/>
                </a:solidFill>
                <a:latin typeface="+mn-lt"/>
              </a:defRPr>
            </a:lvl7pPr>
            <a:lvl8pPr marL="1306655" indent="-226849" algn="l" defTabSz="156028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solidFill>
                  <a:schemeClr val="tx1"/>
                </a:solidFill>
                <a:latin typeface="+mn-lt"/>
              </a:defRPr>
            </a:lvl8pPr>
            <a:lvl9pPr marL="1306655" indent="-226849" algn="l" defTabSz="156028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789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932071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defRPr/>
            </a:pPr>
            <a:r>
              <a:rPr lang="en-US" altLang="en-US" b="1" dirty="0">
                <a:solidFill>
                  <a:srgbClr val="000000"/>
                </a:solidFill>
                <a:latin typeface="Aptos"/>
              </a:rPr>
              <a:t>Losing a Loved One</a:t>
            </a:r>
            <a:endParaRPr lang="en-US" alt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cs typeface="Arial"/>
            </a:endParaRPr>
          </a:p>
          <a:p>
            <a:pPr marL="0" marR="0" lvl="0" indent="0" algn="l" defTabSz="9320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SzPct val="100000"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B2F7AF2-5697-E0C1-B8CC-3AB686B04FBC}"/>
              </a:ext>
            </a:extLst>
          </p:cNvPr>
          <p:cNvSpPr>
            <a:spLocks/>
          </p:cNvSpPr>
          <p:nvPr/>
        </p:nvSpPr>
        <p:spPr>
          <a:xfrm>
            <a:off x="563563" y="4325668"/>
            <a:ext cx="1831016" cy="28956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73152" rIns="73152" bIns="73152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CA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</a:rPr>
              <a:t>Priority Activities</a:t>
            </a:r>
            <a:endParaRPr kumimoji="0" lang="en-CA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054745-4FE7-22F6-7518-942FD207FD0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15956" y="4675421"/>
            <a:ext cx="3514725" cy="1544403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txBody>
          <a:bodyPr vert="horz" wrap="square" lIns="73152" tIns="73152" rIns="73152" bIns="73152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/>
                <a:cs typeface="Arial"/>
              </a:rPr>
              <a:t>Baselining</a:t>
            </a:r>
            <a:endParaRPr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ptos"/>
              <a:cs typeface="Arial"/>
            </a:endParaRPr>
          </a:p>
          <a:p>
            <a:pPr marL="171450" indent="-171450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/>
              </a:rPr>
              <a:t>Build the team</a:t>
            </a:r>
            <a:endParaRPr lang="en-CA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Arial"/>
            </a:endParaRPr>
          </a:p>
          <a:p>
            <a:pPr marL="171450" indent="-171450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/>
            </a:pPr>
            <a:r>
              <a:rPr lang="en-CA" sz="1200" dirty="0">
                <a:latin typeface="Aptos"/>
                <a:cs typeface="Arial"/>
              </a:rPr>
              <a:t>Generate user research assessing against in-flight work and current </a:t>
            </a: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/>
              </a:rPr>
              <a:t>state</a:t>
            </a:r>
            <a:r>
              <a:rPr lang="en-CA" sz="1200" dirty="0">
                <a:latin typeface="Aptos"/>
                <a:cs typeface="Arial"/>
              </a:rPr>
              <a:t> </a:t>
            </a:r>
            <a:endParaRPr lang="en-CA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os"/>
            </a:endParaRPr>
          </a:p>
          <a:p>
            <a:pPr marL="171450" indent="-171450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/>
              </a:rPr>
              <a:t>Develop quantitative and qualitative baseline of the current state journey</a:t>
            </a:r>
            <a:r>
              <a:rPr lang="en-CA" sz="1200" dirty="0">
                <a:latin typeface="Aptos"/>
                <a:cs typeface="Arial"/>
              </a:rPr>
              <a:t> </a:t>
            </a:r>
            <a:endParaRPr lang="en-CA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C200CF0-9F02-62E9-1DB4-85889B02613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100541" y="4674626"/>
            <a:ext cx="3514725" cy="154440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txBody>
          <a:bodyPr vert="horz" wrap="square" lIns="73152" tIns="73152" rIns="73152" bIns="73152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ptos"/>
                <a:cs typeface="Arial"/>
              </a:rPr>
              <a:t>Dream &amp; </a:t>
            </a:r>
            <a:r>
              <a:rPr lang="en-US" sz="1200" b="1" dirty="0">
                <a:solidFill>
                  <a:schemeClr val="tx2"/>
                </a:solidFill>
                <a:latin typeface="Aptos"/>
                <a:cs typeface="Arial"/>
              </a:rPr>
              <a:t>design</a:t>
            </a:r>
            <a:endParaRPr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ptos"/>
              <a:cs typeface="Arial"/>
            </a:endParaRPr>
          </a:p>
          <a:p>
            <a:pPr lvl="1">
              <a:spcBef>
                <a:spcPts val="100"/>
              </a:spcBef>
              <a:buClrTx/>
              <a:buSzPct val="100000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</a:rPr>
              <a:t>Define aspirational future state</a:t>
            </a:r>
            <a:r>
              <a:rPr lang="en-US" sz="1200" dirty="0">
                <a:latin typeface="Aptos"/>
              </a:rPr>
              <a:t>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</a:rPr>
              <a:t>Zero-Based Design</a:t>
            </a:r>
            <a:r>
              <a:rPr lang="en-US" sz="1200" dirty="0">
                <a:latin typeface="Aptos"/>
              </a:rPr>
              <a:t> (ZBD)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</a:rPr>
              <a:t> </a:t>
            </a:r>
            <a:r>
              <a:rPr lang="en-US" sz="1200" dirty="0">
                <a:latin typeface="Aptos"/>
              </a:rPr>
              <a:t>workshop</a:t>
            </a:r>
            <a:endParaRPr 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os"/>
              <a:cs typeface="Arial"/>
            </a:endParaRPr>
          </a:p>
          <a:p>
            <a:pPr lvl="1">
              <a:spcBef>
                <a:spcPts val="100"/>
              </a:spcBef>
              <a:buClrTx/>
              <a:buSzPct val="100000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</a:rPr>
              <a:t>Define Minimum Viable Product</a:t>
            </a:r>
            <a:r>
              <a:rPr lang="en-US" sz="1200" dirty="0">
                <a:latin typeface="Aptos"/>
              </a:rPr>
              <a:t> (MVP) in MVP workshop</a:t>
            </a:r>
            <a:endParaRPr 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ptos"/>
              <a:cs typeface="Arial"/>
            </a:endParaRPr>
          </a:p>
          <a:p>
            <a:pPr lvl="1">
              <a:spcBef>
                <a:spcPts val="100"/>
              </a:spcBef>
              <a:buClrTx/>
              <a:buSzPct val="100000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</a:rPr>
              <a:t>Build impact case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Arial"/>
            </a:endParaRPr>
          </a:p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buClr>
                <a:srgbClr val="FFFFFF"/>
              </a:buClr>
              <a:buSzPct val="100000"/>
              <a:buNone/>
              <a:tabLst/>
              <a:defRPr/>
            </a:pPr>
            <a:endParaRPr 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</p:txBody>
      </p:sp>
      <p:sp useBgFill="1">
        <p:nvSpPr>
          <p:cNvPr id="44" name="Text Placeholder 4">
            <a:extLst>
              <a:ext uri="{FF2B5EF4-FFF2-40B4-BE49-F238E27FC236}">
                <a16:creationId xmlns:a16="http://schemas.microsoft.com/office/drawing/2014/main" id="{15C79DC1-E8EB-ED1A-F9F1-F72E0CA8378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14342" y="3119258"/>
            <a:ext cx="638629" cy="3471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Team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Kick-Off</a:t>
            </a:r>
            <a:endParaRPr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115ACD7-7E77-F576-CE6D-2827548242B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782728" y="4674626"/>
            <a:ext cx="3617470" cy="1544400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A38CC6"/>
            </a:solidFill>
          </a:ln>
        </p:spPr>
        <p:txBody>
          <a:bodyPr vert="horz" wrap="square" lIns="73152" tIns="73152" rIns="73152" bIns="73152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>
                <a:schemeClr val="bg1"/>
              </a:buClr>
              <a:buSzPct val="10000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61458C"/>
                </a:solidFill>
                <a:effectLst/>
                <a:uLnTx/>
                <a:uFillTx/>
                <a:latin typeface="Aptos"/>
                <a:cs typeface="Arial"/>
              </a:rPr>
              <a:t>Delivery</a:t>
            </a:r>
          </a:p>
          <a:p>
            <a:pPr marR="0" lvl="1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</a:rPr>
              <a:t>Bi-weekly, iterative delivery towards MVP 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Arial"/>
            </a:endParaRPr>
          </a:p>
          <a:p>
            <a:pPr marR="0" lvl="1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</a:rPr>
              <a:t>Hold sprint Planning and sprint reviews (demos)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ptos"/>
              <a:cs typeface="Arial"/>
            </a:endParaRPr>
          </a:p>
          <a:p>
            <a:pPr marR="0" lvl="1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</a:rPr>
              <a:t>Push Journey Lab features to production 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Arial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035A8F0-AFBC-3F63-5717-4FCFFFFBDF50}"/>
              </a:ext>
            </a:extLst>
          </p:cNvPr>
          <p:cNvGrpSpPr/>
          <p:nvPr/>
        </p:nvGrpSpPr>
        <p:grpSpPr>
          <a:xfrm>
            <a:off x="342532" y="1924835"/>
            <a:ext cx="11148002" cy="797849"/>
            <a:chOff x="4487690" y="717311"/>
            <a:chExt cx="11148002" cy="797849"/>
          </a:xfrm>
        </p:grpSpPr>
        <p:sp>
          <p:nvSpPr>
            <p:cNvPr id="13" name="Arrow: Pentagon 12">
              <a:extLst>
                <a:ext uri="{FF2B5EF4-FFF2-40B4-BE49-F238E27FC236}">
                  <a16:creationId xmlns:a16="http://schemas.microsoft.com/office/drawing/2014/main" id="{BE6C339B-E761-E828-117A-5337CE8FFE17}"/>
                </a:ext>
              </a:extLst>
            </p:cNvPr>
            <p:cNvSpPr/>
            <p:nvPr/>
          </p:nvSpPr>
          <p:spPr>
            <a:xfrm>
              <a:off x="8878682" y="719840"/>
              <a:ext cx="6757010" cy="795320"/>
            </a:xfrm>
            <a:prstGeom prst="homePlate">
              <a:avLst/>
            </a:prstGeom>
            <a:solidFill>
              <a:srgbClr val="A38CC6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CA" sz="1600" dirty="0">
                  <a:latin typeface="Aptos" panose="020B0004020202020204" pitchFamily="34" charset="0"/>
                </a:rPr>
                <a:t>Delivery</a:t>
              </a:r>
            </a:p>
          </p:txBody>
        </p:sp>
        <p:sp>
          <p:nvSpPr>
            <p:cNvPr id="35" name="Arrow: Pentagon 34">
              <a:extLst>
                <a:ext uri="{FF2B5EF4-FFF2-40B4-BE49-F238E27FC236}">
                  <a16:creationId xmlns:a16="http://schemas.microsoft.com/office/drawing/2014/main" id="{C3A95D72-5850-1B72-3A7C-9986923636A8}"/>
                </a:ext>
              </a:extLst>
            </p:cNvPr>
            <p:cNvSpPr/>
            <p:nvPr/>
          </p:nvSpPr>
          <p:spPr>
            <a:xfrm>
              <a:off x="7626864" y="719840"/>
              <a:ext cx="1705721" cy="795320"/>
            </a:xfrm>
            <a:prstGeom prst="homePlate">
              <a:avLst/>
            </a:prstGeom>
            <a:solidFill>
              <a:srgbClr val="61458C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CA" sz="1600" dirty="0">
                  <a:latin typeface="Aptos" panose="020B0004020202020204" pitchFamily="34" charset="0"/>
                </a:rPr>
                <a:t>     Sprint 0</a:t>
              </a:r>
            </a:p>
          </p:txBody>
        </p:sp>
        <p:sp>
          <p:nvSpPr>
            <p:cNvPr id="36" name="Arrow: Pentagon 35">
              <a:extLst>
                <a:ext uri="{FF2B5EF4-FFF2-40B4-BE49-F238E27FC236}">
                  <a16:creationId xmlns:a16="http://schemas.microsoft.com/office/drawing/2014/main" id="{27F4AAB3-0C5B-2380-9CD9-2976A4337EA7}"/>
                </a:ext>
              </a:extLst>
            </p:cNvPr>
            <p:cNvSpPr/>
            <p:nvPr/>
          </p:nvSpPr>
          <p:spPr>
            <a:xfrm>
              <a:off x="5509533" y="717311"/>
              <a:ext cx="2508838" cy="795320"/>
            </a:xfrm>
            <a:prstGeom prst="homePlate">
              <a:avLst/>
            </a:prstGeom>
            <a:solidFill>
              <a:schemeClr val="tx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40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CA" sz="1600" dirty="0">
                  <a:latin typeface="Aptos" panose="020B0004020202020204" pitchFamily="34" charset="0"/>
                </a:rPr>
                <a:t>  Dream and Design</a:t>
              </a:r>
            </a:p>
          </p:txBody>
        </p:sp>
        <p:sp>
          <p:nvSpPr>
            <p:cNvPr id="39" name="Arrow: Pentagon 38">
              <a:extLst>
                <a:ext uri="{FF2B5EF4-FFF2-40B4-BE49-F238E27FC236}">
                  <a16:creationId xmlns:a16="http://schemas.microsoft.com/office/drawing/2014/main" id="{2E90A837-9B04-81F2-635E-C5AE0B815FD4}"/>
                </a:ext>
              </a:extLst>
            </p:cNvPr>
            <p:cNvSpPr/>
            <p:nvPr/>
          </p:nvSpPr>
          <p:spPr>
            <a:xfrm>
              <a:off x="4487690" y="727127"/>
              <a:ext cx="1420319" cy="785503"/>
            </a:xfrm>
            <a:prstGeom prst="homePlat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CA" sz="1600" dirty="0">
                  <a:latin typeface="Aptos" panose="020B0004020202020204" pitchFamily="34" charset="0"/>
                </a:rPr>
                <a:t>Baselining	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70031D20-8C6D-87F2-6002-9587560860FD}"/>
              </a:ext>
            </a:extLst>
          </p:cNvPr>
          <p:cNvGrpSpPr/>
          <p:nvPr/>
        </p:nvGrpSpPr>
        <p:grpSpPr>
          <a:xfrm>
            <a:off x="682727" y="2690028"/>
            <a:ext cx="114300" cy="394418"/>
            <a:chOff x="5102250" y="1398471"/>
            <a:chExt cx="114300" cy="394418"/>
          </a:xfrm>
        </p:grpSpPr>
        <p:cxnSp>
          <p:nvCxnSpPr>
            <p:cNvPr id="42" name="LineBasicStrong 19">
              <a:extLst>
                <a:ext uri="{FF2B5EF4-FFF2-40B4-BE49-F238E27FC236}">
                  <a16:creationId xmlns:a16="http://schemas.microsoft.com/office/drawing/2014/main" id="{4398E3E5-F8B6-F3CB-A7FD-308CD847A6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8983" y="1398471"/>
              <a:ext cx="0" cy="352480"/>
            </a:xfrm>
            <a:prstGeom prst="straightConnector1">
              <a:avLst/>
            </a:prstGeom>
            <a:ln w="28575" cap="flat">
              <a:solidFill>
                <a:schemeClr val="accent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AD9FD04F-7D17-D3F6-0FF5-048622BA94D0}"/>
                </a:ext>
              </a:extLst>
            </p:cNvPr>
            <p:cNvSpPr>
              <a:spLocks/>
            </p:cNvSpPr>
            <p:nvPr/>
          </p:nvSpPr>
          <p:spPr>
            <a:xfrm rot="13500000" flipH="1">
              <a:off x="5102250" y="1678589"/>
              <a:ext cx="114300" cy="114300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BB2EE11-4445-D666-B86F-E540A6FA5840}"/>
              </a:ext>
            </a:extLst>
          </p:cNvPr>
          <p:cNvGrpSpPr/>
          <p:nvPr/>
        </p:nvGrpSpPr>
        <p:grpSpPr>
          <a:xfrm>
            <a:off x="2016244" y="2692982"/>
            <a:ext cx="114300" cy="394418"/>
            <a:chOff x="5102250" y="1398471"/>
            <a:chExt cx="114300" cy="394418"/>
          </a:xfrm>
        </p:grpSpPr>
        <p:cxnSp>
          <p:nvCxnSpPr>
            <p:cNvPr id="75" name="LineBasicStrong 19">
              <a:extLst>
                <a:ext uri="{FF2B5EF4-FFF2-40B4-BE49-F238E27FC236}">
                  <a16:creationId xmlns:a16="http://schemas.microsoft.com/office/drawing/2014/main" id="{A9F3F745-BAC5-A0D8-26E1-BEEB584132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8983" y="1398471"/>
              <a:ext cx="0" cy="352480"/>
            </a:xfrm>
            <a:prstGeom prst="straightConnector1">
              <a:avLst/>
            </a:prstGeom>
            <a:ln w="28575" cap="flat">
              <a:solidFill>
                <a:schemeClr val="tx2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1DD05C83-341F-399F-3626-F25B35C13826}"/>
                </a:ext>
              </a:extLst>
            </p:cNvPr>
            <p:cNvSpPr>
              <a:spLocks/>
            </p:cNvSpPr>
            <p:nvPr/>
          </p:nvSpPr>
          <p:spPr>
            <a:xfrm rot="13500000" flipH="1">
              <a:off x="5102250" y="1678589"/>
              <a:ext cx="114300" cy="114300"/>
            </a:xfrm>
            <a:prstGeom prst="ellipse">
              <a:avLst/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6AA7E573-0C5A-6CF9-99A0-C3589B402FC3}"/>
              </a:ext>
            </a:extLst>
          </p:cNvPr>
          <p:cNvGrpSpPr/>
          <p:nvPr/>
        </p:nvGrpSpPr>
        <p:grpSpPr>
          <a:xfrm>
            <a:off x="2957794" y="2693960"/>
            <a:ext cx="114300" cy="394418"/>
            <a:chOff x="5102250" y="1398471"/>
            <a:chExt cx="114300" cy="394418"/>
          </a:xfrm>
        </p:grpSpPr>
        <p:cxnSp>
          <p:nvCxnSpPr>
            <p:cNvPr id="78" name="LineBasicStrong 19">
              <a:extLst>
                <a:ext uri="{FF2B5EF4-FFF2-40B4-BE49-F238E27FC236}">
                  <a16:creationId xmlns:a16="http://schemas.microsoft.com/office/drawing/2014/main" id="{02CD22B0-1B1A-3454-07EB-751829FD1B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8983" y="1398471"/>
              <a:ext cx="0" cy="352480"/>
            </a:xfrm>
            <a:prstGeom prst="straightConnector1">
              <a:avLst/>
            </a:prstGeom>
            <a:ln w="28575" cap="flat">
              <a:solidFill>
                <a:schemeClr val="tx2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37E38C75-6957-AFC3-3EC3-99F793572EB7}"/>
                </a:ext>
              </a:extLst>
            </p:cNvPr>
            <p:cNvSpPr>
              <a:spLocks/>
            </p:cNvSpPr>
            <p:nvPr/>
          </p:nvSpPr>
          <p:spPr>
            <a:xfrm rot="13500000" flipH="1">
              <a:off x="5102250" y="1678589"/>
              <a:ext cx="114300" cy="114300"/>
            </a:xfrm>
            <a:prstGeom prst="ellipse">
              <a:avLst/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 useBgFill="1">
        <p:nvSpPr>
          <p:cNvPr id="80" name="Text Placeholder 4">
            <a:extLst>
              <a:ext uri="{FF2B5EF4-FFF2-40B4-BE49-F238E27FC236}">
                <a16:creationId xmlns:a16="http://schemas.microsoft.com/office/drawing/2014/main" id="{F93418E2-845A-AB14-B6E3-9CCFBDFC6FC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55950" y="3121736"/>
            <a:ext cx="638629" cy="3471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ZBD</a:t>
            </a:r>
            <a:br>
              <a:rPr lang="en-US" altLang="en-US" sz="120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</a:b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Workshop</a:t>
            </a:r>
            <a:endParaRPr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sp useBgFill="1">
        <p:nvSpPr>
          <p:cNvPr id="81" name="Text Placeholder 4">
            <a:extLst>
              <a:ext uri="{FF2B5EF4-FFF2-40B4-BE49-F238E27FC236}">
                <a16:creationId xmlns:a16="http://schemas.microsoft.com/office/drawing/2014/main" id="{1C8A0C0D-DC10-FC5B-EF10-DE714893C3D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673081" y="3120327"/>
            <a:ext cx="638629" cy="3471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MVP</a:t>
            </a:r>
            <a:br>
              <a:rPr lang="en-US" altLang="en-US" sz="120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</a:b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Workshop</a:t>
            </a:r>
            <a:endParaRPr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2381CEB1-3EE8-DDF4-B4C0-F6F265E91D1A}"/>
              </a:ext>
            </a:extLst>
          </p:cNvPr>
          <p:cNvGrpSpPr/>
          <p:nvPr/>
        </p:nvGrpSpPr>
        <p:grpSpPr>
          <a:xfrm>
            <a:off x="4108400" y="2685684"/>
            <a:ext cx="114300" cy="394418"/>
            <a:chOff x="5102250" y="1398471"/>
            <a:chExt cx="114300" cy="394418"/>
          </a:xfrm>
        </p:grpSpPr>
        <p:cxnSp>
          <p:nvCxnSpPr>
            <p:cNvPr id="83" name="LineBasicStrong 19">
              <a:extLst>
                <a:ext uri="{FF2B5EF4-FFF2-40B4-BE49-F238E27FC236}">
                  <a16:creationId xmlns:a16="http://schemas.microsoft.com/office/drawing/2014/main" id="{03E53886-CB91-774E-149D-4D5DB6A58F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8983" y="1398471"/>
              <a:ext cx="0" cy="352480"/>
            </a:xfrm>
            <a:prstGeom prst="straightConnector1">
              <a:avLst/>
            </a:prstGeom>
            <a:ln w="28575" cap="flat">
              <a:solidFill>
                <a:srgbClr val="61458C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4EF2D85B-57C3-70B0-9774-54B76D765729}"/>
                </a:ext>
              </a:extLst>
            </p:cNvPr>
            <p:cNvSpPr>
              <a:spLocks/>
            </p:cNvSpPr>
            <p:nvPr/>
          </p:nvSpPr>
          <p:spPr>
            <a:xfrm rot="13500000" flipH="1">
              <a:off x="5102250" y="1678589"/>
              <a:ext cx="114300" cy="114300"/>
            </a:xfrm>
            <a:prstGeom prst="ellipse">
              <a:avLst/>
            </a:prstGeom>
            <a:solidFill>
              <a:srgbClr val="61458C"/>
            </a:solidFill>
            <a:ln w="9525" cap="flat" cmpd="sng" algn="ctr">
              <a:solidFill>
                <a:srgbClr val="61458C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 useBgFill="1">
        <p:nvSpPr>
          <p:cNvPr id="85" name="Text Placeholder 4">
            <a:extLst>
              <a:ext uri="{FF2B5EF4-FFF2-40B4-BE49-F238E27FC236}">
                <a16:creationId xmlns:a16="http://schemas.microsoft.com/office/drawing/2014/main" id="{4DA6B1C7-971C-4A43-007E-134CC2F8F85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848121" y="3119258"/>
            <a:ext cx="638629" cy="3471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Agile 101</a:t>
            </a:r>
            <a:br>
              <a:rPr lang="en-US" altLang="en-US" sz="120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</a:b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Workshop</a:t>
            </a:r>
            <a:endParaRPr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sp useBgFill="1">
        <p:nvSpPr>
          <p:cNvPr id="86" name="Text Placeholder 4">
            <a:extLst>
              <a:ext uri="{FF2B5EF4-FFF2-40B4-BE49-F238E27FC236}">
                <a16:creationId xmlns:a16="http://schemas.microsoft.com/office/drawing/2014/main" id="{CD7C94CE-843D-CDD3-4829-E51B070D64E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904085" y="3120722"/>
            <a:ext cx="638629" cy="3471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Sprint 1</a:t>
            </a:r>
            <a:br>
              <a:rPr lang="en-US" altLang="en-US" sz="120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</a:b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Feb 19-Mar 1</a:t>
            </a:r>
            <a:endParaRPr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61424D3B-7B6B-99A3-FC81-50F4ABC743E6}"/>
              </a:ext>
            </a:extLst>
          </p:cNvPr>
          <p:cNvGrpSpPr/>
          <p:nvPr/>
        </p:nvGrpSpPr>
        <p:grpSpPr>
          <a:xfrm>
            <a:off x="5148180" y="2688310"/>
            <a:ext cx="114300" cy="394418"/>
            <a:chOff x="5102250" y="1398471"/>
            <a:chExt cx="114300" cy="394418"/>
          </a:xfrm>
        </p:grpSpPr>
        <p:cxnSp>
          <p:nvCxnSpPr>
            <p:cNvPr id="88" name="LineBasicStrong 19">
              <a:extLst>
                <a:ext uri="{FF2B5EF4-FFF2-40B4-BE49-F238E27FC236}">
                  <a16:creationId xmlns:a16="http://schemas.microsoft.com/office/drawing/2014/main" id="{92EBEEDA-F0EA-BA61-133D-C656FB2461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8983" y="1398471"/>
              <a:ext cx="0" cy="352480"/>
            </a:xfrm>
            <a:prstGeom prst="straightConnector1">
              <a:avLst/>
            </a:prstGeom>
            <a:ln w="28575" cap="flat">
              <a:solidFill>
                <a:srgbClr val="A38CC6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2E2DC549-6A9A-EADF-6D18-DAC3C00092A7}"/>
                </a:ext>
              </a:extLst>
            </p:cNvPr>
            <p:cNvSpPr>
              <a:spLocks/>
            </p:cNvSpPr>
            <p:nvPr/>
          </p:nvSpPr>
          <p:spPr>
            <a:xfrm rot="13500000" flipH="1">
              <a:off x="5102250" y="1678589"/>
              <a:ext cx="114300" cy="114300"/>
            </a:xfrm>
            <a:prstGeom prst="ellipse">
              <a:avLst/>
            </a:prstGeom>
            <a:solidFill>
              <a:srgbClr val="A38CC6"/>
            </a:solidFill>
            <a:ln w="9525" cap="flat" cmpd="sng" algn="ctr">
              <a:solidFill>
                <a:srgbClr val="A38CC6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52A02E23-82AE-F5B2-796A-51B180B876EA}"/>
              </a:ext>
            </a:extLst>
          </p:cNvPr>
          <p:cNvGrpSpPr/>
          <p:nvPr/>
        </p:nvGrpSpPr>
        <p:grpSpPr>
          <a:xfrm>
            <a:off x="6071453" y="2688455"/>
            <a:ext cx="114300" cy="394418"/>
            <a:chOff x="5102250" y="1398471"/>
            <a:chExt cx="114300" cy="394418"/>
          </a:xfrm>
        </p:grpSpPr>
        <p:cxnSp>
          <p:nvCxnSpPr>
            <p:cNvPr id="91" name="LineBasicStrong 19">
              <a:extLst>
                <a:ext uri="{FF2B5EF4-FFF2-40B4-BE49-F238E27FC236}">
                  <a16:creationId xmlns:a16="http://schemas.microsoft.com/office/drawing/2014/main" id="{B3ABA8DC-4D07-0618-0831-6E98E58F40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8983" y="1398471"/>
              <a:ext cx="0" cy="352480"/>
            </a:xfrm>
            <a:prstGeom prst="straightConnector1">
              <a:avLst/>
            </a:prstGeom>
            <a:ln w="28575" cap="flat">
              <a:solidFill>
                <a:srgbClr val="A38CC6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6B2F8AC6-02E1-A672-F2FA-FC27C36493BC}"/>
                </a:ext>
              </a:extLst>
            </p:cNvPr>
            <p:cNvSpPr>
              <a:spLocks/>
            </p:cNvSpPr>
            <p:nvPr/>
          </p:nvSpPr>
          <p:spPr>
            <a:xfrm rot="13500000" flipH="1">
              <a:off x="5102250" y="1678589"/>
              <a:ext cx="114300" cy="114300"/>
            </a:xfrm>
            <a:prstGeom prst="ellipse">
              <a:avLst/>
            </a:prstGeom>
            <a:solidFill>
              <a:srgbClr val="A38CC6"/>
            </a:solidFill>
            <a:ln w="9525" cap="flat" cmpd="sng" algn="ctr">
              <a:solidFill>
                <a:srgbClr val="A38CC6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B0C5832C-552E-C78E-83F3-84407B0261E3}"/>
              </a:ext>
            </a:extLst>
          </p:cNvPr>
          <p:cNvGrpSpPr/>
          <p:nvPr/>
        </p:nvGrpSpPr>
        <p:grpSpPr>
          <a:xfrm>
            <a:off x="6922435" y="2691615"/>
            <a:ext cx="114300" cy="394418"/>
            <a:chOff x="5102250" y="1398471"/>
            <a:chExt cx="114300" cy="394418"/>
          </a:xfrm>
        </p:grpSpPr>
        <p:cxnSp>
          <p:nvCxnSpPr>
            <p:cNvPr id="97" name="LineBasicStrong 19">
              <a:extLst>
                <a:ext uri="{FF2B5EF4-FFF2-40B4-BE49-F238E27FC236}">
                  <a16:creationId xmlns:a16="http://schemas.microsoft.com/office/drawing/2014/main" id="{B0AA0170-23D7-04A9-8B2C-43F7ACAABA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8983" y="1398471"/>
              <a:ext cx="0" cy="352480"/>
            </a:xfrm>
            <a:prstGeom prst="straightConnector1">
              <a:avLst/>
            </a:prstGeom>
            <a:ln w="28575" cap="flat">
              <a:solidFill>
                <a:srgbClr val="A38CC6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ADCA750D-6977-105B-41CB-D5D5EC573421}"/>
                </a:ext>
              </a:extLst>
            </p:cNvPr>
            <p:cNvSpPr>
              <a:spLocks/>
            </p:cNvSpPr>
            <p:nvPr/>
          </p:nvSpPr>
          <p:spPr>
            <a:xfrm rot="13500000" flipH="1">
              <a:off x="5102250" y="1678589"/>
              <a:ext cx="114300" cy="114300"/>
            </a:xfrm>
            <a:prstGeom prst="ellipse">
              <a:avLst/>
            </a:prstGeom>
            <a:solidFill>
              <a:srgbClr val="A38CC6"/>
            </a:solidFill>
            <a:ln w="9525" cap="flat" cmpd="sng" algn="ctr">
              <a:solidFill>
                <a:srgbClr val="A38CC6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128D6260-6F21-D830-14AE-151575F81759}"/>
              </a:ext>
            </a:extLst>
          </p:cNvPr>
          <p:cNvGrpSpPr/>
          <p:nvPr/>
        </p:nvGrpSpPr>
        <p:grpSpPr>
          <a:xfrm>
            <a:off x="7794088" y="2686990"/>
            <a:ext cx="114300" cy="394418"/>
            <a:chOff x="5102250" y="1398471"/>
            <a:chExt cx="114300" cy="394418"/>
          </a:xfrm>
        </p:grpSpPr>
        <p:cxnSp>
          <p:nvCxnSpPr>
            <p:cNvPr id="100" name="LineBasicStrong 19">
              <a:extLst>
                <a:ext uri="{FF2B5EF4-FFF2-40B4-BE49-F238E27FC236}">
                  <a16:creationId xmlns:a16="http://schemas.microsoft.com/office/drawing/2014/main" id="{8EAF6162-7D7C-18B1-94F4-7655397612A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8983" y="1398471"/>
              <a:ext cx="0" cy="352480"/>
            </a:xfrm>
            <a:prstGeom prst="straightConnector1">
              <a:avLst/>
            </a:prstGeom>
            <a:ln w="28575" cap="flat">
              <a:solidFill>
                <a:srgbClr val="A38CC6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9D0268A3-4CE1-8F80-808E-14B6A0564B67}"/>
                </a:ext>
              </a:extLst>
            </p:cNvPr>
            <p:cNvSpPr>
              <a:spLocks/>
            </p:cNvSpPr>
            <p:nvPr/>
          </p:nvSpPr>
          <p:spPr>
            <a:xfrm rot="13500000" flipH="1">
              <a:off x="5102250" y="1678589"/>
              <a:ext cx="114300" cy="114300"/>
            </a:xfrm>
            <a:prstGeom prst="ellipse">
              <a:avLst/>
            </a:prstGeom>
            <a:solidFill>
              <a:srgbClr val="A38CC6"/>
            </a:solidFill>
            <a:ln w="9525" cap="flat" cmpd="sng" algn="ctr">
              <a:solidFill>
                <a:srgbClr val="A38CC6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AF98FBB1-E0F6-3B0A-E24B-A3E9B63F8FD8}"/>
              </a:ext>
            </a:extLst>
          </p:cNvPr>
          <p:cNvGrpSpPr/>
          <p:nvPr/>
        </p:nvGrpSpPr>
        <p:grpSpPr>
          <a:xfrm>
            <a:off x="8686494" y="2688310"/>
            <a:ext cx="114300" cy="394418"/>
            <a:chOff x="5102250" y="1398471"/>
            <a:chExt cx="114300" cy="394418"/>
          </a:xfrm>
        </p:grpSpPr>
        <p:cxnSp>
          <p:nvCxnSpPr>
            <p:cNvPr id="103" name="LineBasicStrong 19">
              <a:extLst>
                <a:ext uri="{FF2B5EF4-FFF2-40B4-BE49-F238E27FC236}">
                  <a16:creationId xmlns:a16="http://schemas.microsoft.com/office/drawing/2014/main" id="{5B4E1321-746B-4999-32C5-6C2D811EB1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8983" y="1398471"/>
              <a:ext cx="0" cy="352480"/>
            </a:xfrm>
            <a:prstGeom prst="straightConnector1">
              <a:avLst/>
            </a:prstGeom>
            <a:ln w="28575" cap="flat">
              <a:solidFill>
                <a:srgbClr val="A38CC6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86A6DF4D-58EF-3A56-ECFD-A8D4E8C1F729}"/>
                </a:ext>
              </a:extLst>
            </p:cNvPr>
            <p:cNvSpPr>
              <a:spLocks/>
            </p:cNvSpPr>
            <p:nvPr/>
          </p:nvSpPr>
          <p:spPr>
            <a:xfrm rot="13500000" flipH="1">
              <a:off x="5102250" y="1678589"/>
              <a:ext cx="114300" cy="114300"/>
            </a:xfrm>
            <a:prstGeom prst="ellipse">
              <a:avLst/>
            </a:prstGeom>
            <a:solidFill>
              <a:srgbClr val="A38CC6"/>
            </a:solidFill>
            <a:ln w="9525" cap="flat" cmpd="sng" algn="ctr">
              <a:solidFill>
                <a:srgbClr val="A38CC6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CA8E547E-1330-01F7-4CD2-646744197190}"/>
              </a:ext>
            </a:extLst>
          </p:cNvPr>
          <p:cNvGrpSpPr/>
          <p:nvPr/>
        </p:nvGrpSpPr>
        <p:grpSpPr>
          <a:xfrm>
            <a:off x="9688599" y="2689752"/>
            <a:ext cx="114300" cy="394418"/>
            <a:chOff x="5102250" y="1398471"/>
            <a:chExt cx="114300" cy="394418"/>
          </a:xfrm>
        </p:grpSpPr>
        <p:cxnSp>
          <p:nvCxnSpPr>
            <p:cNvPr id="106" name="LineBasicStrong 19">
              <a:extLst>
                <a:ext uri="{FF2B5EF4-FFF2-40B4-BE49-F238E27FC236}">
                  <a16:creationId xmlns:a16="http://schemas.microsoft.com/office/drawing/2014/main" id="{D701E67A-6CC5-A8DF-023D-F08EFE484E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8983" y="1398471"/>
              <a:ext cx="0" cy="352480"/>
            </a:xfrm>
            <a:prstGeom prst="straightConnector1">
              <a:avLst/>
            </a:prstGeom>
            <a:ln w="28575" cap="flat">
              <a:solidFill>
                <a:srgbClr val="A38CC6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17BCC0B1-AD26-87D8-945B-A00342C59209}"/>
                </a:ext>
              </a:extLst>
            </p:cNvPr>
            <p:cNvSpPr>
              <a:spLocks/>
            </p:cNvSpPr>
            <p:nvPr/>
          </p:nvSpPr>
          <p:spPr>
            <a:xfrm rot="13500000" flipH="1">
              <a:off x="5102250" y="1678589"/>
              <a:ext cx="114300" cy="114300"/>
            </a:xfrm>
            <a:prstGeom prst="ellipse">
              <a:avLst/>
            </a:prstGeom>
            <a:solidFill>
              <a:srgbClr val="A38CC6"/>
            </a:solidFill>
            <a:ln w="9525" cap="flat" cmpd="sng" algn="ctr">
              <a:solidFill>
                <a:srgbClr val="A38CC6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1ECAA1AC-552C-E9B2-C858-E1C3369102D1}"/>
              </a:ext>
            </a:extLst>
          </p:cNvPr>
          <p:cNvGrpSpPr/>
          <p:nvPr/>
        </p:nvGrpSpPr>
        <p:grpSpPr>
          <a:xfrm>
            <a:off x="10622869" y="2689687"/>
            <a:ext cx="114300" cy="394418"/>
            <a:chOff x="5102250" y="1398471"/>
            <a:chExt cx="114300" cy="394418"/>
          </a:xfrm>
        </p:grpSpPr>
        <p:cxnSp>
          <p:nvCxnSpPr>
            <p:cNvPr id="109" name="LineBasicStrong 19">
              <a:extLst>
                <a:ext uri="{FF2B5EF4-FFF2-40B4-BE49-F238E27FC236}">
                  <a16:creationId xmlns:a16="http://schemas.microsoft.com/office/drawing/2014/main" id="{23D79919-4D2E-69BD-2857-20C2FFB67C3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8983" y="1398471"/>
              <a:ext cx="0" cy="352480"/>
            </a:xfrm>
            <a:prstGeom prst="straightConnector1">
              <a:avLst/>
            </a:prstGeom>
            <a:ln w="28575" cap="flat">
              <a:solidFill>
                <a:srgbClr val="A38CC6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AA81C7C6-2DDC-D6E1-18C1-67D28F7E5C01}"/>
                </a:ext>
              </a:extLst>
            </p:cNvPr>
            <p:cNvSpPr>
              <a:spLocks/>
            </p:cNvSpPr>
            <p:nvPr/>
          </p:nvSpPr>
          <p:spPr>
            <a:xfrm rot="13500000" flipH="1">
              <a:off x="5102250" y="1678589"/>
              <a:ext cx="114300" cy="114300"/>
            </a:xfrm>
            <a:prstGeom prst="ellipse">
              <a:avLst/>
            </a:prstGeom>
            <a:solidFill>
              <a:srgbClr val="A38CC6"/>
            </a:solidFill>
            <a:ln w="9525" cap="flat" cmpd="sng" algn="ctr">
              <a:solidFill>
                <a:srgbClr val="A38CC6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 useBgFill="1">
        <p:nvSpPr>
          <p:cNvPr id="111" name="Text Placeholder 4">
            <a:extLst>
              <a:ext uri="{FF2B5EF4-FFF2-40B4-BE49-F238E27FC236}">
                <a16:creationId xmlns:a16="http://schemas.microsoft.com/office/drawing/2014/main" id="{00F0F4EE-7AA7-1BAA-A415-94D0D88FEC8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809939" y="3121735"/>
            <a:ext cx="638629" cy="3471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Sprint 2</a:t>
            </a:r>
            <a:br>
              <a:rPr lang="en-US" altLang="en-US" sz="120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</a:b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Mar 4-15</a:t>
            </a:r>
            <a:endParaRPr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sp useBgFill="1">
        <p:nvSpPr>
          <p:cNvPr id="112" name="Text Placeholder 4">
            <a:extLst>
              <a:ext uri="{FF2B5EF4-FFF2-40B4-BE49-F238E27FC236}">
                <a16:creationId xmlns:a16="http://schemas.microsoft.com/office/drawing/2014/main" id="{A02BF652-8704-83E1-53D1-B49FE64D0A0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673522" y="3122141"/>
            <a:ext cx="638629" cy="3471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Sprint 3</a:t>
            </a:r>
            <a:br>
              <a:rPr lang="en-US" altLang="en-US" sz="120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</a:b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Mar 18-29</a:t>
            </a:r>
            <a:endParaRPr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sp useBgFill="1">
        <p:nvSpPr>
          <p:cNvPr id="113" name="Text Placeholder 4">
            <a:extLst>
              <a:ext uri="{FF2B5EF4-FFF2-40B4-BE49-F238E27FC236}">
                <a16:creationId xmlns:a16="http://schemas.microsoft.com/office/drawing/2014/main" id="{8F02E694-F1D9-9EE7-7313-893D8C1276F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543767" y="3124839"/>
            <a:ext cx="638629" cy="3471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Sprint 4</a:t>
            </a:r>
            <a:br>
              <a:rPr lang="en-US" altLang="en-US" sz="120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</a:b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Apr 1-12</a:t>
            </a:r>
            <a:endParaRPr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sp useBgFill="1">
        <p:nvSpPr>
          <p:cNvPr id="114" name="Text Placeholder 4">
            <a:extLst>
              <a:ext uri="{FF2B5EF4-FFF2-40B4-BE49-F238E27FC236}">
                <a16:creationId xmlns:a16="http://schemas.microsoft.com/office/drawing/2014/main" id="{AD1ED079-0422-C2ED-ECA4-084BBE5629C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414012" y="3119257"/>
            <a:ext cx="638629" cy="3471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Sprint 5</a:t>
            </a:r>
            <a:br>
              <a:rPr lang="en-US" altLang="en-US" sz="120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</a:b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Apr 15-26</a:t>
            </a:r>
            <a:endParaRPr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sp useBgFill="1">
        <p:nvSpPr>
          <p:cNvPr id="115" name="Text Placeholder 4">
            <a:extLst>
              <a:ext uri="{FF2B5EF4-FFF2-40B4-BE49-F238E27FC236}">
                <a16:creationId xmlns:a16="http://schemas.microsoft.com/office/drawing/2014/main" id="{E7751378-6C40-5DB9-1DB4-6263B8FDF0D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404349" y="3122050"/>
            <a:ext cx="638629" cy="3471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Sprint 6</a:t>
            </a:r>
            <a:br>
              <a:rPr lang="en-US" altLang="en-US" sz="120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</a:b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Apr 29-May 10</a:t>
            </a:r>
            <a:endParaRPr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sp useBgFill="1">
        <p:nvSpPr>
          <p:cNvPr id="116" name="Text Placeholder 4">
            <a:extLst>
              <a:ext uri="{FF2B5EF4-FFF2-40B4-BE49-F238E27FC236}">
                <a16:creationId xmlns:a16="http://schemas.microsoft.com/office/drawing/2014/main" id="{17BD3447-80BB-F61A-BF90-D09F7FC5DCF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358864" y="3124838"/>
            <a:ext cx="638629" cy="3471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Sprint 7</a:t>
            </a:r>
            <a:br>
              <a:rPr lang="en-US" altLang="en-US" sz="120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</a:b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May 13-24</a:t>
            </a:r>
            <a:endParaRPr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sp useBgFill="1">
        <p:nvSpPr>
          <p:cNvPr id="120" name="Text Placeholder 4">
            <a:extLst>
              <a:ext uri="{FF2B5EF4-FFF2-40B4-BE49-F238E27FC236}">
                <a16:creationId xmlns:a16="http://schemas.microsoft.com/office/drawing/2014/main" id="{9B790D06-8384-369C-B49D-93C28D924A8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178418" y="3116307"/>
            <a:ext cx="638629" cy="3471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dirty="0">
                <a:solidFill>
                  <a:srgbClr val="000000"/>
                </a:solidFill>
                <a:latin typeface="Aptos" panose="020B0004020202020204" pitchFamily="34" charset="0"/>
                <a:cs typeface="Arial"/>
                <a:sym typeface="+mn-lt"/>
              </a:rPr>
              <a:t>MVP</a:t>
            </a:r>
            <a:endParaRPr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sp>
        <p:nvSpPr>
          <p:cNvPr id="121" name="Isosceles Triangle 120">
            <a:extLst>
              <a:ext uri="{FF2B5EF4-FFF2-40B4-BE49-F238E27FC236}">
                <a16:creationId xmlns:a16="http://schemas.microsoft.com/office/drawing/2014/main" id="{31F11E07-2D70-C0AF-8D92-847CECD59C41}"/>
              </a:ext>
            </a:extLst>
          </p:cNvPr>
          <p:cNvSpPr/>
          <p:nvPr/>
        </p:nvSpPr>
        <p:spPr>
          <a:xfrm>
            <a:off x="924503" y="2742768"/>
            <a:ext cx="229116" cy="197514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6D7D6447-06C7-8F77-10F1-54FEA91B55E2}"/>
              </a:ext>
            </a:extLst>
          </p:cNvPr>
          <p:cNvGrpSpPr/>
          <p:nvPr/>
        </p:nvGrpSpPr>
        <p:grpSpPr>
          <a:xfrm>
            <a:off x="8182264" y="1349153"/>
            <a:ext cx="2879277" cy="465913"/>
            <a:chOff x="4249737" y="1112128"/>
            <a:chExt cx="2649025" cy="461665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6AE9E008-09B9-8F85-DD90-E8D09E8AF55D}"/>
                </a:ext>
              </a:extLst>
            </p:cNvPr>
            <p:cNvSpPr txBox="1"/>
            <p:nvPr/>
          </p:nvSpPr>
          <p:spPr>
            <a:xfrm>
              <a:off x="4249737" y="1112128"/>
              <a:ext cx="2649025" cy="46166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200" b="1" dirty="0">
                  <a:latin typeface="Aptos" panose="020B0004020202020204" pitchFamily="34" charset="0"/>
                </a:rPr>
                <a:t>Legend </a:t>
              </a:r>
            </a:p>
            <a:p>
              <a:r>
                <a:rPr lang="en-CA" sz="1200" dirty="0">
                  <a:latin typeface="Aptos" panose="020B0004020202020204" pitchFamily="34" charset="0"/>
                </a:rPr>
                <a:t>Co-Sponsorship Group Meetings = </a:t>
              </a:r>
            </a:p>
          </p:txBody>
        </p:sp>
        <p:sp>
          <p:nvSpPr>
            <p:cNvPr id="123" name="Isosceles Triangle 122">
              <a:extLst>
                <a:ext uri="{FF2B5EF4-FFF2-40B4-BE49-F238E27FC236}">
                  <a16:creationId xmlns:a16="http://schemas.microsoft.com/office/drawing/2014/main" id="{63B384DF-84D2-5313-91F1-2D3FDEA1FE29}"/>
                </a:ext>
              </a:extLst>
            </p:cNvPr>
            <p:cNvSpPr/>
            <p:nvPr/>
          </p:nvSpPr>
          <p:spPr>
            <a:xfrm>
              <a:off x="6522434" y="1292977"/>
              <a:ext cx="229116" cy="197514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125" name="Isosceles Triangle 124">
            <a:extLst>
              <a:ext uri="{FF2B5EF4-FFF2-40B4-BE49-F238E27FC236}">
                <a16:creationId xmlns:a16="http://schemas.microsoft.com/office/drawing/2014/main" id="{CB8A4AEF-306A-4F22-4B5A-3D342B0093F7}"/>
              </a:ext>
            </a:extLst>
          </p:cNvPr>
          <p:cNvSpPr/>
          <p:nvPr/>
        </p:nvSpPr>
        <p:spPr>
          <a:xfrm>
            <a:off x="2426928" y="2742429"/>
            <a:ext cx="229116" cy="197514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26" name="Isosceles Triangle 125">
            <a:extLst>
              <a:ext uri="{FF2B5EF4-FFF2-40B4-BE49-F238E27FC236}">
                <a16:creationId xmlns:a16="http://schemas.microsoft.com/office/drawing/2014/main" id="{D6393B49-54FA-1E9B-6B32-F14E315096F5}"/>
              </a:ext>
            </a:extLst>
          </p:cNvPr>
          <p:cNvSpPr/>
          <p:nvPr/>
        </p:nvSpPr>
        <p:spPr>
          <a:xfrm>
            <a:off x="3692091" y="2742768"/>
            <a:ext cx="229116" cy="197514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27" name="Isosceles Triangle 126">
            <a:extLst>
              <a:ext uri="{FF2B5EF4-FFF2-40B4-BE49-F238E27FC236}">
                <a16:creationId xmlns:a16="http://schemas.microsoft.com/office/drawing/2014/main" id="{62492286-E948-8E4D-8DDB-E7012D3ACC19}"/>
              </a:ext>
            </a:extLst>
          </p:cNvPr>
          <p:cNvSpPr/>
          <p:nvPr/>
        </p:nvSpPr>
        <p:spPr>
          <a:xfrm>
            <a:off x="4858739" y="2742429"/>
            <a:ext cx="229116" cy="197514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28" name="Isosceles Triangle 127">
            <a:extLst>
              <a:ext uri="{FF2B5EF4-FFF2-40B4-BE49-F238E27FC236}">
                <a16:creationId xmlns:a16="http://schemas.microsoft.com/office/drawing/2014/main" id="{06C62ED9-E320-79B7-7DE6-C19C949941C9}"/>
              </a:ext>
            </a:extLst>
          </p:cNvPr>
          <p:cNvSpPr/>
          <p:nvPr/>
        </p:nvSpPr>
        <p:spPr>
          <a:xfrm>
            <a:off x="6441175" y="2740081"/>
            <a:ext cx="229116" cy="197514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29" name="Isosceles Triangle 128">
            <a:extLst>
              <a:ext uri="{FF2B5EF4-FFF2-40B4-BE49-F238E27FC236}">
                <a16:creationId xmlns:a16="http://schemas.microsoft.com/office/drawing/2014/main" id="{61D1E7C1-14A1-D764-1D4C-834413DB7848}"/>
              </a:ext>
            </a:extLst>
          </p:cNvPr>
          <p:cNvSpPr/>
          <p:nvPr/>
        </p:nvSpPr>
        <p:spPr>
          <a:xfrm>
            <a:off x="7306113" y="2740081"/>
            <a:ext cx="229116" cy="197514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30" name="Isosceles Triangle 129">
            <a:extLst>
              <a:ext uri="{FF2B5EF4-FFF2-40B4-BE49-F238E27FC236}">
                <a16:creationId xmlns:a16="http://schemas.microsoft.com/office/drawing/2014/main" id="{4A8BC318-77BB-4A61-F07E-0AE96BDCEA3F}"/>
              </a:ext>
            </a:extLst>
          </p:cNvPr>
          <p:cNvSpPr/>
          <p:nvPr/>
        </p:nvSpPr>
        <p:spPr>
          <a:xfrm>
            <a:off x="8182265" y="2740081"/>
            <a:ext cx="229116" cy="197514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31" name="Isosceles Triangle 130">
            <a:extLst>
              <a:ext uri="{FF2B5EF4-FFF2-40B4-BE49-F238E27FC236}">
                <a16:creationId xmlns:a16="http://schemas.microsoft.com/office/drawing/2014/main" id="{B4EC0DF7-1455-806E-BDD1-6472EF4A07C2}"/>
              </a:ext>
            </a:extLst>
          </p:cNvPr>
          <p:cNvSpPr/>
          <p:nvPr/>
        </p:nvSpPr>
        <p:spPr>
          <a:xfrm>
            <a:off x="10879053" y="2740081"/>
            <a:ext cx="229116" cy="197514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32" name="Isosceles Triangle 131">
            <a:extLst>
              <a:ext uri="{FF2B5EF4-FFF2-40B4-BE49-F238E27FC236}">
                <a16:creationId xmlns:a16="http://schemas.microsoft.com/office/drawing/2014/main" id="{B654B86F-0B14-A22B-F148-4790BE415810}"/>
              </a:ext>
            </a:extLst>
          </p:cNvPr>
          <p:cNvSpPr/>
          <p:nvPr/>
        </p:nvSpPr>
        <p:spPr>
          <a:xfrm>
            <a:off x="10116476" y="2740081"/>
            <a:ext cx="229116" cy="197514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553F2BF-D4AE-8B5F-18EC-2B1C2E31FDF3}"/>
              </a:ext>
            </a:extLst>
          </p:cNvPr>
          <p:cNvGrpSpPr/>
          <p:nvPr/>
        </p:nvGrpSpPr>
        <p:grpSpPr>
          <a:xfrm>
            <a:off x="11434503" y="2325024"/>
            <a:ext cx="114300" cy="768824"/>
            <a:chOff x="5102250" y="1024065"/>
            <a:chExt cx="114300" cy="768824"/>
          </a:xfrm>
        </p:grpSpPr>
        <p:cxnSp>
          <p:nvCxnSpPr>
            <p:cNvPr id="135" name="LineBasicStrong 19">
              <a:extLst>
                <a:ext uri="{FF2B5EF4-FFF2-40B4-BE49-F238E27FC236}">
                  <a16:creationId xmlns:a16="http://schemas.microsoft.com/office/drawing/2014/main" id="{10FE5492-2683-F4FF-4527-2610FE40555C}"/>
                </a:ext>
              </a:extLst>
            </p:cNvPr>
            <p:cNvCxnSpPr>
              <a:cxnSpLocks/>
              <a:endCxn id="13" idx="3"/>
            </p:cNvCxnSpPr>
            <p:nvPr/>
          </p:nvCxnSpPr>
          <p:spPr>
            <a:xfrm flipH="1" flipV="1">
              <a:off x="5158281" y="1024065"/>
              <a:ext cx="702" cy="726886"/>
            </a:xfrm>
            <a:prstGeom prst="straightConnector1">
              <a:avLst/>
            </a:prstGeom>
            <a:ln w="28575" cap="flat">
              <a:solidFill>
                <a:srgbClr val="A38CC6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97608C0F-4CA5-B093-9B2E-BD978809E634}"/>
                </a:ext>
              </a:extLst>
            </p:cNvPr>
            <p:cNvSpPr>
              <a:spLocks/>
            </p:cNvSpPr>
            <p:nvPr/>
          </p:nvSpPr>
          <p:spPr>
            <a:xfrm rot="13500000" flipH="1">
              <a:off x="5102250" y="1678589"/>
              <a:ext cx="114300" cy="114300"/>
            </a:xfrm>
            <a:prstGeom prst="ellipse">
              <a:avLst/>
            </a:prstGeom>
            <a:solidFill>
              <a:srgbClr val="A38CC6"/>
            </a:solidFill>
            <a:ln w="9525" cap="flat" cmpd="sng" algn="ctr">
              <a:solidFill>
                <a:srgbClr val="A38CC6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38" name="Left Bracket 137">
            <a:extLst>
              <a:ext uri="{FF2B5EF4-FFF2-40B4-BE49-F238E27FC236}">
                <a16:creationId xmlns:a16="http://schemas.microsoft.com/office/drawing/2014/main" id="{541947B8-6CD6-2E64-B9E4-506CC2A2A752}"/>
              </a:ext>
            </a:extLst>
          </p:cNvPr>
          <p:cNvSpPr/>
          <p:nvPr/>
        </p:nvSpPr>
        <p:spPr>
          <a:xfrm rot="16200000">
            <a:off x="889743" y="3074501"/>
            <a:ext cx="131373" cy="1255103"/>
          </a:xfrm>
          <a:prstGeom prst="leftBracket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39" name="Left Bracket 138">
            <a:extLst>
              <a:ext uri="{FF2B5EF4-FFF2-40B4-BE49-F238E27FC236}">
                <a16:creationId xmlns:a16="http://schemas.microsoft.com/office/drawing/2014/main" id="{8D24AB3A-068F-F9A1-7BEA-3E70AB518B42}"/>
              </a:ext>
            </a:extLst>
          </p:cNvPr>
          <p:cNvSpPr/>
          <p:nvPr/>
        </p:nvSpPr>
        <p:spPr>
          <a:xfrm rot="16200000">
            <a:off x="2429679" y="2885706"/>
            <a:ext cx="131373" cy="1632693"/>
          </a:xfrm>
          <a:prstGeom prst="leftBracket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40" name="Left Bracket 139">
            <a:extLst>
              <a:ext uri="{FF2B5EF4-FFF2-40B4-BE49-F238E27FC236}">
                <a16:creationId xmlns:a16="http://schemas.microsoft.com/office/drawing/2014/main" id="{AEC95421-A559-16EA-719B-4EC0231ABCA5}"/>
              </a:ext>
            </a:extLst>
          </p:cNvPr>
          <p:cNvSpPr/>
          <p:nvPr/>
        </p:nvSpPr>
        <p:spPr>
          <a:xfrm rot="16200000">
            <a:off x="3895440" y="3176428"/>
            <a:ext cx="131373" cy="1051247"/>
          </a:xfrm>
          <a:prstGeom prst="leftBracket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41" name="Left Bracket 140">
            <a:extLst>
              <a:ext uri="{FF2B5EF4-FFF2-40B4-BE49-F238E27FC236}">
                <a16:creationId xmlns:a16="http://schemas.microsoft.com/office/drawing/2014/main" id="{088880EF-9F0A-3683-AC7F-ADC0409FD569}"/>
              </a:ext>
            </a:extLst>
          </p:cNvPr>
          <p:cNvSpPr/>
          <p:nvPr/>
        </p:nvSpPr>
        <p:spPr>
          <a:xfrm rot="16200000">
            <a:off x="6415660" y="2766150"/>
            <a:ext cx="131373" cy="1877262"/>
          </a:xfrm>
          <a:prstGeom prst="leftBracket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42" name="Left Bracket 141">
            <a:extLst>
              <a:ext uri="{FF2B5EF4-FFF2-40B4-BE49-F238E27FC236}">
                <a16:creationId xmlns:a16="http://schemas.microsoft.com/office/drawing/2014/main" id="{D053F434-33E2-E7CD-41BF-7B25F9E1A2C6}"/>
              </a:ext>
            </a:extLst>
          </p:cNvPr>
          <p:cNvSpPr/>
          <p:nvPr/>
        </p:nvSpPr>
        <p:spPr>
          <a:xfrm rot="16200000">
            <a:off x="8538661" y="2644201"/>
            <a:ext cx="131373" cy="2121160"/>
          </a:xfrm>
          <a:prstGeom prst="leftBracket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43" name="Left Bracket 142">
            <a:extLst>
              <a:ext uri="{FF2B5EF4-FFF2-40B4-BE49-F238E27FC236}">
                <a16:creationId xmlns:a16="http://schemas.microsoft.com/office/drawing/2014/main" id="{13A420E2-C9A5-1A72-2090-F24E2670D20C}"/>
              </a:ext>
            </a:extLst>
          </p:cNvPr>
          <p:cNvSpPr/>
          <p:nvPr/>
        </p:nvSpPr>
        <p:spPr>
          <a:xfrm rot="16200000">
            <a:off x="10561665" y="2845339"/>
            <a:ext cx="131373" cy="1726365"/>
          </a:xfrm>
          <a:prstGeom prst="leftBracket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44" name="Text Placeholder 4">
            <a:extLst>
              <a:ext uri="{FF2B5EF4-FFF2-40B4-BE49-F238E27FC236}">
                <a16:creationId xmlns:a16="http://schemas.microsoft.com/office/drawing/2014/main" id="{F26FF17B-AEF7-4932-BC95-419F15DA738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27878" y="3837500"/>
            <a:ext cx="1255103" cy="24686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tos" panose="020B0004020202020204" pitchFamily="34" charset="0"/>
                <a:cs typeface="Arial"/>
              </a:rPr>
              <a:t>November</a:t>
            </a:r>
          </a:p>
        </p:txBody>
      </p:sp>
      <p:sp>
        <p:nvSpPr>
          <p:cNvPr id="145" name="Text Placeholder 4">
            <a:extLst>
              <a:ext uri="{FF2B5EF4-FFF2-40B4-BE49-F238E27FC236}">
                <a16:creationId xmlns:a16="http://schemas.microsoft.com/office/drawing/2014/main" id="{4C9E2E46-7C97-12D4-4157-273C0B3C0AD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679016" y="3829667"/>
            <a:ext cx="1632694" cy="24686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b="1" dirty="0">
                <a:solidFill>
                  <a:schemeClr val="tx2"/>
                </a:solidFill>
                <a:latin typeface="Aptos" panose="020B0004020202020204" pitchFamily="34" charset="0"/>
                <a:cs typeface="Arial"/>
              </a:rPr>
              <a:t>December</a:t>
            </a:r>
            <a:endParaRPr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sp>
        <p:nvSpPr>
          <p:cNvPr id="146" name="Text Placeholder 4">
            <a:extLst>
              <a:ext uri="{FF2B5EF4-FFF2-40B4-BE49-F238E27FC236}">
                <a16:creationId xmlns:a16="http://schemas.microsoft.com/office/drawing/2014/main" id="{98BFBE2A-8C43-0D45-8B71-A469F60D321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435501" y="3822199"/>
            <a:ext cx="1051247" cy="24686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b="1" dirty="0">
                <a:solidFill>
                  <a:srgbClr val="61458C"/>
                </a:solidFill>
                <a:latin typeface="Aptos" panose="020B0004020202020204" pitchFamily="34" charset="0"/>
                <a:cs typeface="Arial"/>
              </a:rPr>
              <a:t>January</a:t>
            </a:r>
            <a:endParaRPr lang="en-US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61458C"/>
              </a:solidFill>
              <a:effectLst/>
              <a:uLnTx/>
              <a:uFillTx/>
              <a:latin typeface="Aptos" panose="020B0004020202020204" pitchFamily="34" charset="0"/>
              <a:cs typeface="Arial"/>
            </a:endParaRPr>
          </a:p>
        </p:txBody>
      </p:sp>
      <p:sp>
        <p:nvSpPr>
          <p:cNvPr id="147" name="Text Placeholder 4">
            <a:extLst>
              <a:ext uri="{FF2B5EF4-FFF2-40B4-BE49-F238E27FC236}">
                <a16:creationId xmlns:a16="http://schemas.microsoft.com/office/drawing/2014/main" id="{69C84173-3CE1-380C-06A4-C79B49BCBD5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562476" y="3825286"/>
            <a:ext cx="900097" cy="24686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38CC6"/>
                </a:solidFill>
                <a:effectLst/>
                <a:uLnTx/>
                <a:uFillTx/>
                <a:latin typeface="Aptos" panose="020B0004020202020204" pitchFamily="34" charset="0"/>
                <a:cs typeface="Arial"/>
              </a:rPr>
              <a:t>February</a:t>
            </a:r>
          </a:p>
        </p:txBody>
      </p:sp>
      <p:sp>
        <p:nvSpPr>
          <p:cNvPr id="148" name="Left Bracket 147">
            <a:extLst>
              <a:ext uri="{FF2B5EF4-FFF2-40B4-BE49-F238E27FC236}">
                <a16:creationId xmlns:a16="http://schemas.microsoft.com/office/drawing/2014/main" id="{F76A93E7-8565-4E2A-99CB-75EF7B46AAAE}"/>
              </a:ext>
            </a:extLst>
          </p:cNvPr>
          <p:cNvSpPr/>
          <p:nvPr/>
        </p:nvSpPr>
        <p:spPr>
          <a:xfrm rot="16200000">
            <a:off x="4946838" y="3255478"/>
            <a:ext cx="131373" cy="900097"/>
          </a:xfrm>
          <a:prstGeom prst="leftBracket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49" name="Text Placeholder 4">
            <a:extLst>
              <a:ext uri="{FF2B5EF4-FFF2-40B4-BE49-F238E27FC236}">
                <a16:creationId xmlns:a16="http://schemas.microsoft.com/office/drawing/2014/main" id="{C46B3CC9-A29A-E1FD-78F4-A16E2FBB91E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538301" y="3824663"/>
            <a:ext cx="1881677" cy="24686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38CC6"/>
                </a:solidFill>
                <a:effectLst/>
                <a:uLnTx/>
                <a:uFillTx/>
                <a:latin typeface="Aptos" panose="020B0004020202020204" pitchFamily="34" charset="0"/>
                <a:cs typeface="Arial"/>
              </a:rPr>
              <a:t>March</a:t>
            </a:r>
          </a:p>
        </p:txBody>
      </p:sp>
      <p:sp>
        <p:nvSpPr>
          <p:cNvPr id="150" name="Text Placeholder 4">
            <a:extLst>
              <a:ext uri="{FF2B5EF4-FFF2-40B4-BE49-F238E27FC236}">
                <a16:creationId xmlns:a16="http://schemas.microsoft.com/office/drawing/2014/main" id="{A7E1B04E-577F-FFB0-34B2-AC00C7E9F85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557957" y="3824663"/>
            <a:ext cx="2105156" cy="24686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38CC6"/>
                </a:solidFill>
                <a:effectLst/>
                <a:uLnTx/>
                <a:uFillTx/>
                <a:latin typeface="Aptos" panose="020B0004020202020204" pitchFamily="34" charset="0"/>
                <a:cs typeface="Arial"/>
              </a:rPr>
              <a:t>April</a:t>
            </a:r>
          </a:p>
        </p:txBody>
      </p:sp>
      <p:sp>
        <p:nvSpPr>
          <p:cNvPr id="151" name="Text Placeholder 4">
            <a:extLst>
              <a:ext uri="{FF2B5EF4-FFF2-40B4-BE49-F238E27FC236}">
                <a16:creationId xmlns:a16="http://schemas.microsoft.com/office/drawing/2014/main" id="{CA5ED3BE-863F-9FAF-2B69-5DB6CED295F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764168" y="3819494"/>
            <a:ext cx="1726366" cy="24686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30396" indent="-22679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793" indent="-21599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7590" indent="-1511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7187" indent="-14759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  <a:defRPr/>
            </a:pPr>
            <a:r>
              <a:rPr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38CC6"/>
                </a:solidFill>
                <a:effectLst/>
                <a:uLnTx/>
                <a:uFillTx/>
                <a:latin typeface="Aptos" panose="020B0004020202020204" pitchFamily="34" charset="0"/>
                <a:cs typeface="Arial"/>
              </a:rPr>
              <a:t>May</a:t>
            </a:r>
          </a:p>
        </p:txBody>
      </p:sp>
    </p:spTree>
    <p:extLst>
      <p:ext uri="{BB962C8B-B14F-4D97-AF65-F5344CB8AC3E}">
        <p14:creationId xmlns:p14="http://schemas.microsoft.com/office/powerpoint/2010/main" val="7185777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>
            <a:extLst>
              <a:ext uri="{FF2B5EF4-FFF2-40B4-BE49-F238E27FC236}">
                <a16:creationId xmlns:a16="http://schemas.microsoft.com/office/drawing/2014/main" id="{BC6013ED-4DE4-76F1-9F74-CA0D6D966F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614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Rectangle 21">
            <a:extLst>
              <a:ext uri="{FF2B5EF4-FFF2-40B4-BE49-F238E27FC236}">
                <a16:creationId xmlns:a16="http://schemas.microsoft.com/office/drawing/2014/main" id="{D7B70A0D-6C25-8FD4-EAE0-2600F3EBD9C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C6B7DB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B7C524A7-E517-749D-B2B9-E1E582F7F186}"/>
              </a:ext>
            </a:extLst>
          </p:cNvPr>
          <p:cNvSpPr txBox="1">
            <a:spLocks/>
          </p:cNvSpPr>
          <p:nvPr/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AC3F618-7EE1-0849-8880-CB07A5842168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algn="r">
                <a:defRPr/>
              </a:pPr>
              <a:t>8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42608AC-1738-12F1-1B0B-7727947BB379}"/>
              </a:ext>
            </a:extLst>
          </p:cNvPr>
          <p:cNvSpPr txBox="1">
            <a:spLocks/>
          </p:cNvSpPr>
          <p:nvPr/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LLO Journey Lab</a:t>
            </a:r>
            <a:endParaRPr lang="en-CA"/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064C822E-81BF-8195-34B1-D86AFA1E6A12}"/>
              </a:ext>
            </a:extLst>
          </p:cNvPr>
          <p:cNvSpPr txBox="1">
            <a:spLocks/>
          </p:cNvSpPr>
          <p:nvPr/>
        </p:nvSpPr>
        <p:spPr>
          <a:xfrm>
            <a:off x="477680" y="909770"/>
            <a:ext cx="10467590" cy="3851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i="0" kern="1200">
                <a:solidFill>
                  <a:srgbClr val="175676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CA"/>
              <a:t>ZBD and MVP workshop result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F9CA036-EC66-6E94-AEFA-B5C1704FBCC3}"/>
              </a:ext>
            </a:extLst>
          </p:cNvPr>
          <p:cNvGrpSpPr/>
          <p:nvPr/>
        </p:nvGrpSpPr>
        <p:grpSpPr>
          <a:xfrm rot="17712934" flipH="1">
            <a:off x="734166" y="4979298"/>
            <a:ext cx="1102639" cy="2202026"/>
            <a:chOff x="11066666" y="1694661"/>
            <a:chExt cx="1102639" cy="2202026"/>
          </a:xfrm>
          <a:solidFill>
            <a:srgbClr val="A38CC6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0F27418-C78F-2CC9-289D-633BC96C9E0A}"/>
                </a:ext>
              </a:extLst>
            </p:cNvPr>
            <p:cNvSpPr/>
            <p:nvPr/>
          </p:nvSpPr>
          <p:spPr>
            <a:xfrm rot="316174">
              <a:off x="11293639" y="2478040"/>
              <a:ext cx="308373" cy="308269"/>
            </a:xfrm>
            <a:custGeom>
              <a:avLst/>
              <a:gdLst>
                <a:gd name="connsiteX0" fmla="*/ 142780 w 285369"/>
                <a:gd name="connsiteY0" fmla="*/ 285274 h 285273"/>
                <a:gd name="connsiteX1" fmla="*/ 140208 w 285369"/>
                <a:gd name="connsiteY1" fmla="*/ 285274 h 285273"/>
                <a:gd name="connsiteX2" fmla="*/ 130873 w 285369"/>
                <a:gd name="connsiteY2" fmla="*/ 275558 h 285273"/>
                <a:gd name="connsiteX3" fmla="*/ 140398 w 285369"/>
                <a:gd name="connsiteY3" fmla="*/ 266224 h 285273"/>
                <a:gd name="connsiteX4" fmla="*/ 142684 w 285369"/>
                <a:gd name="connsiteY4" fmla="*/ 266224 h 285273"/>
                <a:gd name="connsiteX5" fmla="*/ 152305 w 285369"/>
                <a:gd name="connsiteY5" fmla="*/ 275749 h 285273"/>
                <a:gd name="connsiteX6" fmla="*/ 142875 w 285369"/>
                <a:gd name="connsiteY6" fmla="*/ 285274 h 285273"/>
                <a:gd name="connsiteX7" fmla="*/ 207264 w 285369"/>
                <a:gd name="connsiteY7" fmla="*/ 268605 h 285273"/>
                <a:gd name="connsiteX8" fmla="*/ 198882 w 285369"/>
                <a:gd name="connsiteY8" fmla="*/ 263652 h 285273"/>
                <a:gd name="connsiteX9" fmla="*/ 202597 w 285369"/>
                <a:gd name="connsiteY9" fmla="*/ 250698 h 285273"/>
                <a:gd name="connsiteX10" fmla="*/ 204501 w 285369"/>
                <a:gd name="connsiteY10" fmla="*/ 249650 h 285273"/>
                <a:gd name="connsiteX11" fmla="*/ 217551 w 285369"/>
                <a:gd name="connsiteY11" fmla="*/ 253079 h 285273"/>
                <a:gd name="connsiteX12" fmla="*/ 214122 w 285369"/>
                <a:gd name="connsiteY12" fmla="*/ 266129 h 285273"/>
                <a:gd name="connsiteX13" fmla="*/ 211836 w 285369"/>
                <a:gd name="connsiteY13" fmla="*/ 267367 h 285273"/>
                <a:gd name="connsiteX14" fmla="*/ 207264 w 285369"/>
                <a:gd name="connsiteY14" fmla="*/ 268510 h 285273"/>
                <a:gd name="connsiteX15" fmla="*/ 76295 w 285369"/>
                <a:gd name="connsiteY15" fmla="*/ 267557 h 285273"/>
                <a:gd name="connsiteX16" fmla="*/ 71533 w 285369"/>
                <a:gd name="connsiteY16" fmla="*/ 266319 h 285273"/>
                <a:gd name="connsiteX17" fmla="*/ 69247 w 285369"/>
                <a:gd name="connsiteY17" fmla="*/ 264985 h 285273"/>
                <a:gd name="connsiteX18" fmla="*/ 66008 w 285369"/>
                <a:gd name="connsiteY18" fmla="*/ 251936 h 285273"/>
                <a:gd name="connsiteX19" fmla="*/ 79057 w 285369"/>
                <a:gd name="connsiteY19" fmla="*/ 248698 h 285273"/>
                <a:gd name="connsiteX20" fmla="*/ 80963 w 285369"/>
                <a:gd name="connsiteY20" fmla="*/ 249841 h 285273"/>
                <a:gd name="connsiteX21" fmla="*/ 84487 w 285369"/>
                <a:gd name="connsiteY21" fmla="*/ 262890 h 285273"/>
                <a:gd name="connsiteX22" fmla="*/ 76200 w 285369"/>
                <a:gd name="connsiteY22" fmla="*/ 267653 h 285273"/>
                <a:gd name="connsiteX23" fmla="*/ 256889 w 285369"/>
                <a:gd name="connsiteY23" fmla="*/ 220789 h 285273"/>
                <a:gd name="connsiteX24" fmla="*/ 251936 w 285369"/>
                <a:gd name="connsiteY24" fmla="*/ 219361 h 285273"/>
                <a:gd name="connsiteX25" fmla="*/ 248793 w 285369"/>
                <a:gd name="connsiteY25" fmla="*/ 206312 h 285273"/>
                <a:gd name="connsiteX26" fmla="*/ 249936 w 285369"/>
                <a:gd name="connsiteY26" fmla="*/ 204407 h 285273"/>
                <a:gd name="connsiteX27" fmla="*/ 262985 w 285369"/>
                <a:gd name="connsiteY27" fmla="*/ 200882 h 285273"/>
                <a:gd name="connsiteX28" fmla="*/ 266509 w 285369"/>
                <a:gd name="connsiteY28" fmla="*/ 213932 h 285273"/>
                <a:gd name="connsiteX29" fmla="*/ 265176 w 285369"/>
                <a:gd name="connsiteY29" fmla="*/ 216217 h 285273"/>
                <a:gd name="connsiteX30" fmla="*/ 256984 w 285369"/>
                <a:gd name="connsiteY30" fmla="*/ 220789 h 285273"/>
                <a:gd name="connsiteX31" fmla="*/ 27527 w 285369"/>
                <a:gd name="connsiteY31" fmla="*/ 218980 h 285273"/>
                <a:gd name="connsiteX32" fmla="*/ 19241 w 285369"/>
                <a:gd name="connsiteY32" fmla="*/ 214217 h 285273"/>
                <a:gd name="connsiteX33" fmla="*/ 18002 w 285369"/>
                <a:gd name="connsiteY33" fmla="*/ 212026 h 285273"/>
                <a:gd name="connsiteX34" fmla="*/ 21717 w 285369"/>
                <a:gd name="connsiteY34" fmla="*/ 199072 h 285273"/>
                <a:gd name="connsiteX35" fmla="*/ 34671 w 285369"/>
                <a:gd name="connsiteY35" fmla="*/ 202787 h 285273"/>
                <a:gd name="connsiteX36" fmla="*/ 35719 w 285369"/>
                <a:gd name="connsiteY36" fmla="*/ 204692 h 285273"/>
                <a:gd name="connsiteX37" fmla="*/ 32290 w 285369"/>
                <a:gd name="connsiteY37" fmla="*/ 217742 h 285273"/>
                <a:gd name="connsiteX38" fmla="*/ 27527 w 285369"/>
                <a:gd name="connsiteY38" fmla="*/ 219075 h 285273"/>
                <a:gd name="connsiteX39" fmla="*/ 275844 w 285369"/>
                <a:gd name="connsiteY39" fmla="*/ 154591 h 285273"/>
                <a:gd name="connsiteX40" fmla="*/ 275749 w 285369"/>
                <a:gd name="connsiteY40" fmla="*/ 154591 h 285273"/>
                <a:gd name="connsiteX41" fmla="*/ 266319 w 285369"/>
                <a:gd name="connsiteY41" fmla="*/ 144971 h 285273"/>
                <a:gd name="connsiteX42" fmla="*/ 266319 w 285369"/>
                <a:gd name="connsiteY42" fmla="*/ 142684 h 285273"/>
                <a:gd name="connsiteX43" fmla="*/ 275844 w 285369"/>
                <a:gd name="connsiteY43" fmla="*/ 132874 h 285273"/>
                <a:gd name="connsiteX44" fmla="*/ 285369 w 285369"/>
                <a:gd name="connsiteY44" fmla="*/ 142113 h 285273"/>
                <a:gd name="connsiteX45" fmla="*/ 285369 w 285369"/>
                <a:gd name="connsiteY45" fmla="*/ 145161 h 285273"/>
                <a:gd name="connsiteX46" fmla="*/ 275844 w 285369"/>
                <a:gd name="connsiteY46" fmla="*/ 154591 h 285273"/>
                <a:gd name="connsiteX47" fmla="*/ 9525 w 285369"/>
                <a:gd name="connsiteY47" fmla="*/ 152305 h 285273"/>
                <a:gd name="connsiteX48" fmla="*/ 0 w 285369"/>
                <a:gd name="connsiteY48" fmla="*/ 142875 h 285273"/>
                <a:gd name="connsiteX49" fmla="*/ 0 w 285369"/>
                <a:gd name="connsiteY49" fmla="*/ 140303 h 285273"/>
                <a:gd name="connsiteX50" fmla="*/ 9620 w 285369"/>
                <a:gd name="connsiteY50" fmla="*/ 130874 h 285273"/>
                <a:gd name="connsiteX51" fmla="*/ 19050 w 285369"/>
                <a:gd name="connsiteY51" fmla="*/ 140494 h 285273"/>
                <a:gd name="connsiteX52" fmla="*/ 19050 w 285369"/>
                <a:gd name="connsiteY52" fmla="*/ 142494 h 285273"/>
                <a:gd name="connsiteX53" fmla="*/ 9525 w 285369"/>
                <a:gd name="connsiteY53" fmla="*/ 152114 h 285273"/>
                <a:gd name="connsiteX54" fmla="*/ 258985 w 285369"/>
                <a:gd name="connsiteY54" fmla="*/ 87249 h 285273"/>
                <a:gd name="connsiteX55" fmla="*/ 250698 w 285369"/>
                <a:gd name="connsiteY55" fmla="*/ 82391 h 285273"/>
                <a:gd name="connsiteX56" fmla="*/ 249555 w 285369"/>
                <a:gd name="connsiteY56" fmla="*/ 80486 h 285273"/>
                <a:gd name="connsiteX57" fmla="*/ 252984 w 285369"/>
                <a:gd name="connsiteY57" fmla="*/ 67437 h 285273"/>
                <a:gd name="connsiteX58" fmla="*/ 266033 w 285369"/>
                <a:gd name="connsiteY58" fmla="*/ 70866 h 285273"/>
                <a:gd name="connsiteX59" fmla="*/ 267271 w 285369"/>
                <a:gd name="connsiteY59" fmla="*/ 73057 h 285273"/>
                <a:gd name="connsiteX60" fmla="*/ 263652 w 285369"/>
                <a:gd name="connsiteY60" fmla="*/ 86011 h 285273"/>
                <a:gd name="connsiteX61" fmla="*/ 258985 w 285369"/>
                <a:gd name="connsiteY61" fmla="*/ 87249 h 285273"/>
                <a:gd name="connsiteX62" fmla="*/ 27146 w 285369"/>
                <a:gd name="connsiteY62" fmla="*/ 85916 h 285273"/>
                <a:gd name="connsiteX63" fmla="*/ 22384 w 285369"/>
                <a:gd name="connsiteY63" fmla="*/ 84677 h 285273"/>
                <a:gd name="connsiteX64" fmla="*/ 18859 w 285369"/>
                <a:gd name="connsiteY64" fmla="*/ 71628 h 285273"/>
                <a:gd name="connsiteX65" fmla="*/ 20193 w 285369"/>
                <a:gd name="connsiteY65" fmla="*/ 69437 h 285273"/>
                <a:gd name="connsiteX66" fmla="*/ 33242 w 285369"/>
                <a:gd name="connsiteY66" fmla="*/ 66199 h 285273"/>
                <a:gd name="connsiteX67" fmla="*/ 36481 w 285369"/>
                <a:gd name="connsiteY67" fmla="*/ 79248 h 285273"/>
                <a:gd name="connsiteX68" fmla="*/ 35338 w 285369"/>
                <a:gd name="connsiteY68" fmla="*/ 81153 h 285273"/>
                <a:gd name="connsiteX69" fmla="*/ 27051 w 285369"/>
                <a:gd name="connsiteY69" fmla="*/ 85916 h 285273"/>
                <a:gd name="connsiteX70" fmla="*/ 210884 w 285369"/>
                <a:gd name="connsiteY70" fmla="*/ 37909 h 285273"/>
                <a:gd name="connsiteX71" fmla="*/ 206026 w 285369"/>
                <a:gd name="connsiteY71" fmla="*/ 36576 h 285273"/>
                <a:gd name="connsiteX72" fmla="*/ 204121 w 285369"/>
                <a:gd name="connsiteY72" fmla="*/ 35433 h 285273"/>
                <a:gd name="connsiteX73" fmla="*/ 200596 w 285369"/>
                <a:gd name="connsiteY73" fmla="*/ 22384 h 285273"/>
                <a:gd name="connsiteX74" fmla="*/ 213550 w 285369"/>
                <a:gd name="connsiteY74" fmla="*/ 18859 h 285273"/>
                <a:gd name="connsiteX75" fmla="*/ 215836 w 285369"/>
                <a:gd name="connsiteY75" fmla="*/ 20193 h 285273"/>
                <a:gd name="connsiteX76" fmla="*/ 219075 w 285369"/>
                <a:gd name="connsiteY76" fmla="*/ 33242 h 285273"/>
                <a:gd name="connsiteX77" fmla="*/ 210884 w 285369"/>
                <a:gd name="connsiteY77" fmla="*/ 37814 h 285273"/>
                <a:gd name="connsiteX78" fmla="*/ 75724 w 285369"/>
                <a:gd name="connsiteY78" fmla="*/ 37052 h 285273"/>
                <a:gd name="connsiteX79" fmla="*/ 67437 w 285369"/>
                <a:gd name="connsiteY79" fmla="*/ 32290 h 285273"/>
                <a:gd name="connsiteX80" fmla="*/ 70866 w 285369"/>
                <a:gd name="connsiteY80" fmla="*/ 19241 h 285273"/>
                <a:gd name="connsiteX81" fmla="*/ 73057 w 285369"/>
                <a:gd name="connsiteY81" fmla="*/ 18002 h 285273"/>
                <a:gd name="connsiteX82" fmla="*/ 86010 w 285369"/>
                <a:gd name="connsiteY82" fmla="*/ 21622 h 285273"/>
                <a:gd name="connsiteX83" fmla="*/ 82391 w 285369"/>
                <a:gd name="connsiteY83" fmla="*/ 34576 h 285273"/>
                <a:gd name="connsiteX84" fmla="*/ 80486 w 285369"/>
                <a:gd name="connsiteY84" fmla="*/ 35719 h 285273"/>
                <a:gd name="connsiteX85" fmla="*/ 75724 w 285369"/>
                <a:gd name="connsiteY85" fmla="*/ 37052 h 285273"/>
                <a:gd name="connsiteX86" fmla="*/ 144589 w 285369"/>
                <a:gd name="connsiteY86" fmla="*/ 19050 h 285273"/>
                <a:gd name="connsiteX87" fmla="*/ 142589 w 285369"/>
                <a:gd name="connsiteY87" fmla="*/ 19050 h 285273"/>
                <a:gd name="connsiteX88" fmla="*/ 132874 w 285369"/>
                <a:gd name="connsiteY88" fmla="*/ 9525 h 285273"/>
                <a:gd name="connsiteX89" fmla="*/ 142208 w 285369"/>
                <a:gd name="connsiteY89" fmla="*/ 0 h 285273"/>
                <a:gd name="connsiteX90" fmla="*/ 144780 w 285369"/>
                <a:gd name="connsiteY90" fmla="*/ 0 h 285273"/>
                <a:gd name="connsiteX91" fmla="*/ 154210 w 285369"/>
                <a:gd name="connsiteY91" fmla="*/ 9716 h 285273"/>
                <a:gd name="connsiteX92" fmla="*/ 144685 w 285369"/>
                <a:gd name="connsiteY92" fmla="*/ 19145 h 285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85369" h="285273">
                  <a:moveTo>
                    <a:pt x="142780" y="285274"/>
                  </a:moveTo>
                  <a:lnTo>
                    <a:pt x="140208" y="285274"/>
                  </a:lnTo>
                  <a:cubicBezTo>
                    <a:pt x="134969" y="285179"/>
                    <a:pt x="130778" y="280797"/>
                    <a:pt x="130873" y="275558"/>
                  </a:cubicBezTo>
                  <a:cubicBezTo>
                    <a:pt x="130969" y="270320"/>
                    <a:pt x="135255" y="266224"/>
                    <a:pt x="140398" y="266224"/>
                  </a:cubicBezTo>
                  <a:lnTo>
                    <a:pt x="142684" y="266224"/>
                  </a:lnTo>
                  <a:cubicBezTo>
                    <a:pt x="147923" y="266224"/>
                    <a:pt x="152305" y="270510"/>
                    <a:pt x="152305" y="275749"/>
                  </a:cubicBezTo>
                  <a:cubicBezTo>
                    <a:pt x="152305" y="280988"/>
                    <a:pt x="148114" y="285274"/>
                    <a:pt x="142875" y="285274"/>
                  </a:cubicBezTo>
                  <a:close/>
                  <a:moveTo>
                    <a:pt x="207264" y="268605"/>
                  </a:moveTo>
                  <a:cubicBezTo>
                    <a:pt x="203930" y="268605"/>
                    <a:pt x="200692" y="266795"/>
                    <a:pt x="198882" y="263652"/>
                  </a:cubicBezTo>
                  <a:cubicBezTo>
                    <a:pt x="196310" y="259080"/>
                    <a:pt x="198025" y="253270"/>
                    <a:pt x="202597" y="250698"/>
                  </a:cubicBezTo>
                  <a:lnTo>
                    <a:pt x="204501" y="249650"/>
                  </a:lnTo>
                  <a:cubicBezTo>
                    <a:pt x="208979" y="246983"/>
                    <a:pt x="214884" y="248507"/>
                    <a:pt x="217551" y="253079"/>
                  </a:cubicBezTo>
                  <a:cubicBezTo>
                    <a:pt x="220218" y="257651"/>
                    <a:pt x="218694" y="263462"/>
                    <a:pt x="214122" y="266129"/>
                  </a:cubicBezTo>
                  <a:lnTo>
                    <a:pt x="211836" y="267367"/>
                  </a:lnTo>
                  <a:cubicBezTo>
                    <a:pt x="210407" y="268224"/>
                    <a:pt x="208788" y="268510"/>
                    <a:pt x="207264" y="268510"/>
                  </a:cubicBezTo>
                  <a:close/>
                  <a:moveTo>
                    <a:pt x="76295" y="267557"/>
                  </a:moveTo>
                  <a:cubicBezTo>
                    <a:pt x="74676" y="267557"/>
                    <a:pt x="73057" y="267176"/>
                    <a:pt x="71533" y="266319"/>
                  </a:cubicBezTo>
                  <a:lnTo>
                    <a:pt x="69247" y="264985"/>
                  </a:lnTo>
                  <a:cubicBezTo>
                    <a:pt x="64770" y="262318"/>
                    <a:pt x="63246" y="256413"/>
                    <a:pt x="66008" y="251936"/>
                  </a:cubicBezTo>
                  <a:cubicBezTo>
                    <a:pt x="68770" y="247459"/>
                    <a:pt x="74581" y="245935"/>
                    <a:pt x="79057" y="248698"/>
                  </a:cubicBezTo>
                  <a:lnTo>
                    <a:pt x="80963" y="249841"/>
                  </a:lnTo>
                  <a:cubicBezTo>
                    <a:pt x="85534" y="252413"/>
                    <a:pt x="87153" y="258318"/>
                    <a:pt x="84487" y="262890"/>
                  </a:cubicBezTo>
                  <a:cubicBezTo>
                    <a:pt x="82772" y="265938"/>
                    <a:pt x="79534" y="267653"/>
                    <a:pt x="76200" y="267653"/>
                  </a:cubicBezTo>
                  <a:close/>
                  <a:moveTo>
                    <a:pt x="256889" y="220789"/>
                  </a:moveTo>
                  <a:cubicBezTo>
                    <a:pt x="255175" y="220789"/>
                    <a:pt x="253460" y="220313"/>
                    <a:pt x="251936" y="219361"/>
                  </a:cubicBezTo>
                  <a:cubicBezTo>
                    <a:pt x="247459" y="216599"/>
                    <a:pt x="246031" y="210788"/>
                    <a:pt x="248793" y="206312"/>
                  </a:cubicBezTo>
                  <a:lnTo>
                    <a:pt x="249936" y="204407"/>
                  </a:lnTo>
                  <a:cubicBezTo>
                    <a:pt x="252603" y="199834"/>
                    <a:pt x="258413" y="198310"/>
                    <a:pt x="262985" y="200882"/>
                  </a:cubicBezTo>
                  <a:cubicBezTo>
                    <a:pt x="267557" y="203549"/>
                    <a:pt x="269081" y="209359"/>
                    <a:pt x="266509" y="213932"/>
                  </a:cubicBezTo>
                  <a:lnTo>
                    <a:pt x="265176" y="216217"/>
                  </a:lnTo>
                  <a:cubicBezTo>
                    <a:pt x="263366" y="219170"/>
                    <a:pt x="260223" y="220789"/>
                    <a:pt x="256984" y="220789"/>
                  </a:cubicBezTo>
                  <a:close/>
                  <a:moveTo>
                    <a:pt x="27527" y="218980"/>
                  </a:moveTo>
                  <a:cubicBezTo>
                    <a:pt x="24289" y="218980"/>
                    <a:pt x="21050" y="217265"/>
                    <a:pt x="19241" y="214217"/>
                  </a:cubicBezTo>
                  <a:lnTo>
                    <a:pt x="18002" y="212026"/>
                  </a:lnTo>
                  <a:cubicBezTo>
                    <a:pt x="15430" y="207454"/>
                    <a:pt x="17145" y="201644"/>
                    <a:pt x="21717" y="199072"/>
                  </a:cubicBezTo>
                  <a:cubicBezTo>
                    <a:pt x="26289" y="196501"/>
                    <a:pt x="32099" y="198215"/>
                    <a:pt x="34671" y="202787"/>
                  </a:cubicBezTo>
                  <a:lnTo>
                    <a:pt x="35719" y="204692"/>
                  </a:lnTo>
                  <a:cubicBezTo>
                    <a:pt x="38385" y="209264"/>
                    <a:pt x="36862" y="215075"/>
                    <a:pt x="32290" y="217742"/>
                  </a:cubicBezTo>
                  <a:cubicBezTo>
                    <a:pt x="30766" y="218599"/>
                    <a:pt x="29146" y="219075"/>
                    <a:pt x="27527" y="219075"/>
                  </a:cubicBezTo>
                  <a:close/>
                  <a:moveTo>
                    <a:pt x="275844" y="154591"/>
                  </a:moveTo>
                  <a:lnTo>
                    <a:pt x="275749" y="154591"/>
                  </a:lnTo>
                  <a:cubicBezTo>
                    <a:pt x="270510" y="154591"/>
                    <a:pt x="266224" y="150209"/>
                    <a:pt x="266319" y="144971"/>
                  </a:cubicBezTo>
                  <a:lnTo>
                    <a:pt x="266319" y="142684"/>
                  </a:lnTo>
                  <a:cubicBezTo>
                    <a:pt x="266319" y="137446"/>
                    <a:pt x="270605" y="132874"/>
                    <a:pt x="275844" y="132874"/>
                  </a:cubicBezTo>
                  <a:cubicBezTo>
                    <a:pt x="281083" y="132874"/>
                    <a:pt x="285369" y="136874"/>
                    <a:pt x="285369" y="142113"/>
                  </a:cubicBezTo>
                  <a:lnTo>
                    <a:pt x="285369" y="145161"/>
                  </a:lnTo>
                  <a:cubicBezTo>
                    <a:pt x="285369" y="150400"/>
                    <a:pt x="281083" y="154591"/>
                    <a:pt x="275844" y="154591"/>
                  </a:cubicBezTo>
                  <a:close/>
                  <a:moveTo>
                    <a:pt x="9525" y="152305"/>
                  </a:moveTo>
                  <a:cubicBezTo>
                    <a:pt x="4286" y="152305"/>
                    <a:pt x="0" y="148209"/>
                    <a:pt x="0" y="142875"/>
                  </a:cubicBezTo>
                  <a:lnTo>
                    <a:pt x="0" y="140303"/>
                  </a:lnTo>
                  <a:cubicBezTo>
                    <a:pt x="0" y="135064"/>
                    <a:pt x="4476" y="130492"/>
                    <a:pt x="9620" y="130874"/>
                  </a:cubicBezTo>
                  <a:cubicBezTo>
                    <a:pt x="14859" y="130874"/>
                    <a:pt x="19050" y="135255"/>
                    <a:pt x="19050" y="140494"/>
                  </a:cubicBezTo>
                  <a:lnTo>
                    <a:pt x="19050" y="142494"/>
                  </a:lnTo>
                  <a:cubicBezTo>
                    <a:pt x="19050" y="147733"/>
                    <a:pt x="14764" y="152114"/>
                    <a:pt x="9525" y="152114"/>
                  </a:cubicBezTo>
                  <a:close/>
                  <a:moveTo>
                    <a:pt x="258985" y="87249"/>
                  </a:moveTo>
                  <a:cubicBezTo>
                    <a:pt x="255651" y="87249"/>
                    <a:pt x="252413" y="85534"/>
                    <a:pt x="250698" y="82391"/>
                  </a:cubicBezTo>
                  <a:lnTo>
                    <a:pt x="249555" y="80486"/>
                  </a:lnTo>
                  <a:cubicBezTo>
                    <a:pt x="246888" y="75914"/>
                    <a:pt x="248412" y="70104"/>
                    <a:pt x="252984" y="67437"/>
                  </a:cubicBezTo>
                  <a:cubicBezTo>
                    <a:pt x="257460" y="64770"/>
                    <a:pt x="263366" y="66294"/>
                    <a:pt x="266033" y="70866"/>
                  </a:cubicBezTo>
                  <a:lnTo>
                    <a:pt x="267271" y="73057"/>
                  </a:lnTo>
                  <a:cubicBezTo>
                    <a:pt x="269843" y="77629"/>
                    <a:pt x="268224" y="83439"/>
                    <a:pt x="263652" y="86011"/>
                  </a:cubicBezTo>
                  <a:cubicBezTo>
                    <a:pt x="262223" y="86868"/>
                    <a:pt x="260604" y="87249"/>
                    <a:pt x="258985" y="87249"/>
                  </a:cubicBezTo>
                  <a:close/>
                  <a:moveTo>
                    <a:pt x="27146" y="85916"/>
                  </a:moveTo>
                  <a:cubicBezTo>
                    <a:pt x="25527" y="85916"/>
                    <a:pt x="23908" y="85534"/>
                    <a:pt x="22384" y="84677"/>
                  </a:cubicBezTo>
                  <a:cubicBezTo>
                    <a:pt x="17812" y="82105"/>
                    <a:pt x="16193" y="76200"/>
                    <a:pt x="18859" y="71628"/>
                  </a:cubicBezTo>
                  <a:lnTo>
                    <a:pt x="20193" y="69437"/>
                  </a:lnTo>
                  <a:cubicBezTo>
                    <a:pt x="22860" y="64960"/>
                    <a:pt x="28766" y="63437"/>
                    <a:pt x="33242" y="66199"/>
                  </a:cubicBezTo>
                  <a:cubicBezTo>
                    <a:pt x="37719" y="68866"/>
                    <a:pt x="39243" y="74771"/>
                    <a:pt x="36481" y="79248"/>
                  </a:cubicBezTo>
                  <a:lnTo>
                    <a:pt x="35338" y="81153"/>
                  </a:lnTo>
                  <a:cubicBezTo>
                    <a:pt x="33623" y="84201"/>
                    <a:pt x="30385" y="85916"/>
                    <a:pt x="27051" y="85916"/>
                  </a:cubicBezTo>
                  <a:close/>
                  <a:moveTo>
                    <a:pt x="210884" y="37909"/>
                  </a:moveTo>
                  <a:cubicBezTo>
                    <a:pt x="209169" y="37909"/>
                    <a:pt x="207550" y="37433"/>
                    <a:pt x="206026" y="36576"/>
                  </a:cubicBezTo>
                  <a:lnTo>
                    <a:pt x="204121" y="35433"/>
                  </a:lnTo>
                  <a:cubicBezTo>
                    <a:pt x="199549" y="32861"/>
                    <a:pt x="197929" y="26956"/>
                    <a:pt x="200596" y="22384"/>
                  </a:cubicBezTo>
                  <a:cubicBezTo>
                    <a:pt x="203168" y="17812"/>
                    <a:pt x="209074" y="16192"/>
                    <a:pt x="213550" y="18859"/>
                  </a:cubicBezTo>
                  <a:lnTo>
                    <a:pt x="215836" y="20193"/>
                  </a:lnTo>
                  <a:cubicBezTo>
                    <a:pt x="220313" y="22860"/>
                    <a:pt x="221837" y="28766"/>
                    <a:pt x="219075" y="33242"/>
                  </a:cubicBezTo>
                  <a:cubicBezTo>
                    <a:pt x="217265" y="36195"/>
                    <a:pt x="214122" y="37814"/>
                    <a:pt x="210884" y="37814"/>
                  </a:cubicBezTo>
                  <a:close/>
                  <a:moveTo>
                    <a:pt x="75724" y="37052"/>
                  </a:moveTo>
                  <a:cubicBezTo>
                    <a:pt x="72485" y="37052"/>
                    <a:pt x="69247" y="35338"/>
                    <a:pt x="67437" y="32290"/>
                  </a:cubicBezTo>
                  <a:cubicBezTo>
                    <a:pt x="64770" y="27718"/>
                    <a:pt x="66294" y="21908"/>
                    <a:pt x="70866" y="19241"/>
                  </a:cubicBezTo>
                  <a:lnTo>
                    <a:pt x="73057" y="18002"/>
                  </a:lnTo>
                  <a:cubicBezTo>
                    <a:pt x="77628" y="15430"/>
                    <a:pt x="83439" y="17050"/>
                    <a:pt x="86010" y="21622"/>
                  </a:cubicBezTo>
                  <a:cubicBezTo>
                    <a:pt x="88582" y="26194"/>
                    <a:pt x="86963" y="32004"/>
                    <a:pt x="82391" y="34576"/>
                  </a:cubicBezTo>
                  <a:lnTo>
                    <a:pt x="80486" y="35719"/>
                  </a:lnTo>
                  <a:cubicBezTo>
                    <a:pt x="78962" y="36576"/>
                    <a:pt x="77343" y="37052"/>
                    <a:pt x="75724" y="37052"/>
                  </a:cubicBezTo>
                  <a:close/>
                  <a:moveTo>
                    <a:pt x="144589" y="19050"/>
                  </a:moveTo>
                  <a:lnTo>
                    <a:pt x="142589" y="19050"/>
                  </a:lnTo>
                  <a:cubicBezTo>
                    <a:pt x="137350" y="19050"/>
                    <a:pt x="132874" y="14764"/>
                    <a:pt x="132874" y="9525"/>
                  </a:cubicBezTo>
                  <a:cubicBezTo>
                    <a:pt x="132874" y="4286"/>
                    <a:pt x="136874" y="0"/>
                    <a:pt x="142208" y="0"/>
                  </a:cubicBezTo>
                  <a:lnTo>
                    <a:pt x="144780" y="0"/>
                  </a:lnTo>
                  <a:cubicBezTo>
                    <a:pt x="150019" y="0"/>
                    <a:pt x="154210" y="4382"/>
                    <a:pt x="154210" y="9716"/>
                  </a:cubicBezTo>
                  <a:cubicBezTo>
                    <a:pt x="154210" y="14954"/>
                    <a:pt x="149923" y="19145"/>
                    <a:pt x="144685" y="191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F5D2E34-6154-480D-C4E8-73368AEACD0B}"/>
                </a:ext>
              </a:extLst>
            </p:cNvPr>
            <p:cNvSpPr/>
            <p:nvPr/>
          </p:nvSpPr>
          <p:spPr>
            <a:xfrm rot="316174">
              <a:off x="11344799" y="2529185"/>
              <a:ext cx="205857" cy="205857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5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5" y="0"/>
                    <a:pt x="190500" y="42645"/>
                    <a:pt x="190500" y="95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8109AACB-29E8-EB4B-C7AF-0873518DEE46}"/>
                </a:ext>
              </a:extLst>
            </p:cNvPr>
            <p:cNvSpPr/>
            <p:nvPr/>
          </p:nvSpPr>
          <p:spPr>
            <a:xfrm rot="316174">
              <a:off x="11769944" y="2356221"/>
              <a:ext cx="399361" cy="399258"/>
            </a:xfrm>
            <a:custGeom>
              <a:avLst/>
              <a:gdLst>
                <a:gd name="connsiteX0" fmla="*/ 184975 w 369569"/>
                <a:gd name="connsiteY0" fmla="*/ 369475 h 369474"/>
                <a:gd name="connsiteX1" fmla="*/ 182499 w 369569"/>
                <a:gd name="connsiteY1" fmla="*/ 369475 h 369474"/>
                <a:gd name="connsiteX2" fmla="*/ 173069 w 369569"/>
                <a:gd name="connsiteY2" fmla="*/ 359854 h 369474"/>
                <a:gd name="connsiteX3" fmla="*/ 182594 w 369569"/>
                <a:gd name="connsiteY3" fmla="*/ 350425 h 369474"/>
                <a:gd name="connsiteX4" fmla="*/ 184785 w 369569"/>
                <a:gd name="connsiteY4" fmla="*/ 350425 h 369474"/>
                <a:gd name="connsiteX5" fmla="*/ 194405 w 369569"/>
                <a:gd name="connsiteY5" fmla="*/ 359950 h 369474"/>
                <a:gd name="connsiteX6" fmla="*/ 184975 w 369569"/>
                <a:gd name="connsiteY6" fmla="*/ 369475 h 369474"/>
                <a:gd name="connsiteX7" fmla="*/ 249841 w 369569"/>
                <a:gd name="connsiteY7" fmla="*/ 356997 h 369474"/>
                <a:gd name="connsiteX8" fmla="*/ 240982 w 369569"/>
                <a:gd name="connsiteY8" fmla="*/ 350996 h 369474"/>
                <a:gd name="connsiteX9" fmla="*/ 246316 w 369569"/>
                <a:gd name="connsiteY9" fmla="*/ 338614 h 369474"/>
                <a:gd name="connsiteX10" fmla="*/ 248317 w 369569"/>
                <a:gd name="connsiteY10" fmla="*/ 337757 h 369474"/>
                <a:gd name="connsiteX11" fmla="*/ 260795 w 369569"/>
                <a:gd name="connsiteY11" fmla="*/ 342900 h 369474"/>
                <a:gd name="connsiteX12" fmla="*/ 255651 w 369569"/>
                <a:gd name="connsiteY12" fmla="*/ 355378 h 369474"/>
                <a:gd name="connsiteX13" fmla="*/ 253365 w 369569"/>
                <a:gd name="connsiteY13" fmla="*/ 356330 h 369474"/>
                <a:gd name="connsiteX14" fmla="*/ 249841 w 369569"/>
                <a:gd name="connsiteY14" fmla="*/ 356997 h 369474"/>
                <a:gd name="connsiteX15" fmla="*/ 117920 w 369569"/>
                <a:gd name="connsiteY15" fmla="*/ 356235 h 369474"/>
                <a:gd name="connsiteX16" fmla="*/ 114300 w 369569"/>
                <a:gd name="connsiteY16" fmla="*/ 355473 h 369474"/>
                <a:gd name="connsiteX17" fmla="*/ 111919 w 369569"/>
                <a:gd name="connsiteY17" fmla="*/ 354425 h 369474"/>
                <a:gd name="connsiteX18" fmla="*/ 106966 w 369569"/>
                <a:gd name="connsiteY18" fmla="*/ 341852 h 369474"/>
                <a:gd name="connsiteX19" fmla="*/ 119539 w 369569"/>
                <a:gd name="connsiteY19" fmla="*/ 336899 h 369474"/>
                <a:gd name="connsiteX20" fmla="*/ 121539 w 369569"/>
                <a:gd name="connsiteY20" fmla="*/ 337757 h 369474"/>
                <a:gd name="connsiteX21" fmla="*/ 126682 w 369569"/>
                <a:gd name="connsiteY21" fmla="*/ 350234 h 369474"/>
                <a:gd name="connsiteX22" fmla="*/ 117920 w 369569"/>
                <a:gd name="connsiteY22" fmla="*/ 356140 h 369474"/>
                <a:gd name="connsiteX23" fmla="*/ 307086 w 369569"/>
                <a:gd name="connsiteY23" fmla="*/ 319754 h 369474"/>
                <a:gd name="connsiteX24" fmla="*/ 300228 w 369569"/>
                <a:gd name="connsiteY24" fmla="*/ 316897 h 369474"/>
                <a:gd name="connsiteX25" fmla="*/ 300418 w 369569"/>
                <a:gd name="connsiteY25" fmla="*/ 303466 h 369474"/>
                <a:gd name="connsiteX26" fmla="*/ 302037 w 369569"/>
                <a:gd name="connsiteY26" fmla="*/ 301847 h 369474"/>
                <a:gd name="connsiteX27" fmla="*/ 315468 w 369569"/>
                <a:gd name="connsiteY27" fmla="*/ 301847 h 369474"/>
                <a:gd name="connsiteX28" fmla="*/ 315468 w 369569"/>
                <a:gd name="connsiteY28" fmla="*/ 315278 h 369474"/>
                <a:gd name="connsiteX29" fmla="*/ 313658 w 369569"/>
                <a:gd name="connsiteY29" fmla="*/ 316992 h 369474"/>
                <a:gd name="connsiteX30" fmla="*/ 306991 w 369569"/>
                <a:gd name="connsiteY30" fmla="*/ 319659 h 369474"/>
                <a:gd name="connsiteX31" fmla="*/ 61055 w 369569"/>
                <a:gd name="connsiteY31" fmla="*/ 318326 h 369474"/>
                <a:gd name="connsiteX32" fmla="*/ 54293 w 369569"/>
                <a:gd name="connsiteY32" fmla="*/ 315563 h 369474"/>
                <a:gd name="connsiteX33" fmla="*/ 52578 w 369569"/>
                <a:gd name="connsiteY33" fmla="*/ 313753 h 369474"/>
                <a:gd name="connsiteX34" fmla="*/ 52768 w 369569"/>
                <a:gd name="connsiteY34" fmla="*/ 300323 h 369474"/>
                <a:gd name="connsiteX35" fmla="*/ 66199 w 369569"/>
                <a:gd name="connsiteY35" fmla="*/ 300514 h 369474"/>
                <a:gd name="connsiteX36" fmla="*/ 67818 w 369569"/>
                <a:gd name="connsiteY36" fmla="*/ 302133 h 369474"/>
                <a:gd name="connsiteX37" fmla="*/ 67818 w 369569"/>
                <a:gd name="connsiteY37" fmla="*/ 315563 h 369474"/>
                <a:gd name="connsiteX38" fmla="*/ 61055 w 369569"/>
                <a:gd name="connsiteY38" fmla="*/ 318326 h 369474"/>
                <a:gd name="connsiteX39" fmla="*/ 345853 w 369569"/>
                <a:gd name="connsiteY39" fmla="*/ 263461 h 369474"/>
                <a:gd name="connsiteX40" fmla="*/ 342043 w 369569"/>
                <a:gd name="connsiteY40" fmla="*/ 262699 h 369474"/>
                <a:gd name="connsiteX41" fmla="*/ 337090 w 369569"/>
                <a:gd name="connsiteY41" fmla="*/ 250127 h 369474"/>
                <a:gd name="connsiteX42" fmla="*/ 337947 w 369569"/>
                <a:gd name="connsiteY42" fmla="*/ 248031 h 369474"/>
                <a:gd name="connsiteX43" fmla="*/ 350425 w 369569"/>
                <a:gd name="connsiteY43" fmla="*/ 242887 h 369474"/>
                <a:gd name="connsiteX44" fmla="*/ 355568 w 369569"/>
                <a:gd name="connsiteY44" fmla="*/ 255365 h 369474"/>
                <a:gd name="connsiteX45" fmla="*/ 354616 w 369569"/>
                <a:gd name="connsiteY45" fmla="*/ 257651 h 369474"/>
                <a:gd name="connsiteX46" fmla="*/ 345853 w 369569"/>
                <a:gd name="connsiteY46" fmla="*/ 263366 h 369474"/>
                <a:gd name="connsiteX47" fmla="*/ 22955 w 369569"/>
                <a:gd name="connsiteY47" fmla="*/ 261556 h 369474"/>
                <a:gd name="connsiteX48" fmla="*/ 14192 w 369569"/>
                <a:gd name="connsiteY48" fmla="*/ 255746 h 369474"/>
                <a:gd name="connsiteX49" fmla="*/ 13240 w 369569"/>
                <a:gd name="connsiteY49" fmla="*/ 253365 h 369474"/>
                <a:gd name="connsiteX50" fmla="*/ 18574 w 369569"/>
                <a:gd name="connsiteY50" fmla="*/ 240982 h 369474"/>
                <a:gd name="connsiteX51" fmla="*/ 30956 w 369569"/>
                <a:gd name="connsiteY51" fmla="*/ 246316 h 369474"/>
                <a:gd name="connsiteX52" fmla="*/ 31718 w 369569"/>
                <a:gd name="connsiteY52" fmla="*/ 248317 h 369474"/>
                <a:gd name="connsiteX53" fmla="*/ 26670 w 369569"/>
                <a:gd name="connsiteY53" fmla="*/ 260794 h 369474"/>
                <a:gd name="connsiteX54" fmla="*/ 22955 w 369569"/>
                <a:gd name="connsiteY54" fmla="*/ 261556 h 369474"/>
                <a:gd name="connsiteX55" fmla="*/ 360045 w 369569"/>
                <a:gd name="connsiteY55" fmla="*/ 196596 h 369474"/>
                <a:gd name="connsiteX56" fmla="*/ 359950 w 369569"/>
                <a:gd name="connsiteY56" fmla="*/ 196596 h 369474"/>
                <a:gd name="connsiteX57" fmla="*/ 350520 w 369569"/>
                <a:gd name="connsiteY57" fmla="*/ 186976 h 369474"/>
                <a:gd name="connsiteX58" fmla="*/ 350520 w 369569"/>
                <a:gd name="connsiteY58" fmla="*/ 184690 h 369474"/>
                <a:gd name="connsiteX59" fmla="*/ 360045 w 369569"/>
                <a:gd name="connsiteY59" fmla="*/ 174784 h 369474"/>
                <a:gd name="connsiteX60" fmla="*/ 369570 w 369569"/>
                <a:gd name="connsiteY60" fmla="*/ 183928 h 369474"/>
                <a:gd name="connsiteX61" fmla="*/ 369570 w 369569"/>
                <a:gd name="connsiteY61" fmla="*/ 187071 h 369474"/>
                <a:gd name="connsiteX62" fmla="*/ 360045 w 369569"/>
                <a:gd name="connsiteY62" fmla="*/ 196501 h 369474"/>
                <a:gd name="connsiteX63" fmla="*/ 9525 w 369569"/>
                <a:gd name="connsiteY63" fmla="*/ 194405 h 369474"/>
                <a:gd name="connsiteX64" fmla="*/ 0 w 369569"/>
                <a:gd name="connsiteY64" fmla="*/ 185071 h 369474"/>
                <a:gd name="connsiteX65" fmla="*/ 0 w 369569"/>
                <a:gd name="connsiteY65" fmla="*/ 182594 h 369474"/>
                <a:gd name="connsiteX66" fmla="*/ 9620 w 369569"/>
                <a:gd name="connsiteY66" fmla="*/ 173165 h 369474"/>
                <a:gd name="connsiteX67" fmla="*/ 19050 w 369569"/>
                <a:gd name="connsiteY67" fmla="*/ 182785 h 369474"/>
                <a:gd name="connsiteX68" fmla="*/ 19050 w 369569"/>
                <a:gd name="connsiteY68" fmla="*/ 184690 h 369474"/>
                <a:gd name="connsiteX69" fmla="*/ 9525 w 369569"/>
                <a:gd name="connsiteY69" fmla="*/ 194405 h 369474"/>
                <a:gd name="connsiteX70" fmla="*/ 347376 w 369569"/>
                <a:gd name="connsiteY70" fmla="*/ 128778 h 369474"/>
                <a:gd name="connsiteX71" fmla="*/ 338518 w 369569"/>
                <a:gd name="connsiteY71" fmla="*/ 122873 h 369474"/>
                <a:gd name="connsiteX72" fmla="*/ 337661 w 369569"/>
                <a:gd name="connsiteY72" fmla="*/ 120777 h 369474"/>
                <a:gd name="connsiteX73" fmla="*/ 342709 w 369569"/>
                <a:gd name="connsiteY73" fmla="*/ 108299 h 369474"/>
                <a:gd name="connsiteX74" fmla="*/ 355187 w 369569"/>
                <a:gd name="connsiteY74" fmla="*/ 113348 h 369474"/>
                <a:gd name="connsiteX75" fmla="*/ 356140 w 369569"/>
                <a:gd name="connsiteY75" fmla="*/ 115633 h 369474"/>
                <a:gd name="connsiteX76" fmla="*/ 350901 w 369569"/>
                <a:gd name="connsiteY76" fmla="*/ 128016 h 369474"/>
                <a:gd name="connsiteX77" fmla="*/ 347281 w 369569"/>
                <a:gd name="connsiteY77" fmla="*/ 128683 h 369474"/>
                <a:gd name="connsiteX78" fmla="*/ 22670 w 369569"/>
                <a:gd name="connsiteY78" fmla="*/ 127540 h 369474"/>
                <a:gd name="connsiteX79" fmla="*/ 18955 w 369569"/>
                <a:gd name="connsiteY79" fmla="*/ 126778 h 369474"/>
                <a:gd name="connsiteX80" fmla="*/ 13811 w 369569"/>
                <a:gd name="connsiteY80" fmla="*/ 114300 h 369474"/>
                <a:gd name="connsiteX81" fmla="*/ 14764 w 369569"/>
                <a:gd name="connsiteY81" fmla="*/ 112109 h 369474"/>
                <a:gd name="connsiteX82" fmla="*/ 27241 w 369569"/>
                <a:gd name="connsiteY82" fmla="*/ 107061 h 369474"/>
                <a:gd name="connsiteX83" fmla="*/ 32290 w 369569"/>
                <a:gd name="connsiteY83" fmla="*/ 119539 h 369474"/>
                <a:gd name="connsiteX84" fmla="*/ 31337 w 369569"/>
                <a:gd name="connsiteY84" fmla="*/ 121729 h 369474"/>
                <a:gd name="connsiteX85" fmla="*/ 22574 w 369569"/>
                <a:gd name="connsiteY85" fmla="*/ 127635 h 369474"/>
                <a:gd name="connsiteX86" fmla="*/ 309943 w 369569"/>
                <a:gd name="connsiteY86" fmla="*/ 71628 h 369474"/>
                <a:gd name="connsiteX87" fmla="*/ 303181 w 369569"/>
                <a:gd name="connsiteY87" fmla="*/ 68771 h 369474"/>
                <a:gd name="connsiteX88" fmla="*/ 301561 w 369569"/>
                <a:gd name="connsiteY88" fmla="*/ 67151 h 369474"/>
                <a:gd name="connsiteX89" fmla="*/ 301561 w 369569"/>
                <a:gd name="connsiteY89" fmla="*/ 53721 h 369474"/>
                <a:gd name="connsiteX90" fmla="*/ 314992 w 369569"/>
                <a:gd name="connsiteY90" fmla="*/ 53721 h 369474"/>
                <a:gd name="connsiteX91" fmla="*/ 316706 w 369569"/>
                <a:gd name="connsiteY91" fmla="*/ 55435 h 369474"/>
                <a:gd name="connsiteX92" fmla="*/ 316706 w 369569"/>
                <a:gd name="connsiteY92" fmla="*/ 68866 h 369474"/>
                <a:gd name="connsiteX93" fmla="*/ 310039 w 369569"/>
                <a:gd name="connsiteY93" fmla="*/ 71628 h 369474"/>
                <a:gd name="connsiteX94" fmla="*/ 60579 w 369569"/>
                <a:gd name="connsiteY94" fmla="*/ 70675 h 369474"/>
                <a:gd name="connsiteX95" fmla="*/ 53816 w 369569"/>
                <a:gd name="connsiteY95" fmla="*/ 67913 h 369474"/>
                <a:gd name="connsiteX96" fmla="*/ 53816 w 369569"/>
                <a:gd name="connsiteY96" fmla="*/ 54483 h 369474"/>
                <a:gd name="connsiteX97" fmla="*/ 55626 w 369569"/>
                <a:gd name="connsiteY97" fmla="*/ 52769 h 369474"/>
                <a:gd name="connsiteX98" fmla="*/ 69056 w 369569"/>
                <a:gd name="connsiteY98" fmla="*/ 52959 h 369474"/>
                <a:gd name="connsiteX99" fmla="*/ 68866 w 369569"/>
                <a:gd name="connsiteY99" fmla="*/ 66389 h 369474"/>
                <a:gd name="connsiteX100" fmla="*/ 67246 w 369569"/>
                <a:gd name="connsiteY100" fmla="*/ 68008 h 369474"/>
                <a:gd name="connsiteX101" fmla="*/ 60484 w 369569"/>
                <a:gd name="connsiteY101" fmla="*/ 70771 h 369474"/>
                <a:gd name="connsiteX102" fmla="*/ 253555 w 369569"/>
                <a:gd name="connsiteY102" fmla="*/ 33052 h 369474"/>
                <a:gd name="connsiteX103" fmla="*/ 249841 w 369569"/>
                <a:gd name="connsiteY103" fmla="*/ 32290 h 369474"/>
                <a:gd name="connsiteX104" fmla="*/ 247745 w 369569"/>
                <a:gd name="connsiteY104" fmla="*/ 31432 h 369474"/>
                <a:gd name="connsiteX105" fmla="*/ 242601 w 369569"/>
                <a:gd name="connsiteY105" fmla="*/ 18955 h 369474"/>
                <a:gd name="connsiteX106" fmla="*/ 255079 w 369569"/>
                <a:gd name="connsiteY106" fmla="*/ 13811 h 369474"/>
                <a:gd name="connsiteX107" fmla="*/ 257365 w 369569"/>
                <a:gd name="connsiteY107" fmla="*/ 14764 h 369474"/>
                <a:gd name="connsiteX108" fmla="*/ 262318 w 369569"/>
                <a:gd name="connsiteY108" fmla="*/ 27242 h 369474"/>
                <a:gd name="connsiteX109" fmla="*/ 253555 w 369569"/>
                <a:gd name="connsiteY109" fmla="*/ 33052 h 369474"/>
                <a:gd name="connsiteX110" fmla="*/ 117253 w 369569"/>
                <a:gd name="connsiteY110" fmla="*/ 32480 h 369474"/>
                <a:gd name="connsiteX111" fmla="*/ 108490 w 369569"/>
                <a:gd name="connsiteY111" fmla="*/ 26575 h 369474"/>
                <a:gd name="connsiteX112" fmla="*/ 113633 w 369569"/>
                <a:gd name="connsiteY112" fmla="*/ 14097 h 369474"/>
                <a:gd name="connsiteX113" fmla="*/ 115919 w 369569"/>
                <a:gd name="connsiteY113" fmla="*/ 13144 h 369474"/>
                <a:gd name="connsiteX114" fmla="*/ 128301 w 369569"/>
                <a:gd name="connsiteY114" fmla="*/ 18383 h 369474"/>
                <a:gd name="connsiteX115" fmla="*/ 123063 w 369569"/>
                <a:gd name="connsiteY115" fmla="*/ 30766 h 369474"/>
                <a:gd name="connsiteX116" fmla="*/ 120968 w 369569"/>
                <a:gd name="connsiteY116" fmla="*/ 31623 h 369474"/>
                <a:gd name="connsiteX117" fmla="*/ 117348 w 369569"/>
                <a:gd name="connsiteY117" fmla="*/ 32385 h 369474"/>
                <a:gd name="connsiteX118" fmla="*/ 186594 w 369569"/>
                <a:gd name="connsiteY118" fmla="*/ 19050 h 369474"/>
                <a:gd name="connsiteX119" fmla="*/ 184785 w 369569"/>
                <a:gd name="connsiteY119" fmla="*/ 19050 h 369474"/>
                <a:gd name="connsiteX120" fmla="*/ 174974 w 369569"/>
                <a:gd name="connsiteY120" fmla="*/ 9525 h 369474"/>
                <a:gd name="connsiteX121" fmla="*/ 184213 w 369569"/>
                <a:gd name="connsiteY121" fmla="*/ 0 h 369474"/>
                <a:gd name="connsiteX122" fmla="*/ 186690 w 369569"/>
                <a:gd name="connsiteY122" fmla="*/ 0 h 369474"/>
                <a:gd name="connsiteX123" fmla="*/ 196119 w 369569"/>
                <a:gd name="connsiteY123" fmla="*/ 9620 h 369474"/>
                <a:gd name="connsiteX124" fmla="*/ 186594 w 369569"/>
                <a:gd name="connsiteY124" fmla="*/ 19050 h 369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369569" h="369474">
                  <a:moveTo>
                    <a:pt x="184975" y="369475"/>
                  </a:moveTo>
                  <a:lnTo>
                    <a:pt x="182499" y="369475"/>
                  </a:lnTo>
                  <a:cubicBezTo>
                    <a:pt x="177260" y="369475"/>
                    <a:pt x="173069" y="365093"/>
                    <a:pt x="173069" y="359854"/>
                  </a:cubicBezTo>
                  <a:cubicBezTo>
                    <a:pt x="173069" y="354616"/>
                    <a:pt x="177355" y="350425"/>
                    <a:pt x="182594" y="350425"/>
                  </a:cubicBezTo>
                  <a:lnTo>
                    <a:pt x="184785" y="350425"/>
                  </a:lnTo>
                  <a:cubicBezTo>
                    <a:pt x="190024" y="350425"/>
                    <a:pt x="194405" y="354711"/>
                    <a:pt x="194405" y="359950"/>
                  </a:cubicBezTo>
                  <a:cubicBezTo>
                    <a:pt x="194405" y="365189"/>
                    <a:pt x="190214" y="369475"/>
                    <a:pt x="184975" y="369475"/>
                  </a:cubicBezTo>
                  <a:close/>
                  <a:moveTo>
                    <a:pt x="249841" y="356997"/>
                  </a:moveTo>
                  <a:cubicBezTo>
                    <a:pt x="246031" y="356997"/>
                    <a:pt x="242506" y="354711"/>
                    <a:pt x="240982" y="350996"/>
                  </a:cubicBezTo>
                  <a:cubicBezTo>
                    <a:pt x="238982" y="346139"/>
                    <a:pt x="241363" y="340614"/>
                    <a:pt x="246316" y="338614"/>
                  </a:cubicBezTo>
                  <a:lnTo>
                    <a:pt x="248317" y="337757"/>
                  </a:lnTo>
                  <a:cubicBezTo>
                    <a:pt x="253175" y="335756"/>
                    <a:pt x="258699" y="338042"/>
                    <a:pt x="260795" y="342900"/>
                  </a:cubicBezTo>
                  <a:cubicBezTo>
                    <a:pt x="262794" y="347758"/>
                    <a:pt x="260509" y="353378"/>
                    <a:pt x="255651" y="355378"/>
                  </a:cubicBezTo>
                  <a:lnTo>
                    <a:pt x="253365" y="356330"/>
                  </a:lnTo>
                  <a:cubicBezTo>
                    <a:pt x="252222" y="356807"/>
                    <a:pt x="250984" y="356997"/>
                    <a:pt x="249841" y="356997"/>
                  </a:cubicBezTo>
                  <a:close/>
                  <a:moveTo>
                    <a:pt x="117920" y="356235"/>
                  </a:moveTo>
                  <a:cubicBezTo>
                    <a:pt x="116681" y="356235"/>
                    <a:pt x="115443" y="356044"/>
                    <a:pt x="114300" y="355473"/>
                  </a:cubicBezTo>
                  <a:lnTo>
                    <a:pt x="111919" y="354425"/>
                  </a:lnTo>
                  <a:cubicBezTo>
                    <a:pt x="107061" y="352330"/>
                    <a:pt x="104870" y="346710"/>
                    <a:pt x="106966" y="341852"/>
                  </a:cubicBezTo>
                  <a:cubicBezTo>
                    <a:pt x="109061" y="336994"/>
                    <a:pt x="114681" y="334804"/>
                    <a:pt x="119539" y="336899"/>
                  </a:cubicBezTo>
                  <a:lnTo>
                    <a:pt x="121539" y="337757"/>
                  </a:lnTo>
                  <a:cubicBezTo>
                    <a:pt x="126396" y="339757"/>
                    <a:pt x="128683" y="345281"/>
                    <a:pt x="126682" y="350234"/>
                  </a:cubicBezTo>
                  <a:cubicBezTo>
                    <a:pt x="125159" y="353949"/>
                    <a:pt x="121634" y="356140"/>
                    <a:pt x="117920" y="356140"/>
                  </a:cubicBezTo>
                  <a:close/>
                  <a:moveTo>
                    <a:pt x="307086" y="319754"/>
                  </a:moveTo>
                  <a:cubicBezTo>
                    <a:pt x="304609" y="319754"/>
                    <a:pt x="302133" y="318802"/>
                    <a:pt x="300228" y="316897"/>
                  </a:cubicBezTo>
                  <a:cubicBezTo>
                    <a:pt x="296513" y="313087"/>
                    <a:pt x="296609" y="307086"/>
                    <a:pt x="300418" y="303466"/>
                  </a:cubicBezTo>
                  <a:lnTo>
                    <a:pt x="302037" y="301847"/>
                  </a:lnTo>
                  <a:cubicBezTo>
                    <a:pt x="305752" y="298132"/>
                    <a:pt x="311753" y="298132"/>
                    <a:pt x="315468" y="301847"/>
                  </a:cubicBezTo>
                  <a:cubicBezTo>
                    <a:pt x="319183" y="305562"/>
                    <a:pt x="319183" y="311563"/>
                    <a:pt x="315468" y="315278"/>
                  </a:cubicBezTo>
                  <a:lnTo>
                    <a:pt x="313658" y="316992"/>
                  </a:lnTo>
                  <a:cubicBezTo>
                    <a:pt x="311848" y="318802"/>
                    <a:pt x="309372" y="319659"/>
                    <a:pt x="306991" y="319659"/>
                  </a:cubicBezTo>
                  <a:close/>
                  <a:moveTo>
                    <a:pt x="61055" y="318326"/>
                  </a:moveTo>
                  <a:cubicBezTo>
                    <a:pt x="58578" y="318326"/>
                    <a:pt x="56197" y="317373"/>
                    <a:pt x="54293" y="315563"/>
                  </a:cubicBezTo>
                  <a:lnTo>
                    <a:pt x="52578" y="313753"/>
                  </a:lnTo>
                  <a:cubicBezTo>
                    <a:pt x="48863" y="309944"/>
                    <a:pt x="48959" y="303943"/>
                    <a:pt x="52768" y="300323"/>
                  </a:cubicBezTo>
                  <a:cubicBezTo>
                    <a:pt x="56483" y="296608"/>
                    <a:pt x="62579" y="296704"/>
                    <a:pt x="66199" y="300514"/>
                  </a:cubicBezTo>
                  <a:lnTo>
                    <a:pt x="67818" y="302133"/>
                  </a:lnTo>
                  <a:cubicBezTo>
                    <a:pt x="71533" y="305848"/>
                    <a:pt x="71533" y="311848"/>
                    <a:pt x="67818" y="315563"/>
                  </a:cubicBezTo>
                  <a:cubicBezTo>
                    <a:pt x="65913" y="317468"/>
                    <a:pt x="63532" y="318326"/>
                    <a:pt x="61055" y="318326"/>
                  </a:cubicBezTo>
                  <a:close/>
                  <a:moveTo>
                    <a:pt x="345853" y="263461"/>
                  </a:moveTo>
                  <a:cubicBezTo>
                    <a:pt x="344614" y="263461"/>
                    <a:pt x="343281" y="263176"/>
                    <a:pt x="342043" y="262699"/>
                  </a:cubicBezTo>
                  <a:cubicBezTo>
                    <a:pt x="337185" y="260604"/>
                    <a:pt x="334994" y="254984"/>
                    <a:pt x="337090" y="250127"/>
                  </a:cubicBezTo>
                  <a:lnTo>
                    <a:pt x="337947" y="248031"/>
                  </a:lnTo>
                  <a:cubicBezTo>
                    <a:pt x="339947" y="243173"/>
                    <a:pt x="345567" y="240887"/>
                    <a:pt x="350425" y="242887"/>
                  </a:cubicBezTo>
                  <a:cubicBezTo>
                    <a:pt x="355282" y="244888"/>
                    <a:pt x="357568" y="250507"/>
                    <a:pt x="355568" y="255365"/>
                  </a:cubicBezTo>
                  <a:lnTo>
                    <a:pt x="354616" y="257651"/>
                  </a:lnTo>
                  <a:cubicBezTo>
                    <a:pt x="353092" y="261271"/>
                    <a:pt x="349568" y="263366"/>
                    <a:pt x="345853" y="263366"/>
                  </a:cubicBezTo>
                  <a:close/>
                  <a:moveTo>
                    <a:pt x="22955" y="261556"/>
                  </a:moveTo>
                  <a:cubicBezTo>
                    <a:pt x="19240" y="261556"/>
                    <a:pt x="15716" y="259366"/>
                    <a:pt x="14192" y="255746"/>
                  </a:cubicBezTo>
                  <a:lnTo>
                    <a:pt x="13240" y="253365"/>
                  </a:lnTo>
                  <a:cubicBezTo>
                    <a:pt x="11335" y="248507"/>
                    <a:pt x="13716" y="242983"/>
                    <a:pt x="18574" y="240982"/>
                  </a:cubicBezTo>
                  <a:cubicBezTo>
                    <a:pt x="23431" y="239077"/>
                    <a:pt x="28956" y="241459"/>
                    <a:pt x="30956" y="246316"/>
                  </a:cubicBezTo>
                  <a:lnTo>
                    <a:pt x="31718" y="248317"/>
                  </a:lnTo>
                  <a:cubicBezTo>
                    <a:pt x="33718" y="253174"/>
                    <a:pt x="31528" y="258794"/>
                    <a:pt x="26670" y="260794"/>
                  </a:cubicBezTo>
                  <a:cubicBezTo>
                    <a:pt x="25432" y="261271"/>
                    <a:pt x="24193" y="261556"/>
                    <a:pt x="22955" y="261556"/>
                  </a:cubicBezTo>
                  <a:close/>
                  <a:moveTo>
                    <a:pt x="360045" y="196596"/>
                  </a:moveTo>
                  <a:lnTo>
                    <a:pt x="359950" y="196596"/>
                  </a:lnTo>
                  <a:cubicBezTo>
                    <a:pt x="354711" y="196596"/>
                    <a:pt x="350425" y="192215"/>
                    <a:pt x="350520" y="186976"/>
                  </a:cubicBezTo>
                  <a:lnTo>
                    <a:pt x="350520" y="184690"/>
                  </a:lnTo>
                  <a:cubicBezTo>
                    <a:pt x="350520" y="179451"/>
                    <a:pt x="354806" y="174784"/>
                    <a:pt x="360045" y="174784"/>
                  </a:cubicBezTo>
                  <a:cubicBezTo>
                    <a:pt x="365284" y="174784"/>
                    <a:pt x="369570" y="178689"/>
                    <a:pt x="369570" y="183928"/>
                  </a:cubicBezTo>
                  <a:lnTo>
                    <a:pt x="369570" y="187071"/>
                  </a:lnTo>
                  <a:cubicBezTo>
                    <a:pt x="369570" y="192310"/>
                    <a:pt x="365188" y="196501"/>
                    <a:pt x="360045" y="196501"/>
                  </a:cubicBezTo>
                  <a:close/>
                  <a:moveTo>
                    <a:pt x="9525" y="194405"/>
                  </a:moveTo>
                  <a:cubicBezTo>
                    <a:pt x="4286" y="194405"/>
                    <a:pt x="0" y="190310"/>
                    <a:pt x="0" y="185071"/>
                  </a:cubicBezTo>
                  <a:lnTo>
                    <a:pt x="0" y="182594"/>
                  </a:lnTo>
                  <a:cubicBezTo>
                    <a:pt x="0" y="177356"/>
                    <a:pt x="4763" y="172974"/>
                    <a:pt x="9620" y="173165"/>
                  </a:cubicBezTo>
                  <a:cubicBezTo>
                    <a:pt x="14859" y="173165"/>
                    <a:pt x="19050" y="177546"/>
                    <a:pt x="19050" y="182785"/>
                  </a:cubicBezTo>
                  <a:lnTo>
                    <a:pt x="19050" y="184690"/>
                  </a:lnTo>
                  <a:cubicBezTo>
                    <a:pt x="19050" y="189928"/>
                    <a:pt x="14764" y="194405"/>
                    <a:pt x="9525" y="194405"/>
                  </a:cubicBezTo>
                  <a:close/>
                  <a:moveTo>
                    <a:pt x="347376" y="128778"/>
                  </a:moveTo>
                  <a:cubicBezTo>
                    <a:pt x="343662" y="128778"/>
                    <a:pt x="340043" y="126492"/>
                    <a:pt x="338518" y="122873"/>
                  </a:cubicBezTo>
                  <a:lnTo>
                    <a:pt x="337661" y="120777"/>
                  </a:lnTo>
                  <a:cubicBezTo>
                    <a:pt x="335661" y="115919"/>
                    <a:pt x="337851" y="110300"/>
                    <a:pt x="342709" y="108299"/>
                  </a:cubicBezTo>
                  <a:cubicBezTo>
                    <a:pt x="347567" y="106299"/>
                    <a:pt x="353187" y="108490"/>
                    <a:pt x="355187" y="113348"/>
                  </a:cubicBezTo>
                  <a:lnTo>
                    <a:pt x="356140" y="115633"/>
                  </a:lnTo>
                  <a:cubicBezTo>
                    <a:pt x="358140" y="120491"/>
                    <a:pt x="355759" y="126111"/>
                    <a:pt x="350901" y="128016"/>
                  </a:cubicBezTo>
                  <a:cubicBezTo>
                    <a:pt x="349758" y="128492"/>
                    <a:pt x="348519" y="128683"/>
                    <a:pt x="347281" y="128683"/>
                  </a:cubicBezTo>
                  <a:close/>
                  <a:moveTo>
                    <a:pt x="22670" y="127540"/>
                  </a:moveTo>
                  <a:cubicBezTo>
                    <a:pt x="21431" y="127540"/>
                    <a:pt x="20193" y="127349"/>
                    <a:pt x="18955" y="126778"/>
                  </a:cubicBezTo>
                  <a:cubicBezTo>
                    <a:pt x="14097" y="124777"/>
                    <a:pt x="11811" y="119158"/>
                    <a:pt x="13811" y="114300"/>
                  </a:cubicBezTo>
                  <a:lnTo>
                    <a:pt x="14764" y="112109"/>
                  </a:lnTo>
                  <a:cubicBezTo>
                    <a:pt x="16764" y="107252"/>
                    <a:pt x="22384" y="104965"/>
                    <a:pt x="27241" y="107061"/>
                  </a:cubicBezTo>
                  <a:cubicBezTo>
                    <a:pt x="32099" y="109061"/>
                    <a:pt x="34385" y="114681"/>
                    <a:pt x="32290" y="119539"/>
                  </a:cubicBezTo>
                  <a:lnTo>
                    <a:pt x="31337" y="121729"/>
                  </a:lnTo>
                  <a:cubicBezTo>
                    <a:pt x="29813" y="125349"/>
                    <a:pt x="26289" y="127635"/>
                    <a:pt x="22574" y="127635"/>
                  </a:cubicBezTo>
                  <a:close/>
                  <a:moveTo>
                    <a:pt x="309943" y="71628"/>
                  </a:moveTo>
                  <a:cubicBezTo>
                    <a:pt x="307467" y="71628"/>
                    <a:pt x="305085" y="70675"/>
                    <a:pt x="303181" y="68771"/>
                  </a:cubicBezTo>
                  <a:lnTo>
                    <a:pt x="301561" y="67151"/>
                  </a:lnTo>
                  <a:cubicBezTo>
                    <a:pt x="297846" y="63436"/>
                    <a:pt x="297846" y="57436"/>
                    <a:pt x="301561" y="53721"/>
                  </a:cubicBezTo>
                  <a:cubicBezTo>
                    <a:pt x="305276" y="50006"/>
                    <a:pt x="311277" y="50006"/>
                    <a:pt x="314992" y="53721"/>
                  </a:cubicBezTo>
                  <a:lnTo>
                    <a:pt x="316706" y="55435"/>
                  </a:lnTo>
                  <a:cubicBezTo>
                    <a:pt x="320421" y="59150"/>
                    <a:pt x="320421" y="65246"/>
                    <a:pt x="316706" y="68866"/>
                  </a:cubicBezTo>
                  <a:cubicBezTo>
                    <a:pt x="314801" y="70675"/>
                    <a:pt x="312420" y="71628"/>
                    <a:pt x="310039" y="71628"/>
                  </a:cubicBezTo>
                  <a:close/>
                  <a:moveTo>
                    <a:pt x="60579" y="70675"/>
                  </a:moveTo>
                  <a:cubicBezTo>
                    <a:pt x="58102" y="70675"/>
                    <a:pt x="55721" y="69723"/>
                    <a:pt x="53816" y="67913"/>
                  </a:cubicBezTo>
                  <a:cubicBezTo>
                    <a:pt x="50102" y="64198"/>
                    <a:pt x="50102" y="58198"/>
                    <a:pt x="53816" y="54483"/>
                  </a:cubicBezTo>
                  <a:lnTo>
                    <a:pt x="55626" y="52769"/>
                  </a:lnTo>
                  <a:cubicBezTo>
                    <a:pt x="59436" y="49149"/>
                    <a:pt x="65437" y="49149"/>
                    <a:pt x="69056" y="52959"/>
                  </a:cubicBezTo>
                  <a:cubicBezTo>
                    <a:pt x="72771" y="56769"/>
                    <a:pt x="72676" y="62770"/>
                    <a:pt x="68866" y="66389"/>
                  </a:cubicBezTo>
                  <a:lnTo>
                    <a:pt x="67246" y="68008"/>
                  </a:lnTo>
                  <a:cubicBezTo>
                    <a:pt x="65341" y="69913"/>
                    <a:pt x="62960" y="70771"/>
                    <a:pt x="60484" y="70771"/>
                  </a:cubicBezTo>
                  <a:close/>
                  <a:moveTo>
                    <a:pt x="253555" y="33052"/>
                  </a:moveTo>
                  <a:cubicBezTo>
                    <a:pt x="252317" y="33052"/>
                    <a:pt x="250984" y="32766"/>
                    <a:pt x="249841" y="32290"/>
                  </a:cubicBezTo>
                  <a:lnTo>
                    <a:pt x="247745" y="31432"/>
                  </a:lnTo>
                  <a:cubicBezTo>
                    <a:pt x="242888" y="29432"/>
                    <a:pt x="240602" y="23908"/>
                    <a:pt x="242601" y="18955"/>
                  </a:cubicBezTo>
                  <a:cubicBezTo>
                    <a:pt x="244602" y="14097"/>
                    <a:pt x="250127" y="11811"/>
                    <a:pt x="255079" y="13811"/>
                  </a:cubicBezTo>
                  <a:lnTo>
                    <a:pt x="257365" y="14764"/>
                  </a:lnTo>
                  <a:cubicBezTo>
                    <a:pt x="262223" y="16859"/>
                    <a:pt x="264414" y="22479"/>
                    <a:pt x="262318" y="27242"/>
                  </a:cubicBezTo>
                  <a:cubicBezTo>
                    <a:pt x="260795" y="30861"/>
                    <a:pt x="257270" y="33052"/>
                    <a:pt x="253555" y="33052"/>
                  </a:cubicBezTo>
                  <a:close/>
                  <a:moveTo>
                    <a:pt x="117253" y="32480"/>
                  </a:moveTo>
                  <a:cubicBezTo>
                    <a:pt x="113538" y="32480"/>
                    <a:pt x="110014" y="30290"/>
                    <a:pt x="108490" y="26575"/>
                  </a:cubicBezTo>
                  <a:cubicBezTo>
                    <a:pt x="106489" y="21717"/>
                    <a:pt x="108775" y="16097"/>
                    <a:pt x="113633" y="14097"/>
                  </a:cubicBezTo>
                  <a:lnTo>
                    <a:pt x="115919" y="13144"/>
                  </a:lnTo>
                  <a:cubicBezTo>
                    <a:pt x="120777" y="11144"/>
                    <a:pt x="126302" y="13525"/>
                    <a:pt x="128301" y="18383"/>
                  </a:cubicBezTo>
                  <a:cubicBezTo>
                    <a:pt x="130302" y="23241"/>
                    <a:pt x="127921" y="28861"/>
                    <a:pt x="123063" y="30766"/>
                  </a:cubicBezTo>
                  <a:lnTo>
                    <a:pt x="120968" y="31623"/>
                  </a:lnTo>
                  <a:cubicBezTo>
                    <a:pt x="119729" y="32099"/>
                    <a:pt x="118491" y="32385"/>
                    <a:pt x="117348" y="32385"/>
                  </a:cubicBezTo>
                  <a:close/>
                  <a:moveTo>
                    <a:pt x="186594" y="19050"/>
                  </a:moveTo>
                  <a:lnTo>
                    <a:pt x="184785" y="19050"/>
                  </a:lnTo>
                  <a:cubicBezTo>
                    <a:pt x="179546" y="19050"/>
                    <a:pt x="174974" y="14764"/>
                    <a:pt x="174974" y="9525"/>
                  </a:cubicBezTo>
                  <a:cubicBezTo>
                    <a:pt x="174974" y="4286"/>
                    <a:pt x="178975" y="0"/>
                    <a:pt x="184213" y="0"/>
                  </a:cubicBezTo>
                  <a:lnTo>
                    <a:pt x="186690" y="0"/>
                  </a:lnTo>
                  <a:cubicBezTo>
                    <a:pt x="191928" y="0"/>
                    <a:pt x="196215" y="4381"/>
                    <a:pt x="196119" y="9620"/>
                  </a:cubicBezTo>
                  <a:cubicBezTo>
                    <a:pt x="196119" y="14859"/>
                    <a:pt x="191834" y="19050"/>
                    <a:pt x="186594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48C8ED72-9C63-3732-A685-7431A5347D9A}"/>
                </a:ext>
              </a:extLst>
            </p:cNvPr>
            <p:cNvSpPr/>
            <p:nvPr/>
          </p:nvSpPr>
          <p:spPr>
            <a:xfrm rot="316174">
              <a:off x="11066666" y="3563221"/>
              <a:ext cx="331508" cy="333466"/>
            </a:xfrm>
            <a:custGeom>
              <a:avLst/>
              <a:gdLst>
                <a:gd name="connsiteX0" fmla="*/ 166666 w 306778"/>
                <a:gd name="connsiteY0" fmla="*/ 308591 h 308590"/>
                <a:gd name="connsiteX1" fmla="*/ 157236 w 306778"/>
                <a:gd name="connsiteY1" fmla="*/ 300018 h 308590"/>
                <a:gd name="connsiteX2" fmla="*/ 165714 w 306778"/>
                <a:gd name="connsiteY2" fmla="*/ 289541 h 308590"/>
                <a:gd name="connsiteX3" fmla="*/ 168000 w 306778"/>
                <a:gd name="connsiteY3" fmla="*/ 289255 h 308590"/>
                <a:gd name="connsiteX4" fmla="*/ 178573 w 306778"/>
                <a:gd name="connsiteY4" fmla="*/ 297637 h 308590"/>
                <a:gd name="connsiteX5" fmla="*/ 170191 w 306778"/>
                <a:gd name="connsiteY5" fmla="*/ 308209 h 308590"/>
                <a:gd name="connsiteX6" fmla="*/ 167619 w 306778"/>
                <a:gd name="connsiteY6" fmla="*/ 308495 h 308590"/>
                <a:gd name="connsiteX7" fmla="*/ 166666 w 306778"/>
                <a:gd name="connsiteY7" fmla="*/ 308495 h 308590"/>
                <a:gd name="connsiteX8" fmla="*/ 99896 w 306778"/>
                <a:gd name="connsiteY8" fmla="*/ 300018 h 308590"/>
                <a:gd name="connsiteX9" fmla="*/ 96562 w 306778"/>
                <a:gd name="connsiteY9" fmla="*/ 299447 h 308590"/>
                <a:gd name="connsiteX10" fmla="*/ 94181 w 306778"/>
                <a:gd name="connsiteY10" fmla="*/ 298494 h 308590"/>
                <a:gd name="connsiteX11" fmla="*/ 88847 w 306778"/>
                <a:gd name="connsiteY11" fmla="*/ 286111 h 308590"/>
                <a:gd name="connsiteX12" fmla="*/ 101230 w 306778"/>
                <a:gd name="connsiteY12" fmla="*/ 280777 h 308590"/>
                <a:gd name="connsiteX13" fmla="*/ 103325 w 306778"/>
                <a:gd name="connsiteY13" fmla="*/ 281635 h 308590"/>
                <a:gd name="connsiteX14" fmla="*/ 108850 w 306778"/>
                <a:gd name="connsiteY14" fmla="*/ 293922 h 308590"/>
                <a:gd name="connsiteX15" fmla="*/ 99896 w 306778"/>
                <a:gd name="connsiteY15" fmla="*/ 300113 h 308590"/>
                <a:gd name="connsiteX16" fmla="*/ 232293 w 306778"/>
                <a:gd name="connsiteY16" fmla="*/ 284968 h 308590"/>
                <a:gd name="connsiteX17" fmla="*/ 224388 w 306778"/>
                <a:gd name="connsiteY17" fmla="*/ 280777 h 308590"/>
                <a:gd name="connsiteX18" fmla="*/ 226864 w 306778"/>
                <a:gd name="connsiteY18" fmla="*/ 267538 h 308590"/>
                <a:gd name="connsiteX19" fmla="*/ 228769 w 306778"/>
                <a:gd name="connsiteY19" fmla="*/ 266204 h 308590"/>
                <a:gd name="connsiteX20" fmla="*/ 242009 w 306778"/>
                <a:gd name="connsiteY20" fmla="*/ 268585 h 308590"/>
                <a:gd name="connsiteX21" fmla="*/ 239628 w 306778"/>
                <a:gd name="connsiteY21" fmla="*/ 281825 h 308590"/>
                <a:gd name="connsiteX22" fmla="*/ 237532 w 306778"/>
                <a:gd name="connsiteY22" fmla="*/ 283254 h 308590"/>
                <a:gd name="connsiteX23" fmla="*/ 232199 w 306778"/>
                <a:gd name="connsiteY23" fmla="*/ 284873 h 308590"/>
                <a:gd name="connsiteX24" fmla="*/ 42555 w 306778"/>
                <a:gd name="connsiteY24" fmla="*/ 260489 h 308590"/>
                <a:gd name="connsiteX25" fmla="*/ 35412 w 306778"/>
                <a:gd name="connsiteY25" fmla="*/ 257346 h 308590"/>
                <a:gd name="connsiteX26" fmla="*/ 33697 w 306778"/>
                <a:gd name="connsiteY26" fmla="*/ 255441 h 308590"/>
                <a:gd name="connsiteX27" fmla="*/ 34650 w 306778"/>
                <a:gd name="connsiteY27" fmla="*/ 242011 h 308590"/>
                <a:gd name="connsiteX28" fmla="*/ 48080 w 306778"/>
                <a:gd name="connsiteY28" fmla="*/ 242963 h 308590"/>
                <a:gd name="connsiteX29" fmla="*/ 49604 w 306778"/>
                <a:gd name="connsiteY29" fmla="*/ 244678 h 308590"/>
                <a:gd name="connsiteX30" fmla="*/ 48842 w 306778"/>
                <a:gd name="connsiteY30" fmla="*/ 258108 h 308590"/>
                <a:gd name="connsiteX31" fmla="*/ 42460 w 306778"/>
                <a:gd name="connsiteY31" fmla="*/ 260489 h 308590"/>
                <a:gd name="connsiteX32" fmla="*/ 279442 w 306778"/>
                <a:gd name="connsiteY32" fmla="*/ 233534 h 308590"/>
                <a:gd name="connsiteX33" fmla="*/ 274870 w 306778"/>
                <a:gd name="connsiteY33" fmla="*/ 232391 h 308590"/>
                <a:gd name="connsiteX34" fmla="*/ 271155 w 306778"/>
                <a:gd name="connsiteY34" fmla="*/ 219436 h 308590"/>
                <a:gd name="connsiteX35" fmla="*/ 272203 w 306778"/>
                <a:gd name="connsiteY35" fmla="*/ 217436 h 308590"/>
                <a:gd name="connsiteX36" fmla="*/ 285062 w 306778"/>
                <a:gd name="connsiteY36" fmla="*/ 213531 h 308590"/>
                <a:gd name="connsiteX37" fmla="*/ 288967 w 306778"/>
                <a:gd name="connsiteY37" fmla="*/ 226390 h 308590"/>
                <a:gd name="connsiteX38" fmla="*/ 287729 w 306778"/>
                <a:gd name="connsiteY38" fmla="*/ 228676 h 308590"/>
                <a:gd name="connsiteX39" fmla="*/ 279347 w 306778"/>
                <a:gd name="connsiteY39" fmla="*/ 233629 h 308590"/>
                <a:gd name="connsiteX40" fmla="*/ 10075 w 306778"/>
                <a:gd name="connsiteY40" fmla="*/ 198863 h 308590"/>
                <a:gd name="connsiteX41" fmla="*/ 836 w 306778"/>
                <a:gd name="connsiteY41" fmla="*/ 191624 h 308590"/>
                <a:gd name="connsiteX42" fmla="*/ 264 w 306778"/>
                <a:gd name="connsiteY42" fmla="*/ 189147 h 308590"/>
                <a:gd name="connsiteX43" fmla="*/ 7313 w 306778"/>
                <a:gd name="connsiteY43" fmla="*/ 177717 h 308590"/>
                <a:gd name="connsiteX44" fmla="*/ 18743 w 306778"/>
                <a:gd name="connsiteY44" fmla="*/ 184766 h 308590"/>
                <a:gd name="connsiteX45" fmla="*/ 19314 w 306778"/>
                <a:gd name="connsiteY45" fmla="*/ 187051 h 308590"/>
                <a:gd name="connsiteX46" fmla="*/ 12361 w 306778"/>
                <a:gd name="connsiteY46" fmla="*/ 198577 h 308590"/>
                <a:gd name="connsiteX47" fmla="*/ 10075 w 306778"/>
                <a:gd name="connsiteY47" fmla="*/ 198863 h 308590"/>
                <a:gd name="connsiteX48" fmla="*/ 297254 w 306778"/>
                <a:gd name="connsiteY48" fmla="*/ 166192 h 308590"/>
                <a:gd name="connsiteX49" fmla="*/ 297159 w 306778"/>
                <a:gd name="connsiteY49" fmla="*/ 166192 h 308590"/>
                <a:gd name="connsiteX50" fmla="*/ 287729 w 306778"/>
                <a:gd name="connsiteY50" fmla="*/ 156571 h 308590"/>
                <a:gd name="connsiteX51" fmla="*/ 287729 w 306778"/>
                <a:gd name="connsiteY51" fmla="*/ 154286 h 308590"/>
                <a:gd name="connsiteX52" fmla="*/ 297254 w 306778"/>
                <a:gd name="connsiteY52" fmla="*/ 144475 h 308590"/>
                <a:gd name="connsiteX53" fmla="*/ 306779 w 306778"/>
                <a:gd name="connsiteY53" fmla="*/ 153714 h 308590"/>
                <a:gd name="connsiteX54" fmla="*/ 306779 w 306778"/>
                <a:gd name="connsiteY54" fmla="*/ 156857 h 308590"/>
                <a:gd name="connsiteX55" fmla="*/ 297254 w 306778"/>
                <a:gd name="connsiteY55" fmla="*/ 166287 h 308590"/>
                <a:gd name="connsiteX56" fmla="*/ 9980 w 306778"/>
                <a:gd name="connsiteY56" fmla="*/ 129140 h 308590"/>
                <a:gd name="connsiteX57" fmla="*/ 7694 w 306778"/>
                <a:gd name="connsiteY57" fmla="*/ 128854 h 308590"/>
                <a:gd name="connsiteX58" fmla="*/ 741 w 306778"/>
                <a:gd name="connsiteY58" fmla="*/ 117329 h 308590"/>
                <a:gd name="connsiteX59" fmla="*/ 1407 w 306778"/>
                <a:gd name="connsiteY59" fmla="*/ 114852 h 308590"/>
                <a:gd name="connsiteX60" fmla="*/ 13028 w 306778"/>
                <a:gd name="connsiteY60" fmla="*/ 108089 h 308590"/>
                <a:gd name="connsiteX61" fmla="*/ 19791 w 306778"/>
                <a:gd name="connsiteY61" fmla="*/ 119710 h 308590"/>
                <a:gd name="connsiteX62" fmla="*/ 19219 w 306778"/>
                <a:gd name="connsiteY62" fmla="*/ 121900 h 308590"/>
                <a:gd name="connsiteX63" fmla="*/ 9980 w 306778"/>
                <a:gd name="connsiteY63" fmla="*/ 129140 h 308590"/>
                <a:gd name="connsiteX64" fmla="*/ 281443 w 306778"/>
                <a:gd name="connsiteY64" fmla="*/ 97707 h 308590"/>
                <a:gd name="connsiteX65" fmla="*/ 272965 w 306778"/>
                <a:gd name="connsiteY65" fmla="*/ 92468 h 308590"/>
                <a:gd name="connsiteX66" fmla="*/ 271918 w 306778"/>
                <a:gd name="connsiteY66" fmla="*/ 90468 h 308590"/>
                <a:gd name="connsiteX67" fmla="*/ 275823 w 306778"/>
                <a:gd name="connsiteY67" fmla="*/ 77609 h 308590"/>
                <a:gd name="connsiteX68" fmla="*/ 288682 w 306778"/>
                <a:gd name="connsiteY68" fmla="*/ 81515 h 308590"/>
                <a:gd name="connsiteX69" fmla="*/ 289920 w 306778"/>
                <a:gd name="connsiteY69" fmla="*/ 83800 h 308590"/>
                <a:gd name="connsiteX70" fmla="*/ 285729 w 306778"/>
                <a:gd name="connsiteY70" fmla="*/ 96564 h 308590"/>
                <a:gd name="connsiteX71" fmla="*/ 281443 w 306778"/>
                <a:gd name="connsiteY71" fmla="*/ 97612 h 308590"/>
                <a:gd name="connsiteX72" fmla="*/ 42175 w 306778"/>
                <a:gd name="connsiteY72" fmla="*/ 67417 h 308590"/>
                <a:gd name="connsiteX73" fmla="*/ 35792 w 306778"/>
                <a:gd name="connsiteY73" fmla="*/ 65036 h 308590"/>
                <a:gd name="connsiteX74" fmla="*/ 35031 w 306778"/>
                <a:gd name="connsiteY74" fmla="*/ 51606 h 308590"/>
                <a:gd name="connsiteX75" fmla="*/ 36650 w 306778"/>
                <a:gd name="connsiteY75" fmla="*/ 49701 h 308590"/>
                <a:gd name="connsiteX76" fmla="*/ 50080 w 306778"/>
                <a:gd name="connsiteY76" fmla="*/ 49034 h 308590"/>
                <a:gd name="connsiteX77" fmla="*/ 50747 w 306778"/>
                <a:gd name="connsiteY77" fmla="*/ 62465 h 308590"/>
                <a:gd name="connsiteX78" fmla="*/ 49223 w 306778"/>
                <a:gd name="connsiteY78" fmla="*/ 64179 h 308590"/>
                <a:gd name="connsiteX79" fmla="*/ 42079 w 306778"/>
                <a:gd name="connsiteY79" fmla="*/ 67322 h 308590"/>
                <a:gd name="connsiteX80" fmla="*/ 235817 w 306778"/>
                <a:gd name="connsiteY80" fmla="*/ 44938 h 308590"/>
                <a:gd name="connsiteX81" fmla="*/ 230293 w 306778"/>
                <a:gd name="connsiteY81" fmla="*/ 43129 h 308590"/>
                <a:gd name="connsiteX82" fmla="*/ 228484 w 306778"/>
                <a:gd name="connsiteY82" fmla="*/ 41891 h 308590"/>
                <a:gd name="connsiteX83" fmla="*/ 226007 w 306778"/>
                <a:gd name="connsiteY83" fmla="*/ 28651 h 308590"/>
                <a:gd name="connsiteX84" fmla="*/ 239247 w 306778"/>
                <a:gd name="connsiteY84" fmla="*/ 26174 h 308590"/>
                <a:gd name="connsiteX85" fmla="*/ 241437 w 306778"/>
                <a:gd name="connsiteY85" fmla="*/ 27698 h 308590"/>
                <a:gd name="connsiteX86" fmla="*/ 243628 w 306778"/>
                <a:gd name="connsiteY86" fmla="*/ 41033 h 308590"/>
                <a:gd name="connsiteX87" fmla="*/ 235913 w 306778"/>
                <a:gd name="connsiteY87" fmla="*/ 45034 h 308590"/>
                <a:gd name="connsiteX88" fmla="*/ 99420 w 306778"/>
                <a:gd name="connsiteY88" fmla="*/ 27603 h 308590"/>
                <a:gd name="connsiteX89" fmla="*/ 90561 w 306778"/>
                <a:gd name="connsiteY89" fmla="*/ 21507 h 308590"/>
                <a:gd name="connsiteX90" fmla="*/ 96086 w 306778"/>
                <a:gd name="connsiteY90" fmla="*/ 9220 h 308590"/>
                <a:gd name="connsiteX91" fmla="*/ 98467 w 306778"/>
                <a:gd name="connsiteY91" fmla="*/ 8363 h 308590"/>
                <a:gd name="connsiteX92" fmla="*/ 110659 w 306778"/>
                <a:gd name="connsiteY92" fmla="*/ 14078 h 308590"/>
                <a:gd name="connsiteX93" fmla="*/ 104944 w 306778"/>
                <a:gd name="connsiteY93" fmla="*/ 26270 h 308590"/>
                <a:gd name="connsiteX94" fmla="*/ 102754 w 306778"/>
                <a:gd name="connsiteY94" fmla="*/ 27032 h 308590"/>
                <a:gd name="connsiteX95" fmla="*/ 99325 w 306778"/>
                <a:gd name="connsiteY95" fmla="*/ 27698 h 308590"/>
                <a:gd name="connsiteX96" fmla="*/ 171048 w 306778"/>
                <a:gd name="connsiteY96" fmla="*/ 19316 h 308590"/>
                <a:gd name="connsiteX97" fmla="*/ 169714 w 306778"/>
                <a:gd name="connsiteY97" fmla="*/ 19316 h 308590"/>
                <a:gd name="connsiteX98" fmla="*/ 167523 w 306778"/>
                <a:gd name="connsiteY98" fmla="*/ 19030 h 308590"/>
                <a:gd name="connsiteX99" fmla="*/ 159141 w 306778"/>
                <a:gd name="connsiteY99" fmla="*/ 8458 h 308590"/>
                <a:gd name="connsiteX100" fmla="*/ 169714 w 306778"/>
                <a:gd name="connsiteY100" fmla="*/ 76 h 308590"/>
                <a:gd name="connsiteX101" fmla="*/ 172381 w 306778"/>
                <a:gd name="connsiteY101" fmla="*/ 457 h 308590"/>
                <a:gd name="connsiteX102" fmla="*/ 180477 w 306778"/>
                <a:gd name="connsiteY102" fmla="*/ 11220 h 308590"/>
                <a:gd name="connsiteX103" fmla="*/ 171048 w 306778"/>
                <a:gd name="connsiteY103" fmla="*/ 19412 h 30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306778" h="308590">
                  <a:moveTo>
                    <a:pt x="166666" y="308591"/>
                  </a:moveTo>
                  <a:cubicBezTo>
                    <a:pt x="161809" y="308591"/>
                    <a:pt x="157713" y="304971"/>
                    <a:pt x="157236" y="300018"/>
                  </a:cubicBezTo>
                  <a:cubicBezTo>
                    <a:pt x="156665" y="294779"/>
                    <a:pt x="160475" y="290112"/>
                    <a:pt x="165714" y="289541"/>
                  </a:cubicBezTo>
                  <a:lnTo>
                    <a:pt x="168000" y="289255"/>
                  </a:lnTo>
                  <a:cubicBezTo>
                    <a:pt x="173239" y="288588"/>
                    <a:pt x="177906" y="292398"/>
                    <a:pt x="178573" y="297637"/>
                  </a:cubicBezTo>
                  <a:cubicBezTo>
                    <a:pt x="179144" y="302876"/>
                    <a:pt x="175429" y="307543"/>
                    <a:pt x="170191" y="308209"/>
                  </a:cubicBezTo>
                  <a:lnTo>
                    <a:pt x="167619" y="308495"/>
                  </a:lnTo>
                  <a:cubicBezTo>
                    <a:pt x="167619" y="308495"/>
                    <a:pt x="166952" y="308495"/>
                    <a:pt x="166666" y="308495"/>
                  </a:cubicBezTo>
                  <a:close/>
                  <a:moveTo>
                    <a:pt x="99896" y="300018"/>
                  </a:moveTo>
                  <a:cubicBezTo>
                    <a:pt x="98753" y="300018"/>
                    <a:pt x="97610" y="299827"/>
                    <a:pt x="96562" y="299447"/>
                  </a:cubicBezTo>
                  <a:lnTo>
                    <a:pt x="94181" y="298494"/>
                  </a:lnTo>
                  <a:cubicBezTo>
                    <a:pt x="89324" y="296589"/>
                    <a:pt x="86847" y="291065"/>
                    <a:pt x="88847" y="286111"/>
                  </a:cubicBezTo>
                  <a:cubicBezTo>
                    <a:pt x="90847" y="281159"/>
                    <a:pt x="96277" y="278777"/>
                    <a:pt x="101230" y="280777"/>
                  </a:cubicBezTo>
                  <a:lnTo>
                    <a:pt x="103325" y="281635"/>
                  </a:lnTo>
                  <a:cubicBezTo>
                    <a:pt x="108278" y="283540"/>
                    <a:pt x="110755" y="288969"/>
                    <a:pt x="108850" y="293922"/>
                  </a:cubicBezTo>
                  <a:cubicBezTo>
                    <a:pt x="107421" y="297732"/>
                    <a:pt x="103801" y="300113"/>
                    <a:pt x="99896" y="300113"/>
                  </a:cubicBezTo>
                  <a:close/>
                  <a:moveTo>
                    <a:pt x="232293" y="284968"/>
                  </a:moveTo>
                  <a:cubicBezTo>
                    <a:pt x="229245" y="284968"/>
                    <a:pt x="226292" y="283540"/>
                    <a:pt x="224388" y="280777"/>
                  </a:cubicBezTo>
                  <a:cubicBezTo>
                    <a:pt x="221435" y="276396"/>
                    <a:pt x="222578" y="270491"/>
                    <a:pt x="226864" y="267538"/>
                  </a:cubicBezTo>
                  <a:lnTo>
                    <a:pt x="228769" y="266204"/>
                  </a:lnTo>
                  <a:cubicBezTo>
                    <a:pt x="233151" y="263251"/>
                    <a:pt x="239056" y="264299"/>
                    <a:pt x="242009" y="268585"/>
                  </a:cubicBezTo>
                  <a:cubicBezTo>
                    <a:pt x="244962" y="272872"/>
                    <a:pt x="243914" y="278873"/>
                    <a:pt x="239628" y="281825"/>
                  </a:cubicBezTo>
                  <a:lnTo>
                    <a:pt x="237532" y="283254"/>
                  </a:lnTo>
                  <a:cubicBezTo>
                    <a:pt x="235913" y="284397"/>
                    <a:pt x="234008" y="284873"/>
                    <a:pt x="232199" y="284873"/>
                  </a:cubicBezTo>
                  <a:close/>
                  <a:moveTo>
                    <a:pt x="42555" y="260489"/>
                  </a:moveTo>
                  <a:cubicBezTo>
                    <a:pt x="39983" y="260489"/>
                    <a:pt x="37317" y="259442"/>
                    <a:pt x="35412" y="257346"/>
                  </a:cubicBezTo>
                  <a:lnTo>
                    <a:pt x="33697" y="255441"/>
                  </a:lnTo>
                  <a:cubicBezTo>
                    <a:pt x="30268" y="251441"/>
                    <a:pt x="30745" y="245440"/>
                    <a:pt x="34650" y="242011"/>
                  </a:cubicBezTo>
                  <a:cubicBezTo>
                    <a:pt x="38555" y="238582"/>
                    <a:pt x="44651" y="238963"/>
                    <a:pt x="48080" y="242963"/>
                  </a:cubicBezTo>
                  <a:lnTo>
                    <a:pt x="49604" y="244678"/>
                  </a:lnTo>
                  <a:cubicBezTo>
                    <a:pt x="53128" y="248583"/>
                    <a:pt x="52747" y="254679"/>
                    <a:pt x="48842" y="258108"/>
                  </a:cubicBezTo>
                  <a:cubicBezTo>
                    <a:pt x="47032" y="259727"/>
                    <a:pt x="44746" y="260489"/>
                    <a:pt x="42460" y="260489"/>
                  </a:cubicBezTo>
                  <a:close/>
                  <a:moveTo>
                    <a:pt x="279442" y="233534"/>
                  </a:moveTo>
                  <a:cubicBezTo>
                    <a:pt x="277918" y="233534"/>
                    <a:pt x="276299" y="233152"/>
                    <a:pt x="274870" y="232391"/>
                  </a:cubicBezTo>
                  <a:cubicBezTo>
                    <a:pt x="270299" y="229819"/>
                    <a:pt x="268584" y="224009"/>
                    <a:pt x="271155" y="219436"/>
                  </a:cubicBezTo>
                  <a:lnTo>
                    <a:pt x="272203" y="217436"/>
                  </a:lnTo>
                  <a:cubicBezTo>
                    <a:pt x="274680" y="212769"/>
                    <a:pt x="280490" y="211055"/>
                    <a:pt x="285062" y="213531"/>
                  </a:cubicBezTo>
                  <a:cubicBezTo>
                    <a:pt x="289729" y="216008"/>
                    <a:pt x="291444" y="221818"/>
                    <a:pt x="288967" y="226390"/>
                  </a:cubicBezTo>
                  <a:lnTo>
                    <a:pt x="287729" y="228676"/>
                  </a:lnTo>
                  <a:cubicBezTo>
                    <a:pt x="286014" y="231819"/>
                    <a:pt x="282776" y="233629"/>
                    <a:pt x="279347" y="233629"/>
                  </a:cubicBezTo>
                  <a:close/>
                  <a:moveTo>
                    <a:pt x="10075" y="198863"/>
                  </a:moveTo>
                  <a:cubicBezTo>
                    <a:pt x="5789" y="198863"/>
                    <a:pt x="1883" y="196005"/>
                    <a:pt x="836" y="191624"/>
                  </a:cubicBezTo>
                  <a:lnTo>
                    <a:pt x="264" y="189147"/>
                  </a:lnTo>
                  <a:cubicBezTo>
                    <a:pt x="-974" y="184004"/>
                    <a:pt x="2265" y="178860"/>
                    <a:pt x="7313" y="177717"/>
                  </a:cubicBezTo>
                  <a:cubicBezTo>
                    <a:pt x="12457" y="176574"/>
                    <a:pt x="17600" y="179717"/>
                    <a:pt x="18743" y="184766"/>
                  </a:cubicBezTo>
                  <a:lnTo>
                    <a:pt x="19314" y="187051"/>
                  </a:lnTo>
                  <a:cubicBezTo>
                    <a:pt x="20553" y="192195"/>
                    <a:pt x="17505" y="197338"/>
                    <a:pt x="12361" y="198577"/>
                  </a:cubicBezTo>
                  <a:cubicBezTo>
                    <a:pt x="11599" y="198767"/>
                    <a:pt x="10837" y="198863"/>
                    <a:pt x="10075" y="198863"/>
                  </a:cubicBezTo>
                  <a:close/>
                  <a:moveTo>
                    <a:pt x="297254" y="166192"/>
                  </a:moveTo>
                  <a:lnTo>
                    <a:pt x="297159" y="166192"/>
                  </a:lnTo>
                  <a:cubicBezTo>
                    <a:pt x="291920" y="166192"/>
                    <a:pt x="287729" y="161810"/>
                    <a:pt x="287729" y="156571"/>
                  </a:cubicBezTo>
                  <a:lnTo>
                    <a:pt x="287729" y="154286"/>
                  </a:lnTo>
                  <a:cubicBezTo>
                    <a:pt x="287729" y="149047"/>
                    <a:pt x="292015" y="144475"/>
                    <a:pt x="297254" y="144475"/>
                  </a:cubicBezTo>
                  <a:cubicBezTo>
                    <a:pt x="302492" y="144475"/>
                    <a:pt x="306779" y="148475"/>
                    <a:pt x="306779" y="153714"/>
                  </a:cubicBezTo>
                  <a:lnTo>
                    <a:pt x="306779" y="156857"/>
                  </a:lnTo>
                  <a:cubicBezTo>
                    <a:pt x="306779" y="162096"/>
                    <a:pt x="302398" y="166287"/>
                    <a:pt x="297254" y="166287"/>
                  </a:cubicBezTo>
                  <a:close/>
                  <a:moveTo>
                    <a:pt x="9980" y="129140"/>
                  </a:moveTo>
                  <a:cubicBezTo>
                    <a:pt x="9218" y="129140"/>
                    <a:pt x="8456" y="129140"/>
                    <a:pt x="7694" y="128854"/>
                  </a:cubicBezTo>
                  <a:cubicBezTo>
                    <a:pt x="2550" y="127616"/>
                    <a:pt x="-498" y="122472"/>
                    <a:pt x="741" y="117329"/>
                  </a:cubicBezTo>
                  <a:lnTo>
                    <a:pt x="1407" y="114852"/>
                  </a:lnTo>
                  <a:cubicBezTo>
                    <a:pt x="2741" y="109709"/>
                    <a:pt x="7980" y="106756"/>
                    <a:pt x="13028" y="108089"/>
                  </a:cubicBezTo>
                  <a:cubicBezTo>
                    <a:pt x="18171" y="109423"/>
                    <a:pt x="21124" y="114662"/>
                    <a:pt x="19791" y="119710"/>
                  </a:cubicBezTo>
                  <a:lnTo>
                    <a:pt x="19219" y="121900"/>
                  </a:lnTo>
                  <a:cubicBezTo>
                    <a:pt x="18171" y="126282"/>
                    <a:pt x="14266" y="129140"/>
                    <a:pt x="9980" y="129140"/>
                  </a:cubicBezTo>
                  <a:close/>
                  <a:moveTo>
                    <a:pt x="281443" y="97707"/>
                  </a:moveTo>
                  <a:cubicBezTo>
                    <a:pt x="277918" y="97707"/>
                    <a:pt x="274584" y="95802"/>
                    <a:pt x="272965" y="92468"/>
                  </a:cubicBezTo>
                  <a:lnTo>
                    <a:pt x="271918" y="90468"/>
                  </a:lnTo>
                  <a:cubicBezTo>
                    <a:pt x="269441" y="85801"/>
                    <a:pt x="271251" y="80086"/>
                    <a:pt x="275823" y="77609"/>
                  </a:cubicBezTo>
                  <a:cubicBezTo>
                    <a:pt x="280490" y="75133"/>
                    <a:pt x="286205" y="76942"/>
                    <a:pt x="288682" y="81515"/>
                  </a:cubicBezTo>
                  <a:lnTo>
                    <a:pt x="289920" y="83800"/>
                  </a:lnTo>
                  <a:cubicBezTo>
                    <a:pt x="292301" y="88468"/>
                    <a:pt x="290396" y="94183"/>
                    <a:pt x="285729" y="96564"/>
                  </a:cubicBezTo>
                  <a:cubicBezTo>
                    <a:pt x="284300" y="97231"/>
                    <a:pt x="282871" y="97612"/>
                    <a:pt x="281443" y="97612"/>
                  </a:cubicBezTo>
                  <a:close/>
                  <a:moveTo>
                    <a:pt x="42175" y="67417"/>
                  </a:moveTo>
                  <a:cubicBezTo>
                    <a:pt x="39889" y="67417"/>
                    <a:pt x="37698" y="66655"/>
                    <a:pt x="35792" y="65036"/>
                  </a:cubicBezTo>
                  <a:cubicBezTo>
                    <a:pt x="31887" y="61512"/>
                    <a:pt x="31507" y="55511"/>
                    <a:pt x="35031" y="51606"/>
                  </a:cubicBezTo>
                  <a:lnTo>
                    <a:pt x="36650" y="49701"/>
                  </a:lnTo>
                  <a:cubicBezTo>
                    <a:pt x="40174" y="45796"/>
                    <a:pt x="46175" y="45510"/>
                    <a:pt x="50080" y="49034"/>
                  </a:cubicBezTo>
                  <a:cubicBezTo>
                    <a:pt x="53986" y="52558"/>
                    <a:pt x="54271" y="58559"/>
                    <a:pt x="50747" y="62465"/>
                  </a:cubicBezTo>
                  <a:lnTo>
                    <a:pt x="49223" y="64179"/>
                  </a:lnTo>
                  <a:cubicBezTo>
                    <a:pt x="47318" y="66275"/>
                    <a:pt x="44746" y="67322"/>
                    <a:pt x="42079" y="67322"/>
                  </a:cubicBezTo>
                  <a:close/>
                  <a:moveTo>
                    <a:pt x="235817" y="44938"/>
                  </a:moveTo>
                  <a:cubicBezTo>
                    <a:pt x="233913" y="44938"/>
                    <a:pt x="231912" y="44367"/>
                    <a:pt x="230293" y="43129"/>
                  </a:cubicBezTo>
                  <a:lnTo>
                    <a:pt x="228484" y="41891"/>
                  </a:lnTo>
                  <a:cubicBezTo>
                    <a:pt x="224102" y="38938"/>
                    <a:pt x="222959" y="33032"/>
                    <a:pt x="226007" y="28651"/>
                  </a:cubicBezTo>
                  <a:cubicBezTo>
                    <a:pt x="228960" y="24269"/>
                    <a:pt x="234865" y="23126"/>
                    <a:pt x="239247" y="26174"/>
                  </a:cubicBezTo>
                  <a:lnTo>
                    <a:pt x="241437" y="27698"/>
                  </a:lnTo>
                  <a:cubicBezTo>
                    <a:pt x="245724" y="30746"/>
                    <a:pt x="246676" y="36747"/>
                    <a:pt x="243628" y="41033"/>
                  </a:cubicBezTo>
                  <a:cubicBezTo>
                    <a:pt x="241724" y="43605"/>
                    <a:pt x="238866" y="45034"/>
                    <a:pt x="235913" y="45034"/>
                  </a:cubicBezTo>
                  <a:close/>
                  <a:moveTo>
                    <a:pt x="99420" y="27603"/>
                  </a:moveTo>
                  <a:cubicBezTo>
                    <a:pt x="95610" y="27603"/>
                    <a:pt x="91990" y="25317"/>
                    <a:pt x="90561" y="21507"/>
                  </a:cubicBezTo>
                  <a:cubicBezTo>
                    <a:pt x="88657" y="16554"/>
                    <a:pt x="91133" y="11125"/>
                    <a:pt x="96086" y="9220"/>
                  </a:cubicBezTo>
                  <a:lnTo>
                    <a:pt x="98467" y="8363"/>
                  </a:lnTo>
                  <a:cubicBezTo>
                    <a:pt x="103420" y="6553"/>
                    <a:pt x="108850" y="9125"/>
                    <a:pt x="110659" y="14078"/>
                  </a:cubicBezTo>
                  <a:cubicBezTo>
                    <a:pt x="112469" y="19030"/>
                    <a:pt x="109897" y="24460"/>
                    <a:pt x="104944" y="26270"/>
                  </a:cubicBezTo>
                  <a:lnTo>
                    <a:pt x="102754" y="27032"/>
                  </a:lnTo>
                  <a:cubicBezTo>
                    <a:pt x="101611" y="27413"/>
                    <a:pt x="100468" y="27698"/>
                    <a:pt x="99325" y="27698"/>
                  </a:cubicBezTo>
                  <a:close/>
                  <a:moveTo>
                    <a:pt x="171048" y="19316"/>
                  </a:moveTo>
                  <a:cubicBezTo>
                    <a:pt x="171048" y="19316"/>
                    <a:pt x="170191" y="19316"/>
                    <a:pt x="169714" y="19316"/>
                  </a:cubicBezTo>
                  <a:lnTo>
                    <a:pt x="167523" y="19030"/>
                  </a:lnTo>
                  <a:cubicBezTo>
                    <a:pt x="162285" y="18459"/>
                    <a:pt x="158570" y="13696"/>
                    <a:pt x="159141" y="8458"/>
                  </a:cubicBezTo>
                  <a:cubicBezTo>
                    <a:pt x="159713" y="3219"/>
                    <a:pt x="164475" y="-591"/>
                    <a:pt x="169714" y="76"/>
                  </a:cubicBezTo>
                  <a:lnTo>
                    <a:pt x="172381" y="457"/>
                  </a:lnTo>
                  <a:cubicBezTo>
                    <a:pt x="177620" y="1219"/>
                    <a:pt x="181239" y="5981"/>
                    <a:pt x="180477" y="11220"/>
                  </a:cubicBezTo>
                  <a:cubicBezTo>
                    <a:pt x="179811" y="15983"/>
                    <a:pt x="175715" y="19412"/>
                    <a:pt x="171048" y="194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C2BD9F42-293A-0553-F20B-C7CD3CBA65A1}"/>
                </a:ext>
              </a:extLst>
            </p:cNvPr>
            <p:cNvSpPr/>
            <p:nvPr/>
          </p:nvSpPr>
          <p:spPr>
            <a:xfrm rot="316174">
              <a:off x="11181411" y="1694661"/>
              <a:ext cx="605197" cy="606469"/>
            </a:xfrm>
            <a:custGeom>
              <a:avLst/>
              <a:gdLst>
                <a:gd name="connsiteX0" fmla="*/ 294017 w 560050"/>
                <a:gd name="connsiteY0" fmla="*/ 561227 h 561227"/>
                <a:gd name="connsiteX1" fmla="*/ 284492 w 560050"/>
                <a:gd name="connsiteY1" fmla="*/ 552179 h 561227"/>
                <a:gd name="connsiteX2" fmla="*/ 293541 w 560050"/>
                <a:gd name="connsiteY2" fmla="*/ 542177 h 561227"/>
                <a:gd name="connsiteX3" fmla="*/ 295732 w 560050"/>
                <a:gd name="connsiteY3" fmla="*/ 542177 h 561227"/>
                <a:gd name="connsiteX4" fmla="*/ 305828 w 560050"/>
                <a:gd name="connsiteY4" fmla="*/ 550940 h 561227"/>
                <a:gd name="connsiteX5" fmla="*/ 296970 w 560050"/>
                <a:gd name="connsiteY5" fmla="*/ 561037 h 561227"/>
                <a:gd name="connsiteX6" fmla="*/ 294493 w 560050"/>
                <a:gd name="connsiteY6" fmla="*/ 561227 h 561227"/>
                <a:gd name="connsiteX7" fmla="*/ 294017 w 560050"/>
                <a:gd name="connsiteY7" fmla="*/ 561227 h 561227"/>
                <a:gd name="connsiteX8" fmla="*/ 228485 w 560050"/>
                <a:gd name="connsiteY8" fmla="*/ 556941 h 561227"/>
                <a:gd name="connsiteX9" fmla="*/ 226771 w 560050"/>
                <a:gd name="connsiteY9" fmla="*/ 556751 h 561227"/>
                <a:gd name="connsiteX10" fmla="*/ 224294 w 560050"/>
                <a:gd name="connsiteY10" fmla="*/ 556274 h 561227"/>
                <a:gd name="connsiteX11" fmla="*/ 216865 w 560050"/>
                <a:gd name="connsiteY11" fmla="*/ 545035 h 561227"/>
                <a:gd name="connsiteX12" fmla="*/ 228104 w 560050"/>
                <a:gd name="connsiteY12" fmla="*/ 537605 h 561227"/>
                <a:gd name="connsiteX13" fmla="*/ 230295 w 560050"/>
                <a:gd name="connsiteY13" fmla="*/ 537986 h 561227"/>
                <a:gd name="connsiteX14" fmla="*/ 237915 w 560050"/>
                <a:gd name="connsiteY14" fmla="*/ 549131 h 561227"/>
                <a:gd name="connsiteX15" fmla="*/ 228580 w 560050"/>
                <a:gd name="connsiteY15" fmla="*/ 556941 h 561227"/>
                <a:gd name="connsiteX16" fmla="*/ 360883 w 560050"/>
                <a:gd name="connsiteY16" fmla="*/ 549035 h 561227"/>
                <a:gd name="connsiteX17" fmla="*/ 351834 w 560050"/>
                <a:gd name="connsiteY17" fmla="*/ 542368 h 561227"/>
                <a:gd name="connsiteX18" fmla="*/ 358025 w 560050"/>
                <a:gd name="connsiteY18" fmla="*/ 530462 h 561227"/>
                <a:gd name="connsiteX19" fmla="*/ 360216 w 560050"/>
                <a:gd name="connsiteY19" fmla="*/ 529795 h 561227"/>
                <a:gd name="connsiteX20" fmla="*/ 372218 w 560050"/>
                <a:gd name="connsiteY20" fmla="*/ 535891 h 561227"/>
                <a:gd name="connsiteX21" fmla="*/ 366121 w 560050"/>
                <a:gd name="connsiteY21" fmla="*/ 547892 h 561227"/>
                <a:gd name="connsiteX22" fmla="*/ 363836 w 560050"/>
                <a:gd name="connsiteY22" fmla="*/ 548654 h 561227"/>
                <a:gd name="connsiteX23" fmla="*/ 360978 w 560050"/>
                <a:gd name="connsiteY23" fmla="*/ 549131 h 561227"/>
                <a:gd name="connsiteX24" fmla="*/ 163715 w 560050"/>
                <a:gd name="connsiteY24" fmla="*/ 535986 h 561227"/>
                <a:gd name="connsiteX25" fmla="*/ 159715 w 560050"/>
                <a:gd name="connsiteY25" fmla="*/ 535129 h 561227"/>
                <a:gd name="connsiteX26" fmla="*/ 157524 w 560050"/>
                <a:gd name="connsiteY26" fmla="*/ 534081 h 561227"/>
                <a:gd name="connsiteX27" fmla="*/ 153047 w 560050"/>
                <a:gd name="connsiteY27" fmla="*/ 521413 h 561227"/>
                <a:gd name="connsiteX28" fmla="*/ 165716 w 560050"/>
                <a:gd name="connsiteY28" fmla="*/ 516936 h 561227"/>
                <a:gd name="connsiteX29" fmla="*/ 167716 w 560050"/>
                <a:gd name="connsiteY29" fmla="*/ 517889 h 561227"/>
                <a:gd name="connsiteX30" fmla="*/ 172288 w 560050"/>
                <a:gd name="connsiteY30" fmla="*/ 530557 h 561227"/>
                <a:gd name="connsiteX31" fmla="*/ 163620 w 560050"/>
                <a:gd name="connsiteY31" fmla="*/ 536081 h 561227"/>
                <a:gd name="connsiteX32" fmla="*/ 422700 w 560050"/>
                <a:gd name="connsiteY32" fmla="*/ 520556 h 561227"/>
                <a:gd name="connsiteX33" fmla="*/ 414604 w 560050"/>
                <a:gd name="connsiteY33" fmla="*/ 516079 h 561227"/>
                <a:gd name="connsiteX34" fmla="*/ 417652 w 560050"/>
                <a:gd name="connsiteY34" fmla="*/ 502934 h 561227"/>
                <a:gd name="connsiteX35" fmla="*/ 419557 w 560050"/>
                <a:gd name="connsiteY35" fmla="*/ 501696 h 561227"/>
                <a:gd name="connsiteX36" fmla="*/ 432701 w 560050"/>
                <a:gd name="connsiteY36" fmla="*/ 504649 h 561227"/>
                <a:gd name="connsiteX37" fmla="*/ 429748 w 560050"/>
                <a:gd name="connsiteY37" fmla="*/ 517793 h 561227"/>
                <a:gd name="connsiteX38" fmla="*/ 427749 w 560050"/>
                <a:gd name="connsiteY38" fmla="*/ 519032 h 561227"/>
                <a:gd name="connsiteX39" fmla="*/ 422700 w 560050"/>
                <a:gd name="connsiteY39" fmla="*/ 520460 h 561227"/>
                <a:gd name="connsiteX40" fmla="*/ 106280 w 560050"/>
                <a:gd name="connsiteY40" fmla="*/ 499505 h 561227"/>
                <a:gd name="connsiteX41" fmla="*/ 100279 w 560050"/>
                <a:gd name="connsiteY41" fmla="*/ 497315 h 561227"/>
                <a:gd name="connsiteX42" fmla="*/ 98374 w 560050"/>
                <a:gd name="connsiteY42" fmla="*/ 495695 h 561227"/>
                <a:gd name="connsiteX43" fmla="*/ 97326 w 560050"/>
                <a:gd name="connsiteY43" fmla="*/ 482265 h 561227"/>
                <a:gd name="connsiteX44" fmla="*/ 110756 w 560050"/>
                <a:gd name="connsiteY44" fmla="*/ 481217 h 561227"/>
                <a:gd name="connsiteX45" fmla="*/ 112471 w 560050"/>
                <a:gd name="connsiteY45" fmla="*/ 482646 h 561227"/>
                <a:gd name="connsiteX46" fmla="*/ 113804 w 560050"/>
                <a:gd name="connsiteY46" fmla="*/ 496076 h 561227"/>
                <a:gd name="connsiteX47" fmla="*/ 106470 w 560050"/>
                <a:gd name="connsiteY47" fmla="*/ 499505 h 561227"/>
                <a:gd name="connsiteX48" fmla="*/ 475374 w 560050"/>
                <a:gd name="connsiteY48" fmla="*/ 477598 h 561227"/>
                <a:gd name="connsiteX49" fmla="*/ 468801 w 560050"/>
                <a:gd name="connsiteY49" fmla="*/ 474931 h 561227"/>
                <a:gd name="connsiteX50" fmla="*/ 468420 w 560050"/>
                <a:gd name="connsiteY50" fmla="*/ 461501 h 561227"/>
                <a:gd name="connsiteX51" fmla="*/ 470040 w 560050"/>
                <a:gd name="connsiteY51" fmla="*/ 459786 h 561227"/>
                <a:gd name="connsiteX52" fmla="*/ 483470 w 560050"/>
                <a:gd name="connsiteY52" fmla="*/ 459405 h 561227"/>
                <a:gd name="connsiteX53" fmla="*/ 483850 w 560050"/>
                <a:gd name="connsiteY53" fmla="*/ 472835 h 561227"/>
                <a:gd name="connsiteX54" fmla="*/ 482231 w 560050"/>
                <a:gd name="connsiteY54" fmla="*/ 474550 h 561227"/>
                <a:gd name="connsiteX55" fmla="*/ 475374 w 560050"/>
                <a:gd name="connsiteY55" fmla="*/ 477503 h 561227"/>
                <a:gd name="connsiteX56" fmla="*/ 59607 w 560050"/>
                <a:gd name="connsiteY56" fmla="*/ 450071 h 561227"/>
                <a:gd name="connsiteX57" fmla="*/ 51892 w 560050"/>
                <a:gd name="connsiteY57" fmla="*/ 446165 h 561227"/>
                <a:gd name="connsiteX58" fmla="*/ 50463 w 560050"/>
                <a:gd name="connsiteY58" fmla="*/ 444165 h 561227"/>
                <a:gd name="connsiteX59" fmla="*/ 52654 w 560050"/>
                <a:gd name="connsiteY59" fmla="*/ 430830 h 561227"/>
                <a:gd name="connsiteX60" fmla="*/ 65989 w 560050"/>
                <a:gd name="connsiteY60" fmla="*/ 433021 h 561227"/>
                <a:gd name="connsiteX61" fmla="*/ 67322 w 560050"/>
                <a:gd name="connsiteY61" fmla="*/ 434831 h 561227"/>
                <a:gd name="connsiteX62" fmla="*/ 65322 w 560050"/>
                <a:gd name="connsiteY62" fmla="*/ 448166 h 561227"/>
                <a:gd name="connsiteX63" fmla="*/ 59702 w 560050"/>
                <a:gd name="connsiteY63" fmla="*/ 449975 h 561227"/>
                <a:gd name="connsiteX64" fmla="*/ 515855 w 560050"/>
                <a:gd name="connsiteY64" fmla="*/ 422924 h 561227"/>
                <a:gd name="connsiteX65" fmla="*/ 511187 w 560050"/>
                <a:gd name="connsiteY65" fmla="*/ 421686 h 561227"/>
                <a:gd name="connsiteX66" fmla="*/ 507473 w 560050"/>
                <a:gd name="connsiteY66" fmla="*/ 408732 h 561227"/>
                <a:gd name="connsiteX67" fmla="*/ 508616 w 560050"/>
                <a:gd name="connsiteY67" fmla="*/ 406732 h 561227"/>
                <a:gd name="connsiteX68" fmla="*/ 521570 w 560050"/>
                <a:gd name="connsiteY68" fmla="*/ 403017 h 561227"/>
                <a:gd name="connsiteX69" fmla="*/ 525284 w 560050"/>
                <a:gd name="connsiteY69" fmla="*/ 415971 h 561227"/>
                <a:gd name="connsiteX70" fmla="*/ 524141 w 560050"/>
                <a:gd name="connsiteY70" fmla="*/ 418067 h 561227"/>
                <a:gd name="connsiteX71" fmla="*/ 515855 w 560050"/>
                <a:gd name="connsiteY71" fmla="*/ 422924 h 561227"/>
                <a:gd name="connsiteX72" fmla="*/ 26746 w 560050"/>
                <a:gd name="connsiteY72" fmla="*/ 390539 h 561227"/>
                <a:gd name="connsiteX73" fmla="*/ 17888 w 560050"/>
                <a:gd name="connsiteY73" fmla="*/ 384539 h 561227"/>
                <a:gd name="connsiteX74" fmla="*/ 17031 w 560050"/>
                <a:gd name="connsiteY74" fmla="*/ 382348 h 561227"/>
                <a:gd name="connsiteX75" fmla="*/ 22365 w 560050"/>
                <a:gd name="connsiteY75" fmla="*/ 369965 h 561227"/>
                <a:gd name="connsiteX76" fmla="*/ 34747 w 560050"/>
                <a:gd name="connsiteY76" fmla="*/ 375299 h 561227"/>
                <a:gd name="connsiteX77" fmla="*/ 35604 w 560050"/>
                <a:gd name="connsiteY77" fmla="*/ 377490 h 561227"/>
                <a:gd name="connsiteX78" fmla="*/ 30270 w 560050"/>
                <a:gd name="connsiteY78" fmla="*/ 389873 h 561227"/>
                <a:gd name="connsiteX79" fmla="*/ 26746 w 560050"/>
                <a:gd name="connsiteY79" fmla="*/ 390539 h 561227"/>
                <a:gd name="connsiteX80" fmla="*/ 541477 w 560050"/>
                <a:gd name="connsiteY80" fmla="*/ 359869 h 561227"/>
                <a:gd name="connsiteX81" fmla="*/ 539000 w 560050"/>
                <a:gd name="connsiteY81" fmla="*/ 359488 h 561227"/>
                <a:gd name="connsiteX82" fmla="*/ 532333 w 560050"/>
                <a:gd name="connsiteY82" fmla="*/ 347772 h 561227"/>
                <a:gd name="connsiteX83" fmla="*/ 532904 w 560050"/>
                <a:gd name="connsiteY83" fmla="*/ 345581 h 561227"/>
                <a:gd name="connsiteX84" fmla="*/ 544525 w 560050"/>
                <a:gd name="connsiteY84" fmla="*/ 338723 h 561227"/>
                <a:gd name="connsiteX85" fmla="*/ 551383 w 560050"/>
                <a:gd name="connsiteY85" fmla="*/ 350344 h 561227"/>
                <a:gd name="connsiteX86" fmla="*/ 550716 w 560050"/>
                <a:gd name="connsiteY86" fmla="*/ 352725 h 561227"/>
                <a:gd name="connsiteX87" fmla="*/ 541572 w 560050"/>
                <a:gd name="connsiteY87" fmla="*/ 359774 h 561227"/>
                <a:gd name="connsiteX88" fmla="*/ 9791 w 560050"/>
                <a:gd name="connsiteY88" fmla="*/ 324626 h 561227"/>
                <a:gd name="connsiteX89" fmla="*/ 362 w 560050"/>
                <a:gd name="connsiteY89" fmla="*/ 316340 h 561227"/>
                <a:gd name="connsiteX90" fmla="*/ 76 w 560050"/>
                <a:gd name="connsiteY90" fmla="*/ 313863 h 561227"/>
                <a:gd name="connsiteX91" fmla="*/ 8458 w 560050"/>
                <a:gd name="connsiteY91" fmla="*/ 303290 h 561227"/>
                <a:gd name="connsiteX92" fmla="*/ 19030 w 560050"/>
                <a:gd name="connsiteY92" fmla="*/ 311672 h 561227"/>
                <a:gd name="connsiteX93" fmla="*/ 19316 w 560050"/>
                <a:gd name="connsiteY93" fmla="*/ 313863 h 561227"/>
                <a:gd name="connsiteX94" fmla="*/ 11125 w 560050"/>
                <a:gd name="connsiteY94" fmla="*/ 324531 h 561227"/>
                <a:gd name="connsiteX95" fmla="*/ 9887 w 560050"/>
                <a:gd name="connsiteY95" fmla="*/ 324531 h 561227"/>
                <a:gd name="connsiteX96" fmla="*/ 550525 w 560050"/>
                <a:gd name="connsiteY96" fmla="*/ 292432 h 561227"/>
                <a:gd name="connsiteX97" fmla="*/ 550431 w 560050"/>
                <a:gd name="connsiteY97" fmla="*/ 292432 h 561227"/>
                <a:gd name="connsiteX98" fmla="*/ 541000 w 560050"/>
                <a:gd name="connsiteY98" fmla="*/ 282812 h 561227"/>
                <a:gd name="connsiteX99" fmla="*/ 541000 w 560050"/>
                <a:gd name="connsiteY99" fmla="*/ 279478 h 561227"/>
                <a:gd name="connsiteX100" fmla="*/ 550525 w 560050"/>
                <a:gd name="connsiteY100" fmla="*/ 269953 h 561227"/>
                <a:gd name="connsiteX101" fmla="*/ 560050 w 560050"/>
                <a:gd name="connsiteY101" fmla="*/ 279478 h 561227"/>
                <a:gd name="connsiteX102" fmla="*/ 560050 w 560050"/>
                <a:gd name="connsiteY102" fmla="*/ 283002 h 561227"/>
                <a:gd name="connsiteX103" fmla="*/ 550525 w 560050"/>
                <a:gd name="connsiteY103" fmla="*/ 292432 h 561227"/>
                <a:gd name="connsiteX104" fmla="*/ 9696 w 560050"/>
                <a:gd name="connsiteY104" fmla="*/ 256618 h 561227"/>
                <a:gd name="connsiteX105" fmla="*/ 8553 w 560050"/>
                <a:gd name="connsiteY105" fmla="*/ 256618 h 561227"/>
                <a:gd name="connsiteX106" fmla="*/ 266 w 560050"/>
                <a:gd name="connsiteY106" fmla="*/ 246045 h 561227"/>
                <a:gd name="connsiteX107" fmla="*/ 552 w 560050"/>
                <a:gd name="connsiteY107" fmla="*/ 243759 h 561227"/>
                <a:gd name="connsiteX108" fmla="*/ 11220 w 560050"/>
                <a:gd name="connsiteY108" fmla="*/ 235472 h 561227"/>
                <a:gd name="connsiteX109" fmla="*/ 19412 w 560050"/>
                <a:gd name="connsiteY109" fmla="*/ 246045 h 561227"/>
                <a:gd name="connsiteX110" fmla="*/ 19126 w 560050"/>
                <a:gd name="connsiteY110" fmla="*/ 248236 h 561227"/>
                <a:gd name="connsiteX111" fmla="*/ 9696 w 560050"/>
                <a:gd name="connsiteY111" fmla="*/ 256618 h 561227"/>
                <a:gd name="connsiteX112" fmla="*/ 542429 w 560050"/>
                <a:gd name="connsiteY112" fmla="*/ 223852 h 561227"/>
                <a:gd name="connsiteX113" fmla="*/ 533190 w 560050"/>
                <a:gd name="connsiteY113" fmla="*/ 216708 h 561227"/>
                <a:gd name="connsiteX114" fmla="*/ 532618 w 560050"/>
                <a:gd name="connsiteY114" fmla="*/ 214422 h 561227"/>
                <a:gd name="connsiteX115" fmla="*/ 539477 w 560050"/>
                <a:gd name="connsiteY115" fmla="*/ 202802 h 561227"/>
                <a:gd name="connsiteX116" fmla="*/ 551097 w 560050"/>
                <a:gd name="connsiteY116" fmla="*/ 209660 h 561227"/>
                <a:gd name="connsiteX117" fmla="*/ 551668 w 560050"/>
                <a:gd name="connsiteY117" fmla="*/ 211946 h 561227"/>
                <a:gd name="connsiteX118" fmla="*/ 544811 w 560050"/>
                <a:gd name="connsiteY118" fmla="*/ 223566 h 561227"/>
                <a:gd name="connsiteX119" fmla="*/ 542429 w 560050"/>
                <a:gd name="connsiteY119" fmla="*/ 223852 h 561227"/>
                <a:gd name="connsiteX120" fmla="*/ 26460 w 560050"/>
                <a:gd name="connsiteY120" fmla="*/ 190705 h 561227"/>
                <a:gd name="connsiteX121" fmla="*/ 22936 w 560050"/>
                <a:gd name="connsiteY121" fmla="*/ 190038 h 561227"/>
                <a:gd name="connsiteX122" fmla="*/ 17602 w 560050"/>
                <a:gd name="connsiteY122" fmla="*/ 177656 h 561227"/>
                <a:gd name="connsiteX123" fmla="*/ 18554 w 560050"/>
                <a:gd name="connsiteY123" fmla="*/ 175370 h 561227"/>
                <a:gd name="connsiteX124" fmla="*/ 30937 w 560050"/>
                <a:gd name="connsiteY124" fmla="*/ 170131 h 561227"/>
                <a:gd name="connsiteX125" fmla="*/ 36175 w 560050"/>
                <a:gd name="connsiteY125" fmla="*/ 182513 h 561227"/>
                <a:gd name="connsiteX126" fmla="*/ 35318 w 560050"/>
                <a:gd name="connsiteY126" fmla="*/ 184609 h 561227"/>
                <a:gd name="connsiteX127" fmla="*/ 26460 w 560050"/>
                <a:gd name="connsiteY127" fmla="*/ 190610 h 561227"/>
                <a:gd name="connsiteX128" fmla="*/ 517759 w 560050"/>
                <a:gd name="connsiteY128" fmla="*/ 160511 h 561227"/>
                <a:gd name="connsiteX129" fmla="*/ 509377 w 560050"/>
                <a:gd name="connsiteY129" fmla="*/ 155558 h 561227"/>
                <a:gd name="connsiteX130" fmla="*/ 508330 w 560050"/>
                <a:gd name="connsiteY130" fmla="*/ 153653 h 561227"/>
                <a:gd name="connsiteX131" fmla="*/ 512045 w 560050"/>
                <a:gd name="connsiteY131" fmla="*/ 140699 h 561227"/>
                <a:gd name="connsiteX132" fmla="*/ 524998 w 560050"/>
                <a:gd name="connsiteY132" fmla="*/ 144413 h 561227"/>
                <a:gd name="connsiteX133" fmla="*/ 526141 w 560050"/>
                <a:gd name="connsiteY133" fmla="*/ 146604 h 561227"/>
                <a:gd name="connsiteX134" fmla="*/ 522332 w 560050"/>
                <a:gd name="connsiteY134" fmla="*/ 159558 h 561227"/>
                <a:gd name="connsiteX135" fmla="*/ 517855 w 560050"/>
                <a:gd name="connsiteY135" fmla="*/ 160701 h 561227"/>
                <a:gd name="connsiteX136" fmla="*/ 59131 w 560050"/>
                <a:gd name="connsiteY136" fmla="*/ 131078 h 561227"/>
                <a:gd name="connsiteX137" fmla="*/ 53606 w 560050"/>
                <a:gd name="connsiteY137" fmla="*/ 129269 h 561227"/>
                <a:gd name="connsiteX138" fmla="*/ 51416 w 560050"/>
                <a:gd name="connsiteY138" fmla="*/ 115934 h 561227"/>
                <a:gd name="connsiteX139" fmla="*/ 52844 w 560050"/>
                <a:gd name="connsiteY139" fmla="*/ 113933 h 561227"/>
                <a:gd name="connsiteX140" fmla="*/ 66179 w 560050"/>
                <a:gd name="connsiteY140" fmla="*/ 111933 h 561227"/>
                <a:gd name="connsiteX141" fmla="*/ 68180 w 560050"/>
                <a:gd name="connsiteY141" fmla="*/ 125268 h 561227"/>
                <a:gd name="connsiteX142" fmla="*/ 66846 w 560050"/>
                <a:gd name="connsiteY142" fmla="*/ 127078 h 561227"/>
                <a:gd name="connsiteX143" fmla="*/ 59131 w 560050"/>
                <a:gd name="connsiteY143" fmla="*/ 131078 h 561227"/>
                <a:gd name="connsiteX144" fmla="*/ 478040 w 560050"/>
                <a:gd name="connsiteY144" fmla="*/ 105361 h 561227"/>
                <a:gd name="connsiteX145" fmla="*/ 470992 w 560050"/>
                <a:gd name="connsiteY145" fmla="*/ 102313 h 561227"/>
                <a:gd name="connsiteX146" fmla="*/ 469468 w 560050"/>
                <a:gd name="connsiteY146" fmla="*/ 100694 h 561227"/>
                <a:gd name="connsiteX147" fmla="*/ 469849 w 560050"/>
                <a:gd name="connsiteY147" fmla="*/ 87263 h 561227"/>
                <a:gd name="connsiteX148" fmla="*/ 483279 w 560050"/>
                <a:gd name="connsiteY148" fmla="*/ 87644 h 561227"/>
                <a:gd name="connsiteX149" fmla="*/ 484993 w 560050"/>
                <a:gd name="connsiteY149" fmla="*/ 89454 h 561227"/>
                <a:gd name="connsiteX150" fmla="*/ 484422 w 560050"/>
                <a:gd name="connsiteY150" fmla="*/ 102884 h 561227"/>
                <a:gd name="connsiteX151" fmla="*/ 477945 w 560050"/>
                <a:gd name="connsiteY151" fmla="*/ 105361 h 561227"/>
                <a:gd name="connsiteX152" fmla="*/ 105613 w 560050"/>
                <a:gd name="connsiteY152" fmla="*/ 81358 h 561227"/>
                <a:gd name="connsiteX153" fmla="*/ 98279 w 560050"/>
                <a:gd name="connsiteY153" fmla="*/ 77929 h 561227"/>
                <a:gd name="connsiteX154" fmla="*/ 99517 w 560050"/>
                <a:gd name="connsiteY154" fmla="*/ 64499 h 561227"/>
                <a:gd name="connsiteX155" fmla="*/ 101422 w 560050"/>
                <a:gd name="connsiteY155" fmla="*/ 62975 h 561227"/>
                <a:gd name="connsiteX156" fmla="*/ 114852 w 560050"/>
                <a:gd name="connsiteY156" fmla="*/ 64308 h 561227"/>
                <a:gd name="connsiteX157" fmla="*/ 113518 w 560050"/>
                <a:gd name="connsiteY157" fmla="*/ 77738 h 561227"/>
                <a:gd name="connsiteX158" fmla="*/ 111804 w 560050"/>
                <a:gd name="connsiteY158" fmla="*/ 79167 h 561227"/>
                <a:gd name="connsiteX159" fmla="*/ 105708 w 560050"/>
                <a:gd name="connsiteY159" fmla="*/ 81358 h 561227"/>
                <a:gd name="connsiteX160" fmla="*/ 425843 w 560050"/>
                <a:gd name="connsiteY160" fmla="*/ 61641 h 561227"/>
                <a:gd name="connsiteX161" fmla="*/ 420795 w 560050"/>
                <a:gd name="connsiteY161" fmla="*/ 60212 h 561227"/>
                <a:gd name="connsiteX162" fmla="*/ 418795 w 560050"/>
                <a:gd name="connsiteY162" fmla="*/ 58974 h 561227"/>
                <a:gd name="connsiteX163" fmla="*/ 415842 w 560050"/>
                <a:gd name="connsiteY163" fmla="*/ 45830 h 561227"/>
                <a:gd name="connsiteX164" fmla="*/ 428987 w 560050"/>
                <a:gd name="connsiteY164" fmla="*/ 42877 h 561227"/>
                <a:gd name="connsiteX165" fmla="*/ 430987 w 560050"/>
                <a:gd name="connsiteY165" fmla="*/ 44115 h 561227"/>
                <a:gd name="connsiteX166" fmla="*/ 433939 w 560050"/>
                <a:gd name="connsiteY166" fmla="*/ 57260 h 561227"/>
                <a:gd name="connsiteX167" fmla="*/ 425843 w 560050"/>
                <a:gd name="connsiteY167" fmla="*/ 61736 h 561227"/>
                <a:gd name="connsiteX168" fmla="*/ 162858 w 560050"/>
                <a:gd name="connsiteY168" fmla="*/ 44687 h 561227"/>
                <a:gd name="connsiteX169" fmla="*/ 154286 w 560050"/>
                <a:gd name="connsiteY169" fmla="*/ 39257 h 561227"/>
                <a:gd name="connsiteX170" fmla="*/ 158857 w 560050"/>
                <a:gd name="connsiteY170" fmla="*/ 26589 h 561227"/>
                <a:gd name="connsiteX171" fmla="*/ 161049 w 560050"/>
                <a:gd name="connsiteY171" fmla="*/ 25541 h 561227"/>
                <a:gd name="connsiteX172" fmla="*/ 173716 w 560050"/>
                <a:gd name="connsiteY172" fmla="*/ 30113 h 561227"/>
                <a:gd name="connsiteX173" fmla="*/ 169145 w 560050"/>
                <a:gd name="connsiteY173" fmla="*/ 42782 h 561227"/>
                <a:gd name="connsiteX174" fmla="*/ 167049 w 560050"/>
                <a:gd name="connsiteY174" fmla="*/ 43734 h 561227"/>
                <a:gd name="connsiteX175" fmla="*/ 162953 w 560050"/>
                <a:gd name="connsiteY175" fmla="*/ 44687 h 561227"/>
                <a:gd name="connsiteX176" fmla="*/ 364407 w 560050"/>
                <a:gd name="connsiteY176" fmla="*/ 32304 h 561227"/>
                <a:gd name="connsiteX177" fmla="*/ 361454 w 560050"/>
                <a:gd name="connsiteY177" fmla="*/ 31828 h 561227"/>
                <a:gd name="connsiteX178" fmla="*/ 359264 w 560050"/>
                <a:gd name="connsiteY178" fmla="*/ 31161 h 561227"/>
                <a:gd name="connsiteX179" fmla="*/ 353072 w 560050"/>
                <a:gd name="connsiteY179" fmla="*/ 19160 h 561227"/>
                <a:gd name="connsiteX180" fmla="*/ 365074 w 560050"/>
                <a:gd name="connsiteY180" fmla="*/ 12968 h 561227"/>
                <a:gd name="connsiteX181" fmla="*/ 367360 w 560050"/>
                <a:gd name="connsiteY181" fmla="*/ 13730 h 561227"/>
                <a:gd name="connsiteX182" fmla="*/ 373361 w 560050"/>
                <a:gd name="connsiteY182" fmla="*/ 25732 h 561227"/>
                <a:gd name="connsiteX183" fmla="*/ 364312 w 560050"/>
                <a:gd name="connsiteY183" fmla="*/ 32304 h 561227"/>
                <a:gd name="connsiteX184" fmla="*/ 227438 w 560050"/>
                <a:gd name="connsiteY184" fmla="*/ 23541 h 561227"/>
                <a:gd name="connsiteX185" fmla="*/ 218103 w 560050"/>
                <a:gd name="connsiteY185" fmla="*/ 15826 h 561227"/>
                <a:gd name="connsiteX186" fmla="*/ 225628 w 560050"/>
                <a:gd name="connsiteY186" fmla="*/ 4682 h 561227"/>
                <a:gd name="connsiteX187" fmla="*/ 228009 w 560050"/>
                <a:gd name="connsiteY187" fmla="*/ 4205 h 561227"/>
                <a:gd name="connsiteX188" fmla="*/ 239058 w 560050"/>
                <a:gd name="connsiteY188" fmla="*/ 11825 h 561227"/>
                <a:gd name="connsiteX189" fmla="*/ 231438 w 560050"/>
                <a:gd name="connsiteY189" fmla="*/ 22874 h 561227"/>
                <a:gd name="connsiteX190" fmla="*/ 229247 w 560050"/>
                <a:gd name="connsiteY190" fmla="*/ 23255 h 561227"/>
                <a:gd name="connsiteX191" fmla="*/ 227438 w 560050"/>
                <a:gd name="connsiteY191" fmla="*/ 23446 h 561227"/>
                <a:gd name="connsiteX192" fmla="*/ 297637 w 560050"/>
                <a:gd name="connsiteY192" fmla="*/ 19255 h 561227"/>
                <a:gd name="connsiteX193" fmla="*/ 296970 w 560050"/>
                <a:gd name="connsiteY193" fmla="*/ 19255 h 561227"/>
                <a:gd name="connsiteX194" fmla="*/ 294684 w 560050"/>
                <a:gd name="connsiteY194" fmla="*/ 19064 h 561227"/>
                <a:gd name="connsiteX195" fmla="*/ 285730 w 560050"/>
                <a:gd name="connsiteY195" fmla="*/ 8968 h 561227"/>
                <a:gd name="connsiteX196" fmla="*/ 295827 w 560050"/>
                <a:gd name="connsiteY196" fmla="*/ 14 h 561227"/>
                <a:gd name="connsiteX197" fmla="*/ 298208 w 560050"/>
                <a:gd name="connsiteY197" fmla="*/ 205 h 561227"/>
                <a:gd name="connsiteX198" fmla="*/ 307066 w 560050"/>
                <a:gd name="connsiteY198" fmla="*/ 10301 h 561227"/>
                <a:gd name="connsiteX199" fmla="*/ 297541 w 560050"/>
                <a:gd name="connsiteY199" fmla="*/ 19160 h 561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560050" h="561227">
                  <a:moveTo>
                    <a:pt x="294017" y="561227"/>
                  </a:moveTo>
                  <a:cubicBezTo>
                    <a:pt x="288969" y="561227"/>
                    <a:pt x="284778" y="557322"/>
                    <a:pt x="284492" y="552179"/>
                  </a:cubicBezTo>
                  <a:cubicBezTo>
                    <a:pt x="284207" y="546940"/>
                    <a:pt x="288207" y="542463"/>
                    <a:pt x="293541" y="542177"/>
                  </a:cubicBezTo>
                  <a:lnTo>
                    <a:pt x="295732" y="542177"/>
                  </a:lnTo>
                  <a:cubicBezTo>
                    <a:pt x="301161" y="541701"/>
                    <a:pt x="305543" y="545702"/>
                    <a:pt x="305828" y="550940"/>
                  </a:cubicBezTo>
                  <a:cubicBezTo>
                    <a:pt x="306209" y="556179"/>
                    <a:pt x="302209" y="560751"/>
                    <a:pt x="296970" y="561037"/>
                  </a:cubicBezTo>
                  <a:lnTo>
                    <a:pt x="294493" y="561227"/>
                  </a:lnTo>
                  <a:cubicBezTo>
                    <a:pt x="294493" y="561227"/>
                    <a:pt x="294113" y="561227"/>
                    <a:pt x="294017" y="561227"/>
                  </a:cubicBezTo>
                  <a:close/>
                  <a:moveTo>
                    <a:pt x="228485" y="556941"/>
                  </a:moveTo>
                  <a:cubicBezTo>
                    <a:pt x="227914" y="556941"/>
                    <a:pt x="227342" y="556941"/>
                    <a:pt x="226771" y="556751"/>
                  </a:cubicBezTo>
                  <a:lnTo>
                    <a:pt x="224294" y="556274"/>
                  </a:lnTo>
                  <a:cubicBezTo>
                    <a:pt x="219151" y="555227"/>
                    <a:pt x="215817" y="550178"/>
                    <a:pt x="216865" y="545035"/>
                  </a:cubicBezTo>
                  <a:cubicBezTo>
                    <a:pt x="217913" y="539891"/>
                    <a:pt x="222961" y="536558"/>
                    <a:pt x="228104" y="537605"/>
                  </a:cubicBezTo>
                  <a:lnTo>
                    <a:pt x="230295" y="537986"/>
                  </a:lnTo>
                  <a:cubicBezTo>
                    <a:pt x="235439" y="538939"/>
                    <a:pt x="238868" y="543892"/>
                    <a:pt x="237915" y="549131"/>
                  </a:cubicBezTo>
                  <a:cubicBezTo>
                    <a:pt x="237058" y="553703"/>
                    <a:pt x="233058" y="556941"/>
                    <a:pt x="228580" y="556941"/>
                  </a:cubicBezTo>
                  <a:close/>
                  <a:moveTo>
                    <a:pt x="360883" y="549035"/>
                  </a:moveTo>
                  <a:cubicBezTo>
                    <a:pt x="356883" y="549035"/>
                    <a:pt x="353072" y="546464"/>
                    <a:pt x="351834" y="542368"/>
                  </a:cubicBezTo>
                  <a:cubicBezTo>
                    <a:pt x="350215" y="537320"/>
                    <a:pt x="353072" y="531986"/>
                    <a:pt x="358025" y="530462"/>
                  </a:cubicBezTo>
                  <a:lnTo>
                    <a:pt x="360216" y="529795"/>
                  </a:lnTo>
                  <a:cubicBezTo>
                    <a:pt x="365265" y="528176"/>
                    <a:pt x="370599" y="530938"/>
                    <a:pt x="372218" y="535891"/>
                  </a:cubicBezTo>
                  <a:cubicBezTo>
                    <a:pt x="373837" y="540939"/>
                    <a:pt x="371075" y="546273"/>
                    <a:pt x="366121" y="547892"/>
                  </a:cubicBezTo>
                  <a:lnTo>
                    <a:pt x="363836" y="548654"/>
                  </a:lnTo>
                  <a:cubicBezTo>
                    <a:pt x="362883" y="548940"/>
                    <a:pt x="361930" y="549131"/>
                    <a:pt x="360978" y="549131"/>
                  </a:cubicBezTo>
                  <a:close/>
                  <a:moveTo>
                    <a:pt x="163715" y="535986"/>
                  </a:moveTo>
                  <a:cubicBezTo>
                    <a:pt x="162382" y="535986"/>
                    <a:pt x="160953" y="535700"/>
                    <a:pt x="159715" y="535129"/>
                  </a:cubicBezTo>
                  <a:lnTo>
                    <a:pt x="157524" y="534081"/>
                  </a:lnTo>
                  <a:cubicBezTo>
                    <a:pt x="152762" y="531795"/>
                    <a:pt x="150761" y="526080"/>
                    <a:pt x="153047" y="521413"/>
                  </a:cubicBezTo>
                  <a:cubicBezTo>
                    <a:pt x="155333" y="516650"/>
                    <a:pt x="160953" y="514650"/>
                    <a:pt x="165716" y="516936"/>
                  </a:cubicBezTo>
                  <a:lnTo>
                    <a:pt x="167716" y="517889"/>
                  </a:lnTo>
                  <a:cubicBezTo>
                    <a:pt x="172478" y="520079"/>
                    <a:pt x="174574" y="525794"/>
                    <a:pt x="172288" y="530557"/>
                  </a:cubicBezTo>
                  <a:cubicBezTo>
                    <a:pt x="170668" y="533986"/>
                    <a:pt x="167239" y="536081"/>
                    <a:pt x="163620" y="536081"/>
                  </a:cubicBezTo>
                  <a:close/>
                  <a:moveTo>
                    <a:pt x="422700" y="520556"/>
                  </a:moveTo>
                  <a:cubicBezTo>
                    <a:pt x="419557" y="520556"/>
                    <a:pt x="416414" y="518936"/>
                    <a:pt x="414604" y="516079"/>
                  </a:cubicBezTo>
                  <a:cubicBezTo>
                    <a:pt x="411841" y="511602"/>
                    <a:pt x="413175" y="505697"/>
                    <a:pt x="417652" y="502934"/>
                  </a:cubicBezTo>
                  <a:lnTo>
                    <a:pt x="419557" y="501696"/>
                  </a:lnTo>
                  <a:cubicBezTo>
                    <a:pt x="424034" y="498934"/>
                    <a:pt x="429844" y="500172"/>
                    <a:pt x="432701" y="504649"/>
                  </a:cubicBezTo>
                  <a:cubicBezTo>
                    <a:pt x="435559" y="509126"/>
                    <a:pt x="434225" y="514936"/>
                    <a:pt x="429748" y="517793"/>
                  </a:cubicBezTo>
                  <a:lnTo>
                    <a:pt x="427749" y="519032"/>
                  </a:lnTo>
                  <a:cubicBezTo>
                    <a:pt x="426224" y="519984"/>
                    <a:pt x="424414" y="520460"/>
                    <a:pt x="422700" y="520460"/>
                  </a:cubicBezTo>
                  <a:close/>
                  <a:moveTo>
                    <a:pt x="106280" y="499505"/>
                  </a:moveTo>
                  <a:cubicBezTo>
                    <a:pt x="104184" y="499505"/>
                    <a:pt x="101993" y="498839"/>
                    <a:pt x="100279" y="497315"/>
                  </a:cubicBezTo>
                  <a:lnTo>
                    <a:pt x="98374" y="495695"/>
                  </a:lnTo>
                  <a:cubicBezTo>
                    <a:pt x="94374" y="492266"/>
                    <a:pt x="93897" y="486266"/>
                    <a:pt x="97326" y="482265"/>
                  </a:cubicBezTo>
                  <a:cubicBezTo>
                    <a:pt x="100755" y="478265"/>
                    <a:pt x="106756" y="477788"/>
                    <a:pt x="110756" y="481217"/>
                  </a:cubicBezTo>
                  <a:lnTo>
                    <a:pt x="112471" y="482646"/>
                  </a:lnTo>
                  <a:cubicBezTo>
                    <a:pt x="116566" y="485980"/>
                    <a:pt x="117138" y="491981"/>
                    <a:pt x="113804" y="496076"/>
                  </a:cubicBezTo>
                  <a:cubicBezTo>
                    <a:pt x="111899" y="498362"/>
                    <a:pt x="109233" y="499505"/>
                    <a:pt x="106470" y="499505"/>
                  </a:cubicBezTo>
                  <a:close/>
                  <a:moveTo>
                    <a:pt x="475374" y="477598"/>
                  </a:moveTo>
                  <a:cubicBezTo>
                    <a:pt x="472992" y="477598"/>
                    <a:pt x="470611" y="476741"/>
                    <a:pt x="468801" y="474931"/>
                  </a:cubicBezTo>
                  <a:cubicBezTo>
                    <a:pt x="464991" y="471311"/>
                    <a:pt x="464800" y="465311"/>
                    <a:pt x="468420" y="461501"/>
                  </a:cubicBezTo>
                  <a:lnTo>
                    <a:pt x="470040" y="459786"/>
                  </a:lnTo>
                  <a:cubicBezTo>
                    <a:pt x="473659" y="455976"/>
                    <a:pt x="479659" y="455786"/>
                    <a:pt x="483470" y="459405"/>
                  </a:cubicBezTo>
                  <a:cubicBezTo>
                    <a:pt x="487280" y="463025"/>
                    <a:pt x="487470" y="469025"/>
                    <a:pt x="483850" y="472835"/>
                  </a:cubicBezTo>
                  <a:lnTo>
                    <a:pt x="482231" y="474550"/>
                  </a:lnTo>
                  <a:cubicBezTo>
                    <a:pt x="480326" y="476550"/>
                    <a:pt x="477850" y="477503"/>
                    <a:pt x="475374" y="477503"/>
                  </a:cubicBezTo>
                  <a:close/>
                  <a:moveTo>
                    <a:pt x="59607" y="450071"/>
                  </a:moveTo>
                  <a:cubicBezTo>
                    <a:pt x="56654" y="450071"/>
                    <a:pt x="53797" y="448737"/>
                    <a:pt x="51892" y="446165"/>
                  </a:cubicBezTo>
                  <a:lnTo>
                    <a:pt x="50463" y="444165"/>
                  </a:lnTo>
                  <a:cubicBezTo>
                    <a:pt x="47415" y="439879"/>
                    <a:pt x="48368" y="433973"/>
                    <a:pt x="52654" y="430830"/>
                  </a:cubicBezTo>
                  <a:cubicBezTo>
                    <a:pt x="56940" y="427782"/>
                    <a:pt x="62846" y="428735"/>
                    <a:pt x="65989" y="433021"/>
                  </a:cubicBezTo>
                  <a:lnTo>
                    <a:pt x="67322" y="434831"/>
                  </a:lnTo>
                  <a:cubicBezTo>
                    <a:pt x="70466" y="439022"/>
                    <a:pt x="69513" y="445022"/>
                    <a:pt x="65322" y="448166"/>
                  </a:cubicBezTo>
                  <a:cubicBezTo>
                    <a:pt x="63607" y="449404"/>
                    <a:pt x="61608" y="449975"/>
                    <a:pt x="59702" y="449975"/>
                  </a:cubicBezTo>
                  <a:close/>
                  <a:moveTo>
                    <a:pt x="515855" y="422924"/>
                  </a:moveTo>
                  <a:cubicBezTo>
                    <a:pt x="514235" y="422924"/>
                    <a:pt x="512711" y="422543"/>
                    <a:pt x="511187" y="421686"/>
                  </a:cubicBezTo>
                  <a:cubicBezTo>
                    <a:pt x="506615" y="419114"/>
                    <a:pt x="504901" y="413304"/>
                    <a:pt x="507473" y="408732"/>
                  </a:cubicBezTo>
                  <a:lnTo>
                    <a:pt x="508616" y="406732"/>
                  </a:lnTo>
                  <a:cubicBezTo>
                    <a:pt x="511187" y="402160"/>
                    <a:pt x="516998" y="400445"/>
                    <a:pt x="521570" y="403017"/>
                  </a:cubicBezTo>
                  <a:cubicBezTo>
                    <a:pt x="526141" y="405589"/>
                    <a:pt x="527856" y="411399"/>
                    <a:pt x="525284" y="415971"/>
                  </a:cubicBezTo>
                  <a:lnTo>
                    <a:pt x="524141" y="418067"/>
                  </a:lnTo>
                  <a:cubicBezTo>
                    <a:pt x="522427" y="421210"/>
                    <a:pt x="519188" y="422924"/>
                    <a:pt x="515855" y="422924"/>
                  </a:cubicBezTo>
                  <a:close/>
                  <a:moveTo>
                    <a:pt x="26746" y="390539"/>
                  </a:moveTo>
                  <a:cubicBezTo>
                    <a:pt x="22936" y="390539"/>
                    <a:pt x="19412" y="388253"/>
                    <a:pt x="17888" y="384539"/>
                  </a:cubicBezTo>
                  <a:lnTo>
                    <a:pt x="17031" y="382348"/>
                  </a:lnTo>
                  <a:cubicBezTo>
                    <a:pt x="15125" y="377490"/>
                    <a:pt x="17507" y="371966"/>
                    <a:pt x="22365" y="369965"/>
                  </a:cubicBezTo>
                  <a:cubicBezTo>
                    <a:pt x="27222" y="368060"/>
                    <a:pt x="32746" y="370442"/>
                    <a:pt x="34747" y="375299"/>
                  </a:cubicBezTo>
                  <a:lnTo>
                    <a:pt x="35604" y="377490"/>
                  </a:lnTo>
                  <a:cubicBezTo>
                    <a:pt x="37509" y="382348"/>
                    <a:pt x="35128" y="387872"/>
                    <a:pt x="30270" y="389873"/>
                  </a:cubicBezTo>
                  <a:cubicBezTo>
                    <a:pt x="29127" y="390349"/>
                    <a:pt x="27889" y="390539"/>
                    <a:pt x="26746" y="390539"/>
                  </a:cubicBezTo>
                  <a:close/>
                  <a:moveTo>
                    <a:pt x="541477" y="359869"/>
                  </a:moveTo>
                  <a:cubicBezTo>
                    <a:pt x="540620" y="359869"/>
                    <a:pt x="539857" y="359774"/>
                    <a:pt x="539000" y="359488"/>
                  </a:cubicBezTo>
                  <a:cubicBezTo>
                    <a:pt x="533952" y="358154"/>
                    <a:pt x="530904" y="352916"/>
                    <a:pt x="532333" y="347772"/>
                  </a:cubicBezTo>
                  <a:lnTo>
                    <a:pt x="532904" y="345581"/>
                  </a:lnTo>
                  <a:cubicBezTo>
                    <a:pt x="534238" y="340438"/>
                    <a:pt x="539381" y="337485"/>
                    <a:pt x="544525" y="338723"/>
                  </a:cubicBezTo>
                  <a:cubicBezTo>
                    <a:pt x="549573" y="340057"/>
                    <a:pt x="552717" y="345200"/>
                    <a:pt x="551383" y="350344"/>
                  </a:cubicBezTo>
                  <a:lnTo>
                    <a:pt x="550716" y="352725"/>
                  </a:lnTo>
                  <a:cubicBezTo>
                    <a:pt x="549573" y="357011"/>
                    <a:pt x="545763" y="359774"/>
                    <a:pt x="541572" y="359774"/>
                  </a:cubicBezTo>
                  <a:close/>
                  <a:moveTo>
                    <a:pt x="9791" y="324626"/>
                  </a:moveTo>
                  <a:cubicBezTo>
                    <a:pt x="5124" y="324626"/>
                    <a:pt x="1028" y="321102"/>
                    <a:pt x="362" y="316340"/>
                  </a:cubicBezTo>
                  <a:lnTo>
                    <a:pt x="76" y="313863"/>
                  </a:lnTo>
                  <a:cubicBezTo>
                    <a:pt x="-591" y="308624"/>
                    <a:pt x="3219" y="303862"/>
                    <a:pt x="8458" y="303290"/>
                  </a:cubicBezTo>
                  <a:cubicBezTo>
                    <a:pt x="13696" y="302719"/>
                    <a:pt x="18459" y="306434"/>
                    <a:pt x="19030" y="311672"/>
                  </a:cubicBezTo>
                  <a:lnTo>
                    <a:pt x="19316" y="313863"/>
                  </a:lnTo>
                  <a:cubicBezTo>
                    <a:pt x="19983" y="319102"/>
                    <a:pt x="16364" y="323864"/>
                    <a:pt x="11125" y="324531"/>
                  </a:cubicBezTo>
                  <a:cubicBezTo>
                    <a:pt x="10744" y="324531"/>
                    <a:pt x="10268" y="324531"/>
                    <a:pt x="9887" y="324531"/>
                  </a:cubicBezTo>
                  <a:close/>
                  <a:moveTo>
                    <a:pt x="550525" y="292432"/>
                  </a:moveTo>
                  <a:lnTo>
                    <a:pt x="550431" y="292432"/>
                  </a:lnTo>
                  <a:cubicBezTo>
                    <a:pt x="545191" y="292432"/>
                    <a:pt x="540906" y="288050"/>
                    <a:pt x="541000" y="282812"/>
                  </a:cubicBezTo>
                  <a:lnTo>
                    <a:pt x="541000" y="279478"/>
                  </a:lnTo>
                  <a:cubicBezTo>
                    <a:pt x="541000" y="274239"/>
                    <a:pt x="545287" y="269953"/>
                    <a:pt x="550525" y="269953"/>
                  </a:cubicBezTo>
                  <a:cubicBezTo>
                    <a:pt x="555765" y="269953"/>
                    <a:pt x="560050" y="274239"/>
                    <a:pt x="560050" y="279478"/>
                  </a:cubicBezTo>
                  <a:lnTo>
                    <a:pt x="560050" y="283002"/>
                  </a:lnTo>
                  <a:cubicBezTo>
                    <a:pt x="560050" y="288241"/>
                    <a:pt x="555765" y="292432"/>
                    <a:pt x="550525" y="292432"/>
                  </a:cubicBezTo>
                  <a:close/>
                  <a:moveTo>
                    <a:pt x="9696" y="256618"/>
                  </a:moveTo>
                  <a:cubicBezTo>
                    <a:pt x="9696" y="256618"/>
                    <a:pt x="8934" y="256618"/>
                    <a:pt x="8553" y="256618"/>
                  </a:cubicBezTo>
                  <a:cubicBezTo>
                    <a:pt x="3315" y="255951"/>
                    <a:pt x="-400" y="251284"/>
                    <a:pt x="266" y="246045"/>
                  </a:cubicBezTo>
                  <a:lnTo>
                    <a:pt x="552" y="243759"/>
                  </a:lnTo>
                  <a:cubicBezTo>
                    <a:pt x="1219" y="238520"/>
                    <a:pt x="6077" y="234806"/>
                    <a:pt x="11220" y="235472"/>
                  </a:cubicBezTo>
                  <a:cubicBezTo>
                    <a:pt x="16459" y="236139"/>
                    <a:pt x="20078" y="240902"/>
                    <a:pt x="19412" y="246045"/>
                  </a:cubicBezTo>
                  <a:lnTo>
                    <a:pt x="19126" y="248236"/>
                  </a:lnTo>
                  <a:cubicBezTo>
                    <a:pt x="18554" y="253094"/>
                    <a:pt x="14459" y="256618"/>
                    <a:pt x="9696" y="256618"/>
                  </a:cubicBezTo>
                  <a:close/>
                  <a:moveTo>
                    <a:pt x="542429" y="223852"/>
                  </a:moveTo>
                  <a:cubicBezTo>
                    <a:pt x="538143" y="223852"/>
                    <a:pt x="534333" y="220994"/>
                    <a:pt x="533190" y="216708"/>
                  </a:cubicBezTo>
                  <a:lnTo>
                    <a:pt x="532618" y="214422"/>
                  </a:lnTo>
                  <a:cubicBezTo>
                    <a:pt x="531285" y="209374"/>
                    <a:pt x="534333" y="204135"/>
                    <a:pt x="539477" y="202802"/>
                  </a:cubicBezTo>
                  <a:cubicBezTo>
                    <a:pt x="544620" y="201468"/>
                    <a:pt x="549764" y="204516"/>
                    <a:pt x="551097" y="209660"/>
                  </a:cubicBezTo>
                  <a:lnTo>
                    <a:pt x="551668" y="211946"/>
                  </a:lnTo>
                  <a:cubicBezTo>
                    <a:pt x="553002" y="217089"/>
                    <a:pt x="549859" y="222233"/>
                    <a:pt x="544811" y="223566"/>
                  </a:cubicBezTo>
                  <a:cubicBezTo>
                    <a:pt x="544048" y="223757"/>
                    <a:pt x="543192" y="223852"/>
                    <a:pt x="542429" y="223852"/>
                  </a:cubicBezTo>
                  <a:close/>
                  <a:moveTo>
                    <a:pt x="26460" y="190705"/>
                  </a:moveTo>
                  <a:cubicBezTo>
                    <a:pt x="25317" y="190705"/>
                    <a:pt x="24079" y="190514"/>
                    <a:pt x="22936" y="190038"/>
                  </a:cubicBezTo>
                  <a:cubicBezTo>
                    <a:pt x="18078" y="188133"/>
                    <a:pt x="15602" y="182609"/>
                    <a:pt x="17602" y="177656"/>
                  </a:cubicBezTo>
                  <a:lnTo>
                    <a:pt x="18554" y="175370"/>
                  </a:lnTo>
                  <a:cubicBezTo>
                    <a:pt x="20555" y="170512"/>
                    <a:pt x="26079" y="168131"/>
                    <a:pt x="30937" y="170131"/>
                  </a:cubicBezTo>
                  <a:cubicBezTo>
                    <a:pt x="35795" y="172131"/>
                    <a:pt x="38176" y="177656"/>
                    <a:pt x="36175" y="182513"/>
                  </a:cubicBezTo>
                  <a:lnTo>
                    <a:pt x="35318" y="184609"/>
                  </a:lnTo>
                  <a:cubicBezTo>
                    <a:pt x="33794" y="188324"/>
                    <a:pt x="30270" y="190610"/>
                    <a:pt x="26460" y="190610"/>
                  </a:cubicBezTo>
                  <a:close/>
                  <a:moveTo>
                    <a:pt x="517759" y="160511"/>
                  </a:moveTo>
                  <a:cubicBezTo>
                    <a:pt x="514330" y="160511"/>
                    <a:pt x="511092" y="158701"/>
                    <a:pt x="509377" y="155558"/>
                  </a:cubicBezTo>
                  <a:lnTo>
                    <a:pt x="508330" y="153653"/>
                  </a:lnTo>
                  <a:cubicBezTo>
                    <a:pt x="505758" y="149081"/>
                    <a:pt x="507377" y="143270"/>
                    <a:pt x="512045" y="140699"/>
                  </a:cubicBezTo>
                  <a:cubicBezTo>
                    <a:pt x="516616" y="138127"/>
                    <a:pt x="522427" y="139746"/>
                    <a:pt x="524998" y="144413"/>
                  </a:cubicBezTo>
                  <a:lnTo>
                    <a:pt x="526141" y="146604"/>
                  </a:lnTo>
                  <a:cubicBezTo>
                    <a:pt x="528618" y="151271"/>
                    <a:pt x="526904" y="156986"/>
                    <a:pt x="522332" y="159558"/>
                  </a:cubicBezTo>
                  <a:cubicBezTo>
                    <a:pt x="520903" y="160320"/>
                    <a:pt x="519379" y="160701"/>
                    <a:pt x="517855" y="160701"/>
                  </a:cubicBezTo>
                  <a:close/>
                  <a:moveTo>
                    <a:pt x="59131" y="131078"/>
                  </a:moveTo>
                  <a:cubicBezTo>
                    <a:pt x="57226" y="131078"/>
                    <a:pt x="55321" y="130507"/>
                    <a:pt x="53606" y="129269"/>
                  </a:cubicBezTo>
                  <a:cubicBezTo>
                    <a:pt x="49320" y="126221"/>
                    <a:pt x="48368" y="120220"/>
                    <a:pt x="51416" y="115934"/>
                  </a:cubicBezTo>
                  <a:lnTo>
                    <a:pt x="52844" y="113933"/>
                  </a:lnTo>
                  <a:cubicBezTo>
                    <a:pt x="55988" y="109647"/>
                    <a:pt x="61893" y="108790"/>
                    <a:pt x="66179" y="111933"/>
                  </a:cubicBezTo>
                  <a:cubicBezTo>
                    <a:pt x="70370" y="115076"/>
                    <a:pt x="71323" y="120982"/>
                    <a:pt x="68180" y="125268"/>
                  </a:cubicBezTo>
                  <a:lnTo>
                    <a:pt x="66846" y="127078"/>
                  </a:lnTo>
                  <a:cubicBezTo>
                    <a:pt x="64941" y="129650"/>
                    <a:pt x="62084" y="131078"/>
                    <a:pt x="59131" y="131078"/>
                  </a:cubicBezTo>
                  <a:close/>
                  <a:moveTo>
                    <a:pt x="478040" y="105361"/>
                  </a:moveTo>
                  <a:cubicBezTo>
                    <a:pt x="475468" y="105361"/>
                    <a:pt x="472897" y="104313"/>
                    <a:pt x="470992" y="102313"/>
                  </a:cubicBezTo>
                  <a:lnTo>
                    <a:pt x="469468" y="100694"/>
                  </a:lnTo>
                  <a:cubicBezTo>
                    <a:pt x="465849" y="96884"/>
                    <a:pt x="466039" y="90883"/>
                    <a:pt x="469849" y="87263"/>
                  </a:cubicBezTo>
                  <a:cubicBezTo>
                    <a:pt x="473659" y="83644"/>
                    <a:pt x="479659" y="83739"/>
                    <a:pt x="483279" y="87644"/>
                  </a:cubicBezTo>
                  <a:lnTo>
                    <a:pt x="484993" y="89454"/>
                  </a:lnTo>
                  <a:cubicBezTo>
                    <a:pt x="488518" y="93359"/>
                    <a:pt x="488327" y="99360"/>
                    <a:pt x="484422" y="102884"/>
                  </a:cubicBezTo>
                  <a:cubicBezTo>
                    <a:pt x="482612" y="104599"/>
                    <a:pt x="480326" y="105361"/>
                    <a:pt x="477945" y="105361"/>
                  </a:cubicBezTo>
                  <a:close/>
                  <a:moveTo>
                    <a:pt x="105613" y="81358"/>
                  </a:moveTo>
                  <a:cubicBezTo>
                    <a:pt x="102850" y="81358"/>
                    <a:pt x="100184" y="80215"/>
                    <a:pt x="98279" y="77929"/>
                  </a:cubicBezTo>
                  <a:cubicBezTo>
                    <a:pt x="94945" y="73928"/>
                    <a:pt x="95516" y="67832"/>
                    <a:pt x="99517" y="64499"/>
                  </a:cubicBezTo>
                  <a:lnTo>
                    <a:pt x="101422" y="62975"/>
                  </a:lnTo>
                  <a:cubicBezTo>
                    <a:pt x="105518" y="59641"/>
                    <a:pt x="111518" y="60308"/>
                    <a:pt x="114852" y="64308"/>
                  </a:cubicBezTo>
                  <a:cubicBezTo>
                    <a:pt x="118186" y="68404"/>
                    <a:pt x="117519" y="74405"/>
                    <a:pt x="113518" y="77738"/>
                  </a:cubicBezTo>
                  <a:lnTo>
                    <a:pt x="111804" y="79167"/>
                  </a:lnTo>
                  <a:cubicBezTo>
                    <a:pt x="109994" y="80691"/>
                    <a:pt x="107899" y="81358"/>
                    <a:pt x="105708" y="81358"/>
                  </a:cubicBezTo>
                  <a:close/>
                  <a:moveTo>
                    <a:pt x="425843" y="61641"/>
                  </a:moveTo>
                  <a:cubicBezTo>
                    <a:pt x="424129" y="61641"/>
                    <a:pt x="422319" y="61165"/>
                    <a:pt x="420795" y="60212"/>
                  </a:cubicBezTo>
                  <a:lnTo>
                    <a:pt x="418795" y="58974"/>
                  </a:lnTo>
                  <a:cubicBezTo>
                    <a:pt x="414318" y="56117"/>
                    <a:pt x="412984" y="50306"/>
                    <a:pt x="415842" y="45830"/>
                  </a:cubicBezTo>
                  <a:cubicBezTo>
                    <a:pt x="418700" y="41353"/>
                    <a:pt x="424510" y="40115"/>
                    <a:pt x="428987" y="42877"/>
                  </a:cubicBezTo>
                  <a:lnTo>
                    <a:pt x="430987" y="44115"/>
                  </a:lnTo>
                  <a:cubicBezTo>
                    <a:pt x="435464" y="46877"/>
                    <a:pt x="436797" y="52783"/>
                    <a:pt x="433939" y="57260"/>
                  </a:cubicBezTo>
                  <a:cubicBezTo>
                    <a:pt x="432130" y="60117"/>
                    <a:pt x="429082" y="61736"/>
                    <a:pt x="425843" y="61736"/>
                  </a:cubicBezTo>
                  <a:close/>
                  <a:moveTo>
                    <a:pt x="162858" y="44687"/>
                  </a:moveTo>
                  <a:cubicBezTo>
                    <a:pt x="159334" y="44687"/>
                    <a:pt x="155905" y="42686"/>
                    <a:pt x="154286" y="39257"/>
                  </a:cubicBezTo>
                  <a:cubicBezTo>
                    <a:pt x="152000" y="34495"/>
                    <a:pt x="154095" y="28780"/>
                    <a:pt x="158857" y="26589"/>
                  </a:cubicBezTo>
                  <a:lnTo>
                    <a:pt x="161049" y="25541"/>
                  </a:lnTo>
                  <a:cubicBezTo>
                    <a:pt x="165811" y="23351"/>
                    <a:pt x="171526" y="25351"/>
                    <a:pt x="173716" y="30113"/>
                  </a:cubicBezTo>
                  <a:cubicBezTo>
                    <a:pt x="175908" y="34876"/>
                    <a:pt x="173907" y="40591"/>
                    <a:pt x="169145" y="42782"/>
                  </a:cubicBezTo>
                  <a:lnTo>
                    <a:pt x="167049" y="43734"/>
                  </a:lnTo>
                  <a:cubicBezTo>
                    <a:pt x="165716" y="44401"/>
                    <a:pt x="164382" y="44687"/>
                    <a:pt x="162953" y="44687"/>
                  </a:cubicBezTo>
                  <a:close/>
                  <a:moveTo>
                    <a:pt x="364407" y="32304"/>
                  </a:moveTo>
                  <a:cubicBezTo>
                    <a:pt x="363455" y="32304"/>
                    <a:pt x="362407" y="32114"/>
                    <a:pt x="361454" y="31828"/>
                  </a:cubicBezTo>
                  <a:lnTo>
                    <a:pt x="359264" y="31161"/>
                  </a:lnTo>
                  <a:cubicBezTo>
                    <a:pt x="354215" y="29542"/>
                    <a:pt x="351453" y="24208"/>
                    <a:pt x="353072" y="19160"/>
                  </a:cubicBezTo>
                  <a:cubicBezTo>
                    <a:pt x="354691" y="14111"/>
                    <a:pt x="360025" y="11349"/>
                    <a:pt x="365074" y="12968"/>
                  </a:cubicBezTo>
                  <a:lnTo>
                    <a:pt x="367360" y="13730"/>
                  </a:lnTo>
                  <a:cubicBezTo>
                    <a:pt x="372313" y="15350"/>
                    <a:pt x="375075" y="20779"/>
                    <a:pt x="373361" y="25732"/>
                  </a:cubicBezTo>
                  <a:cubicBezTo>
                    <a:pt x="372027" y="29732"/>
                    <a:pt x="368312" y="32304"/>
                    <a:pt x="364312" y="32304"/>
                  </a:cubicBezTo>
                  <a:close/>
                  <a:moveTo>
                    <a:pt x="227438" y="23541"/>
                  </a:moveTo>
                  <a:cubicBezTo>
                    <a:pt x="222961" y="23541"/>
                    <a:pt x="218960" y="20398"/>
                    <a:pt x="218103" y="15826"/>
                  </a:cubicBezTo>
                  <a:cubicBezTo>
                    <a:pt x="217056" y="10682"/>
                    <a:pt x="220484" y="5634"/>
                    <a:pt x="225628" y="4682"/>
                  </a:cubicBezTo>
                  <a:lnTo>
                    <a:pt x="228009" y="4205"/>
                  </a:lnTo>
                  <a:cubicBezTo>
                    <a:pt x="233152" y="3348"/>
                    <a:pt x="238105" y="6682"/>
                    <a:pt x="239058" y="11825"/>
                  </a:cubicBezTo>
                  <a:cubicBezTo>
                    <a:pt x="240011" y="16969"/>
                    <a:pt x="236582" y="21922"/>
                    <a:pt x="231438" y="22874"/>
                  </a:cubicBezTo>
                  <a:lnTo>
                    <a:pt x="229247" y="23255"/>
                  </a:lnTo>
                  <a:cubicBezTo>
                    <a:pt x="228676" y="23351"/>
                    <a:pt x="228009" y="23446"/>
                    <a:pt x="227438" y="23446"/>
                  </a:cubicBezTo>
                  <a:close/>
                  <a:moveTo>
                    <a:pt x="297637" y="19255"/>
                  </a:moveTo>
                  <a:cubicBezTo>
                    <a:pt x="297637" y="19255"/>
                    <a:pt x="297256" y="19255"/>
                    <a:pt x="296970" y="19255"/>
                  </a:cubicBezTo>
                  <a:lnTo>
                    <a:pt x="294684" y="19064"/>
                  </a:lnTo>
                  <a:cubicBezTo>
                    <a:pt x="289445" y="18779"/>
                    <a:pt x="285445" y="14207"/>
                    <a:pt x="285730" y="8968"/>
                  </a:cubicBezTo>
                  <a:cubicBezTo>
                    <a:pt x="286016" y="3729"/>
                    <a:pt x="290493" y="-271"/>
                    <a:pt x="295827" y="14"/>
                  </a:cubicBezTo>
                  <a:lnTo>
                    <a:pt x="298208" y="205"/>
                  </a:lnTo>
                  <a:cubicBezTo>
                    <a:pt x="303447" y="586"/>
                    <a:pt x="307448" y="5063"/>
                    <a:pt x="307066" y="10301"/>
                  </a:cubicBezTo>
                  <a:cubicBezTo>
                    <a:pt x="306686" y="15350"/>
                    <a:pt x="302590" y="19160"/>
                    <a:pt x="297541" y="1916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7218567-A93B-9B58-BD7E-8D98083FAEBA}"/>
                </a:ext>
              </a:extLst>
            </p:cNvPr>
            <p:cNvSpPr/>
            <p:nvPr/>
          </p:nvSpPr>
          <p:spPr>
            <a:xfrm rot="316174">
              <a:off x="11235946" y="1750780"/>
              <a:ext cx="494056" cy="494056"/>
            </a:xfrm>
            <a:custGeom>
              <a:avLst/>
              <a:gdLst>
                <a:gd name="connsiteX0" fmla="*/ 457200 w 457200"/>
                <a:gd name="connsiteY0" fmla="*/ 228600 h 457200"/>
                <a:gd name="connsiteX1" fmla="*/ 228600 w 457200"/>
                <a:gd name="connsiteY1" fmla="*/ 457200 h 457200"/>
                <a:gd name="connsiteX2" fmla="*/ 0 w 457200"/>
                <a:gd name="connsiteY2" fmla="*/ 228600 h 457200"/>
                <a:gd name="connsiteX3" fmla="*/ 228600 w 457200"/>
                <a:gd name="connsiteY3" fmla="*/ 0 h 457200"/>
                <a:gd name="connsiteX4" fmla="*/ 457200 w 457200"/>
                <a:gd name="connsiteY4" fmla="*/ 2286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200" h="457200">
                  <a:moveTo>
                    <a:pt x="457200" y="228600"/>
                  </a:moveTo>
                  <a:cubicBezTo>
                    <a:pt x="457200" y="354852"/>
                    <a:pt x="354852" y="457200"/>
                    <a:pt x="228600" y="457200"/>
                  </a:cubicBezTo>
                  <a:cubicBezTo>
                    <a:pt x="102348" y="457200"/>
                    <a:pt x="0" y="354852"/>
                    <a:pt x="0" y="228600"/>
                  </a:cubicBezTo>
                  <a:cubicBezTo>
                    <a:pt x="0" y="102348"/>
                    <a:pt x="102348" y="0"/>
                    <a:pt x="228600" y="0"/>
                  </a:cubicBezTo>
                  <a:cubicBezTo>
                    <a:pt x="354852" y="0"/>
                    <a:pt x="457200" y="102348"/>
                    <a:pt x="457200" y="2286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CA911D5B-8E63-8177-1C5C-170993D2066E}"/>
                </a:ext>
              </a:extLst>
            </p:cNvPr>
            <p:cNvSpPr/>
            <p:nvPr/>
          </p:nvSpPr>
          <p:spPr>
            <a:xfrm rot="316174">
              <a:off x="11427157" y="3160236"/>
              <a:ext cx="535227" cy="530701"/>
            </a:xfrm>
            <a:custGeom>
              <a:avLst/>
              <a:gdLst>
                <a:gd name="connsiteX0" fmla="*/ 279463 w 495300"/>
                <a:gd name="connsiteY0" fmla="*/ 491113 h 491112"/>
                <a:gd name="connsiteX1" fmla="*/ 270034 w 495300"/>
                <a:gd name="connsiteY1" fmla="*/ 482826 h 491112"/>
                <a:gd name="connsiteX2" fmla="*/ 278225 w 495300"/>
                <a:gd name="connsiteY2" fmla="*/ 472158 h 491112"/>
                <a:gd name="connsiteX3" fmla="*/ 280416 w 495300"/>
                <a:gd name="connsiteY3" fmla="*/ 471872 h 491112"/>
                <a:gd name="connsiteX4" fmla="*/ 291179 w 495300"/>
                <a:gd name="connsiteY4" fmla="*/ 479969 h 491112"/>
                <a:gd name="connsiteX5" fmla="*/ 283083 w 495300"/>
                <a:gd name="connsiteY5" fmla="*/ 490732 h 491112"/>
                <a:gd name="connsiteX6" fmla="*/ 280606 w 495300"/>
                <a:gd name="connsiteY6" fmla="*/ 491113 h 491112"/>
                <a:gd name="connsiteX7" fmla="*/ 279368 w 495300"/>
                <a:gd name="connsiteY7" fmla="*/ 491113 h 491112"/>
                <a:gd name="connsiteX8" fmla="*/ 214026 w 495300"/>
                <a:gd name="connsiteY8" fmla="*/ 490827 h 491112"/>
                <a:gd name="connsiteX9" fmla="*/ 212693 w 495300"/>
                <a:gd name="connsiteY9" fmla="*/ 490732 h 491112"/>
                <a:gd name="connsiteX10" fmla="*/ 210407 w 495300"/>
                <a:gd name="connsiteY10" fmla="*/ 490351 h 491112"/>
                <a:gd name="connsiteX11" fmla="*/ 202311 w 495300"/>
                <a:gd name="connsiteY11" fmla="*/ 479588 h 491112"/>
                <a:gd name="connsiteX12" fmla="*/ 213074 w 495300"/>
                <a:gd name="connsiteY12" fmla="*/ 471492 h 491112"/>
                <a:gd name="connsiteX13" fmla="*/ 215360 w 495300"/>
                <a:gd name="connsiteY13" fmla="*/ 471872 h 491112"/>
                <a:gd name="connsiteX14" fmla="*/ 223456 w 495300"/>
                <a:gd name="connsiteY14" fmla="*/ 482636 h 491112"/>
                <a:gd name="connsiteX15" fmla="*/ 214026 w 495300"/>
                <a:gd name="connsiteY15" fmla="*/ 490827 h 491112"/>
                <a:gd name="connsiteX16" fmla="*/ 344614 w 495300"/>
                <a:gd name="connsiteY16" fmla="*/ 472634 h 491112"/>
                <a:gd name="connsiteX17" fmla="*/ 335852 w 495300"/>
                <a:gd name="connsiteY17" fmla="*/ 466920 h 491112"/>
                <a:gd name="connsiteX18" fmla="*/ 340709 w 495300"/>
                <a:gd name="connsiteY18" fmla="*/ 454346 h 491112"/>
                <a:gd name="connsiteX19" fmla="*/ 342709 w 495300"/>
                <a:gd name="connsiteY19" fmla="*/ 453489 h 491112"/>
                <a:gd name="connsiteX20" fmla="*/ 355378 w 495300"/>
                <a:gd name="connsiteY20" fmla="*/ 458157 h 491112"/>
                <a:gd name="connsiteX21" fmla="*/ 350711 w 495300"/>
                <a:gd name="connsiteY21" fmla="*/ 470825 h 491112"/>
                <a:gd name="connsiteX22" fmla="*/ 348424 w 495300"/>
                <a:gd name="connsiteY22" fmla="*/ 471872 h 491112"/>
                <a:gd name="connsiteX23" fmla="*/ 344614 w 495300"/>
                <a:gd name="connsiteY23" fmla="*/ 472634 h 491112"/>
                <a:gd name="connsiteX24" fmla="*/ 148971 w 495300"/>
                <a:gd name="connsiteY24" fmla="*/ 471872 h 491112"/>
                <a:gd name="connsiteX25" fmla="*/ 145066 w 495300"/>
                <a:gd name="connsiteY25" fmla="*/ 471015 h 491112"/>
                <a:gd name="connsiteX26" fmla="*/ 142780 w 495300"/>
                <a:gd name="connsiteY26" fmla="*/ 469967 h 491112"/>
                <a:gd name="connsiteX27" fmla="*/ 138208 w 495300"/>
                <a:gd name="connsiteY27" fmla="*/ 457299 h 491112"/>
                <a:gd name="connsiteX28" fmla="*/ 150876 w 495300"/>
                <a:gd name="connsiteY28" fmla="*/ 452727 h 491112"/>
                <a:gd name="connsiteX29" fmla="*/ 152876 w 495300"/>
                <a:gd name="connsiteY29" fmla="*/ 453680 h 491112"/>
                <a:gd name="connsiteX30" fmla="*/ 157639 w 495300"/>
                <a:gd name="connsiteY30" fmla="*/ 466253 h 491112"/>
                <a:gd name="connsiteX31" fmla="*/ 148971 w 495300"/>
                <a:gd name="connsiteY31" fmla="*/ 471872 h 491112"/>
                <a:gd name="connsiteX32" fmla="*/ 401860 w 495300"/>
                <a:gd name="connsiteY32" fmla="*/ 436535 h 491112"/>
                <a:gd name="connsiteX33" fmla="*/ 394525 w 495300"/>
                <a:gd name="connsiteY33" fmla="*/ 433106 h 491112"/>
                <a:gd name="connsiteX34" fmla="*/ 395668 w 495300"/>
                <a:gd name="connsiteY34" fmla="*/ 419675 h 491112"/>
                <a:gd name="connsiteX35" fmla="*/ 397287 w 495300"/>
                <a:gd name="connsiteY35" fmla="*/ 418247 h 491112"/>
                <a:gd name="connsiteX36" fmla="*/ 410718 w 495300"/>
                <a:gd name="connsiteY36" fmla="*/ 419199 h 491112"/>
                <a:gd name="connsiteX37" fmla="*/ 409765 w 495300"/>
                <a:gd name="connsiteY37" fmla="*/ 432629 h 491112"/>
                <a:gd name="connsiteX38" fmla="*/ 407861 w 495300"/>
                <a:gd name="connsiteY38" fmla="*/ 434249 h 491112"/>
                <a:gd name="connsiteX39" fmla="*/ 401764 w 495300"/>
                <a:gd name="connsiteY39" fmla="*/ 436535 h 491112"/>
                <a:gd name="connsiteX40" fmla="*/ 91916 w 495300"/>
                <a:gd name="connsiteY40" fmla="*/ 435296 h 491112"/>
                <a:gd name="connsiteX41" fmla="*/ 85725 w 495300"/>
                <a:gd name="connsiteY41" fmla="*/ 433011 h 491112"/>
                <a:gd name="connsiteX42" fmla="*/ 83820 w 495300"/>
                <a:gd name="connsiteY42" fmla="*/ 431391 h 491112"/>
                <a:gd name="connsiteX43" fmla="*/ 83058 w 495300"/>
                <a:gd name="connsiteY43" fmla="*/ 417961 h 491112"/>
                <a:gd name="connsiteX44" fmla="*/ 96488 w 495300"/>
                <a:gd name="connsiteY44" fmla="*/ 417199 h 491112"/>
                <a:gd name="connsiteX45" fmla="*/ 98107 w 495300"/>
                <a:gd name="connsiteY45" fmla="*/ 418628 h 491112"/>
                <a:gd name="connsiteX46" fmla="*/ 99155 w 495300"/>
                <a:gd name="connsiteY46" fmla="*/ 432058 h 491112"/>
                <a:gd name="connsiteX47" fmla="*/ 91916 w 495300"/>
                <a:gd name="connsiteY47" fmla="*/ 435392 h 491112"/>
                <a:gd name="connsiteX48" fmla="*/ 446722 w 495300"/>
                <a:gd name="connsiteY48" fmla="*/ 385767 h 491112"/>
                <a:gd name="connsiteX49" fmla="*/ 441484 w 495300"/>
                <a:gd name="connsiteY49" fmla="*/ 384242 h 491112"/>
                <a:gd name="connsiteX50" fmla="*/ 438721 w 495300"/>
                <a:gd name="connsiteY50" fmla="*/ 371098 h 491112"/>
                <a:gd name="connsiteX51" fmla="*/ 439960 w 495300"/>
                <a:gd name="connsiteY51" fmla="*/ 369193 h 491112"/>
                <a:gd name="connsiteX52" fmla="*/ 453104 w 495300"/>
                <a:gd name="connsiteY52" fmla="*/ 366336 h 491112"/>
                <a:gd name="connsiteX53" fmla="*/ 455866 w 495300"/>
                <a:gd name="connsiteY53" fmla="*/ 379480 h 491112"/>
                <a:gd name="connsiteX54" fmla="*/ 454533 w 495300"/>
                <a:gd name="connsiteY54" fmla="*/ 381480 h 491112"/>
                <a:gd name="connsiteX55" fmla="*/ 446532 w 495300"/>
                <a:gd name="connsiteY55" fmla="*/ 385767 h 491112"/>
                <a:gd name="connsiteX56" fmla="*/ 47530 w 495300"/>
                <a:gd name="connsiteY56" fmla="*/ 384242 h 491112"/>
                <a:gd name="connsiteX57" fmla="*/ 39528 w 495300"/>
                <a:gd name="connsiteY57" fmla="*/ 379861 h 491112"/>
                <a:gd name="connsiteX58" fmla="*/ 38195 w 495300"/>
                <a:gd name="connsiteY58" fmla="*/ 377861 h 491112"/>
                <a:gd name="connsiteX59" fmla="*/ 41148 w 495300"/>
                <a:gd name="connsiteY59" fmla="*/ 364716 h 491112"/>
                <a:gd name="connsiteX60" fmla="*/ 54292 w 495300"/>
                <a:gd name="connsiteY60" fmla="*/ 367669 h 491112"/>
                <a:gd name="connsiteX61" fmla="*/ 55530 w 495300"/>
                <a:gd name="connsiteY61" fmla="*/ 369574 h 491112"/>
                <a:gd name="connsiteX62" fmla="*/ 52673 w 495300"/>
                <a:gd name="connsiteY62" fmla="*/ 382718 h 491112"/>
                <a:gd name="connsiteX63" fmla="*/ 47530 w 495300"/>
                <a:gd name="connsiteY63" fmla="*/ 384242 h 491112"/>
                <a:gd name="connsiteX64" fmla="*/ 475583 w 495300"/>
                <a:gd name="connsiteY64" fmla="*/ 324425 h 491112"/>
                <a:gd name="connsiteX65" fmla="*/ 472821 w 495300"/>
                <a:gd name="connsiteY65" fmla="*/ 324045 h 491112"/>
                <a:gd name="connsiteX66" fmla="*/ 466439 w 495300"/>
                <a:gd name="connsiteY66" fmla="*/ 312138 h 491112"/>
                <a:gd name="connsiteX67" fmla="*/ 467106 w 495300"/>
                <a:gd name="connsiteY67" fmla="*/ 309947 h 491112"/>
                <a:gd name="connsiteX68" fmla="*/ 478917 w 495300"/>
                <a:gd name="connsiteY68" fmla="*/ 303566 h 491112"/>
                <a:gd name="connsiteX69" fmla="*/ 485298 w 495300"/>
                <a:gd name="connsiteY69" fmla="*/ 315377 h 491112"/>
                <a:gd name="connsiteX70" fmla="*/ 484632 w 495300"/>
                <a:gd name="connsiteY70" fmla="*/ 317663 h 491112"/>
                <a:gd name="connsiteX71" fmla="*/ 475488 w 495300"/>
                <a:gd name="connsiteY71" fmla="*/ 324425 h 491112"/>
                <a:gd name="connsiteX72" fmla="*/ 19240 w 495300"/>
                <a:gd name="connsiteY72" fmla="*/ 322616 h 491112"/>
                <a:gd name="connsiteX73" fmla="*/ 10096 w 495300"/>
                <a:gd name="connsiteY73" fmla="*/ 315758 h 491112"/>
                <a:gd name="connsiteX74" fmla="*/ 9525 w 495300"/>
                <a:gd name="connsiteY74" fmla="*/ 313948 h 491112"/>
                <a:gd name="connsiteX75" fmla="*/ 16002 w 495300"/>
                <a:gd name="connsiteY75" fmla="*/ 301946 h 491112"/>
                <a:gd name="connsiteX76" fmla="*/ 27717 w 495300"/>
                <a:gd name="connsiteY76" fmla="*/ 308233 h 491112"/>
                <a:gd name="connsiteX77" fmla="*/ 28384 w 495300"/>
                <a:gd name="connsiteY77" fmla="*/ 310424 h 491112"/>
                <a:gd name="connsiteX78" fmla="*/ 22003 w 495300"/>
                <a:gd name="connsiteY78" fmla="*/ 322235 h 491112"/>
                <a:gd name="connsiteX79" fmla="*/ 19335 w 495300"/>
                <a:gd name="connsiteY79" fmla="*/ 322616 h 491112"/>
                <a:gd name="connsiteX80" fmla="*/ 485775 w 495300"/>
                <a:gd name="connsiteY80" fmla="*/ 257465 h 491112"/>
                <a:gd name="connsiteX81" fmla="*/ 485680 w 495300"/>
                <a:gd name="connsiteY81" fmla="*/ 257465 h 491112"/>
                <a:gd name="connsiteX82" fmla="*/ 476250 w 495300"/>
                <a:gd name="connsiteY82" fmla="*/ 247845 h 491112"/>
                <a:gd name="connsiteX83" fmla="*/ 476250 w 495300"/>
                <a:gd name="connsiteY83" fmla="*/ 244606 h 491112"/>
                <a:gd name="connsiteX84" fmla="*/ 485775 w 495300"/>
                <a:gd name="connsiteY84" fmla="*/ 235081 h 491112"/>
                <a:gd name="connsiteX85" fmla="*/ 495300 w 495300"/>
                <a:gd name="connsiteY85" fmla="*/ 244606 h 491112"/>
                <a:gd name="connsiteX86" fmla="*/ 495300 w 495300"/>
                <a:gd name="connsiteY86" fmla="*/ 248035 h 491112"/>
                <a:gd name="connsiteX87" fmla="*/ 485775 w 495300"/>
                <a:gd name="connsiteY87" fmla="*/ 257465 h 491112"/>
                <a:gd name="connsiteX88" fmla="*/ 9525 w 495300"/>
                <a:gd name="connsiteY88" fmla="*/ 255369 h 491112"/>
                <a:gd name="connsiteX89" fmla="*/ 0 w 495300"/>
                <a:gd name="connsiteY89" fmla="*/ 246130 h 491112"/>
                <a:gd name="connsiteX90" fmla="*/ 0 w 495300"/>
                <a:gd name="connsiteY90" fmla="*/ 243654 h 491112"/>
                <a:gd name="connsiteX91" fmla="*/ 9525 w 495300"/>
                <a:gd name="connsiteY91" fmla="*/ 234319 h 491112"/>
                <a:gd name="connsiteX92" fmla="*/ 9715 w 495300"/>
                <a:gd name="connsiteY92" fmla="*/ 234319 h 491112"/>
                <a:gd name="connsiteX93" fmla="*/ 19050 w 495300"/>
                <a:gd name="connsiteY93" fmla="*/ 244034 h 491112"/>
                <a:gd name="connsiteX94" fmla="*/ 19050 w 495300"/>
                <a:gd name="connsiteY94" fmla="*/ 245749 h 491112"/>
                <a:gd name="connsiteX95" fmla="*/ 9525 w 495300"/>
                <a:gd name="connsiteY95" fmla="*/ 255560 h 491112"/>
                <a:gd name="connsiteX96" fmla="*/ 476535 w 495300"/>
                <a:gd name="connsiteY96" fmla="*/ 189361 h 491112"/>
                <a:gd name="connsiteX97" fmla="*/ 467392 w 495300"/>
                <a:gd name="connsiteY97" fmla="*/ 182408 h 491112"/>
                <a:gd name="connsiteX98" fmla="*/ 466725 w 495300"/>
                <a:gd name="connsiteY98" fmla="*/ 180312 h 491112"/>
                <a:gd name="connsiteX99" fmla="*/ 473107 w 495300"/>
                <a:gd name="connsiteY99" fmla="*/ 168406 h 491112"/>
                <a:gd name="connsiteX100" fmla="*/ 485013 w 495300"/>
                <a:gd name="connsiteY100" fmla="*/ 174788 h 491112"/>
                <a:gd name="connsiteX101" fmla="*/ 485680 w 495300"/>
                <a:gd name="connsiteY101" fmla="*/ 177169 h 491112"/>
                <a:gd name="connsiteX102" fmla="*/ 479107 w 495300"/>
                <a:gd name="connsiteY102" fmla="*/ 188980 h 491112"/>
                <a:gd name="connsiteX103" fmla="*/ 476535 w 495300"/>
                <a:gd name="connsiteY103" fmla="*/ 189361 h 491112"/>
                <a:gd name="connsiteX104" fmla="*/ 18955 w 495300"/>
                <a:gd name="connsiteY104" fmla="*/ 188504 h 491112"/>
                <a:gd name="connsiteX105" fmla="*/ 16383 w 495300"/>
                <a:gd name="connsiteY105" fmla="*/ 188123 h 491112"/>
                <a:gd name="connsiteX106" fmla="*/ 9810 w 495300"/>
                <a:gd name="connsiteY106" fmla="*/ 176312 h 491112"/>
                <a:gd name="connsiteX107" fmla="*/ 10573 w 495300"/>
                <a:gd name="connsiteY107" fmla="*/ 173835 h 491112"/>
                <a:gd name="connsiteX108" fmla="*/ 22479 w 495300"/>
                <a:gd name="connsiteY108" fmla="*/ 167549 h 491112"/>
                <a:gd name="connsiteX109" fmla="*/ 28765 w 495300"/>
                <a:gd name="connsiteY109" fmla="*/ 179455 h 491112"/>
                <a:gd name="connsiteX110" fmla="*/ 28194 w 495300"/>
                <a:gd name="connsiteY110" fmla="*/ 181455 h 491112"/>
                <a:gd name="connsiteX111" fmla="*/ 19050 w 495300"/>
                <a:gd name="connsiteY111" fmla="*/ 188408 h 491112"/>
                <a:gd name="connsiteX112" fmla="*/ 448818 w 495300"/>
                <a:gd name="connsiteY112" fmla="*/ 127544 h 491112"/>
                <a:gd name="connsiteX113" fmla="*/ 440721 w 495300"/>
                <a:gd name="connsiteY113" fmla="*/ 123162 h 491112"/>
                <a:gd name="connsiteX114" fmla="*/ 439578 w 495300"/>
                <a:gd name="connsiteY114" fmla="*/ 121353 h 491112"/>
                <a:gd name="connsiteX115" fmla="*/ 442341 w 495300"/>
                <a:gd name="connsiteY115" fmla="*/ 108208 h 491112"/>
                <a:gd name="connsiteX116" fmla="*/ 455486 w 495300"/>
                <a:gd name="connsiteY116" fmla="*/ 110970 h 491112"/>
                <a:gd name="connsiteX117" fmla="*/ 456819 w 495300"/>
                <a:gd name="connsiteY117" fmla="*/ 113066 h 491112"/>
                <a:gd name="connsiteX118" fmla="*/ 453866 w 495300"/>
                <a:gd name="connsiteY118" fmla="*/ 126210 h 491112"/>
                <a:gd name="connsiteX119" fmla="*/ 448818 w 495300"/>
                <a:gd name="connsiteY119" fmla="*/ 127734 h 491112"/>
                <a:gd name="connsiteX120" fmla="*/ 46958 w 495300"/>
                <a:gd name="connsiteY120" fmla="*/ 126782 h 491112"/>
                <a:gd name="connsiteX121" fmla="*/ 41910 w 495300"/>
                <a:gd name="connsiteY121" fmla="*/ 125258 h 491112"/>
                <a:gd name="connsiteX122" fmla="*/ 38957 w 495300"/>
                <a:gd name="connsiteY122" fmla="*/ 112113 h 491112"/>
                <a:gd name="connsiteX123" fmla="*/ 40291 w 495300"/>
                <a:gd name="connsiteY123" fmla="*/ 110018 h 491112"/>
                <a:gd name="connsiteX124" fmla="*/ 53435 w 495300"/>
                <a:gd name="connsiteY124" fmla="*/ 107255 h 491112"/>
                <a:gd name="connsiteX125" fmla="*/ 56197 w 495300"/>
                <a:gd name="connsiteY125" fmla="*/ 120400 h 491112"/>
                <a:gd name="connsiteX126" fmla="*/ 55054 w 495300"/>
                <a:gd name="connsiteY126" fmla="*/ 122210 h 491112"/>
                <a:gd name="connsiteX127" fmla="*/ 46958 w 495300"/>
                <a:gd name="connsiteY127" fmla="*/ 126591 h 491112"/>
                <a:gd name="connsiteX128" fmla="*/ 404717 w 495300"/>
                <a:gd name="connsiteY128" fmla="*/ 76109 h 491112"/>
                <a:gd name="connsiteX129" fmla="*/ 398430 w 495300"/>
                <a:gd name="connsiteY129" fmla="*/ 73728 h 491112"/>
                <a:gd name="connsiteX130" fmla="*/ 396716 w 495300"/>
                <a:gd name="connsiteY130" fmla="*/ 72204 h 491112"/>
                <a:gd name="connsiteX131" fmla="*/ 395668 w 495300"/>
                <a:gd name="connsiteY131" fmla="*/ 58773 h 491112"/>
                <a:gd name="connsiteX132" fmla="*/ 409098 w 495300"/>
                <a:gd name="connsiteY132" fmla="*/ 57725 h 491112"/>
                <a:gd name="connsiteX133" fmla="*/ 410908 w 495300"/>
                <a:gd name="connsiteY133" fmla="*/ 59345 h 491112"/>
                <a:gd name="connsiteX134" fmla="*/ 411861 w 495300"/>
                <a:gd name="connsiteY134" fmla="*/ 72775 h 491112"/>
                <a:gd name="connsiteX135" fmla="*/ 404717 w 495300"/>
                <a:gd name="connsiteY135" fmla="*/ 76013 h 491112"/>
                <a:gd name="connsiteX136" fmla="*/ 91249 w 495300"/>
                <a:gd name="connsiteY136" fmla="*/ 75537 h 491112"/>
                <a:gd name="connsiteX137" fmla="*/ 84105 w 495300"/>
                <a:gd name="connsiteY137" fmla="*/ 72299 h 491112"/>
                <a:gd name="connsiteX138" fmla="*/ 85058 w 495300"/>
                <a:gd name="connsiteY138" fmla="*/ 58868 h 491112"/>
                <a:gd name="connsiteX139" fmla="*/ 86868 w 495300"/>
                <a:gd name="connsiteY139" fmla="*/ 57249 h 491112"/>
                <a:gd name="connsiteX140" fmla="*/ 100298 w 495300"/>
                <a:gd name="connsiteY140" fmla="*/ 58297 h 491112"/>
                <a:gd name="connsiteX141" fmla="*/ 99250 w 495300"/>
                <a:gd name="connsiteY141" fmla="*/ 71727 h 491112"/>
                <a:gd name="connsiteX142" fmla="*/ 97536 w 495300"/>
                <a:gd name="connsiteY142" fmla="*/ 73251 h 491112"/>
                <a:gd name="connsiteX143" fmla="*/ 91249 w 495300"/>
                <a:gd name="connsiteY143" fmla="*/ 75633 h 491112"/>
                <a:gd name="connsiteX144" fmla="*/ 347948 w 495300"/>
                <a:gd name="connsiteY144" fmla="*/ 39057 h 491112"/>
                <a:gd name="connsiteX145" fmla="*/ 343948 w 495300"/>
                <a:gd name="connsiteY145" fmla="*/ 38199 h 491112"/>
                <a:gd name="connsiteX146" fmla="*/ 341852 w 495300"/>
                <a:gd name="connsiteY146" fmla="*/ 37247 h 491112"/>
                <a:gd name="connsiteX147" fmla="*/ 337089 w 495300"/>
                <a:gd name="connsiteY147" fmla="*/ 24674 h 491112"/>
                <a:gd name="connsiteX148" fmla="*/ 349662 w 495300"/>
                <a:gd name="connsiteY148" fmla="*/ 19911 h 491112"/>
                <a:gd name="connsiteX149" fmla="*/ 351854 w 495300"/>
                <a:gd name="connsiteY149" fmla="*/ 20864 h 491112"/>
                <a:gd name="connsiteX150" fmla="*/ 356521 w 495300"/>
                <a:gd name="connsiteY150" fmla="*/ 33532 h 491112"/>
                <a:gd name="connsiteX151" fmla="*/ 347853 w 495300"/>
                <a:gd name="connsiteY151" fmla="*/ 39057 h 491112"/>
                <a:gd name="connsiteX152" fmla="*/ 148114 w 495300"/>
                <a:gd name="connsiteY152" fmla="*/ 38675 h 491112"/>
                <a:gd name="connsiteX153" fmla="*/ 139446 w 495300"/>
                <a:gd name="connsiteY153" fmla="*/ 33151 h 491112"/>
                <a:gd name="connsiteX154" fmla="*/ 144113 w 495300"/>
                <a:gd name="connsiteY154" fmla="*/ 20483 h 491112"/>
                <a:gd name="connsiteX155" fmla="*/ 146399 w 495300"/>
                <a:gd name="connsiteY155" fmla="*/ 19435 h 491112"/>
                <a:gd name="connsiteX156" fmla="*/ 158972 w 495300"/>
                <a:gd name="connsiteY156" fmla="*/ 24293 h 491112"/>
                <a:gd name="connsiteX157" fmla="*/ 154114 w 495300"/>
                <a:gd name="connsiteY157" fmla="*/ 36866 h 491112"/>
                <a:gd name="connsiteX158" fmla="*/ 152114 w 495300"/>
                <a:gd name="connsiteY158" fmla="*/ 37723 h 491112"/>
                <a:gd name="connsiteX159" fmla="*/ 148114 w 495300"/>
                <a:gd name="connsiteY159" fmla="*/ 38580 h 491112"/>
                <a:gd name="connsiteX160" fmla="*/ 283083 w 495300"/>
                <a:gd name="connsiteY160" fmla="*/ 19530 h 491112"/>
                <a:gd name="connsiteX161" fmla="*/ 281749 w 495300"/>
                <a:gd name="connsiteY161" fmla="*/ 19435 h 491112"/>
                <a:gd name="connsiteX162" fmla="*/ 279463 w 495300"/>
                <a:gd name="connsiteY162" fmla="*/ 19054 h 491112"/>
                <a:gd name="connsiteX163" fmla="*/ 271367 w 495300"/>
                <a:gd name="connsiteY163" fmla="*/ 8291 h 491112"/>
                <a:gd name="connsiteX164" fmla="*/ 282130 w 495300"/>
                <a:gd name="connsiteY164" fmla="*/ 195 h 491112"/>
                <a:gd name="connsiteX165" fmla="*/ 284416 w 495300"/>
                <a:gd name="connsiteY165" fmla="*/ 575 h 491112"/>
                <a:gd name="connsiteX166" fmla="*/ 292512 w 495300"/>
                <a:gd name="connsiteY166" fmla="*/ 11339 h 491112"/>
                <a:gd name="connsiteX167" fmla="*/ 283083 w 495300"/>
                <a:gd name="connsiteY167" fmla="*/ 19530 h 491112"/>
                <a:gd name="connsiteX168" fmla="*/ 212979 w 495300"/>
                <a:gd name="connsiteY168" fmla="*/ 19435 h 491112"/>
                <a:gd name="connsiteX169" fmla="*/ 203549 w 495300"/>
                <a:gd name="connsiteY169" fmla="*/ 11243 h 491112"/>
                <a:gd name="connsiteX170" fmla="*/ 211645 w 495300"/>
                <a:gd name="connsiteY170" fmla="*/ 480 h 491112"/>
                <a:gd name="connsiteX171" fmla="*/ 214122 w 495300"/>
                <a:gd name="connsiteY171" fmla="*/ 99 h 491112"/>
                <a:gd name="connsiteX172" fmla="*/ 224790 w 495300"/>
                <a:gd name="connsiteY172" fmla="*/ 8291 h 491112"/>
                <a:gd name="connsiteX173" fmla="*/ 216598 w 495300"/>
                <a:gd name="connsiteY173" fmla="*/ 18959 h 491112"/>
                <a:gd name="connsiteX174" fmla="*/ 214408 w 495300"/>
                <a:gd name="connsiteY174" fmla="*/ 19245 h 491112"/>
                <a:gd name="connsiteX175" fmla="*/ 213074 w 495300"/>
                <a:gd name="connsiteY175" fmla="*/ 19340 h 491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495300" h="491112">
                  <a:moveTo>
                    <a:pt x="279463" y="491113"/>
                  </a:moveTo>
                  <a:cubicBezTo>
                    <a:pt x="274701" y="491113"/>
                    <a:pt x="270700" y="487589"/>
                    <a:pt x="270034" y="482826"/>
                  </a:cubicBezTo>
                  <a:cubicBezTo>
                    <a:pt x="269367" y="477587"/>
                    <a:pt x="272986" y="472825"/>
                    <a:pt x="278225" y="472158"/>
                  </a:cubicBezTo>
                  <a:lnTo>
                    <a:pt x="280416" y="471872"/>
                  </a:lnTo>
                  <a:cubicBezTo>
                    <a:pt x="285750" y="471015"/>
                    <a:pt x="290417" y="474730"/>
                    <a:pt x="291179" y="479969"/>
                  </a:cubicBezTo>
                  <a:cubicBezTo>
                    <a:pt x="291941" y="485208"/>
                    <a:pt x="288321" y="489970"/>
                    <a:pt x="283083" y="490732"/>
                  </a:cubicBezTo>
                  <a:lnTo>
                    <a:pt x="280606" y="491113"/>
                  </a:lnTo>
                  <a:cubicBezTo>
                    <a:pt x="280606" y="491113"/>
                    <a:pt x="279749" y="491113"/>
                    <a:pt x="279368" y="491113"/>
                  </a:cubicBezTo>
                  <a:close/>
                  <a:moveTo>
                    <a:pt x="214026" y="490827"/>
                  </a:moveTo>
                  <a:cubicBezTo>
                    <a:pt x="214026" y="490827"/>
                    <a:pt x="213074" y="490827"/>
                    <a:pt x="212693" y="490732"/>
                  </a:cubicBezTo>
                  <a:lnTo>
                    <a:pt x="210407" y="490351"/>
                  </a:lnTo>
                  <a:cubicBezTo>
                    <a:pt x="205168" y="489589"/>
                    <a:pt x="201644" y="484731"/>
                    <a:pt x="202311" y="479588"/>
                  </a:cubicBezTo>
                  <a:cubicBezTo>
                    <a:pt x="203073" y="474349"/>
                    <a:pt x="207836" y="470729"/>
                    <a:pt x="213074" y="471492"/>
                  </a:cubicBezTo>
                  <a:lnTo>
                    <a:pt x="215360" y="471872"/>
                  </a:lnTo>
                  <a:cubicBezTo>
                    <a:pt x="220599" y="472634"/>
                    <a:pt x="224123" y="477492"/>
                    <a:pt x="223456" y="482636"/>
                  </a:cubicBezTo>
                  <a:cubicBezTo>
                    <a:pt x="222789" y="487398"/>
                    <a:pt x="218694" y="490827"/>
                    <a:pt x="214026" y="490827"/>
                  </a:cubicBezTo>
                  <a:close/>
                  <a:moveTo>
                    <a:pt x="344614" y="472634"/>
                  </a:moveTo>
                  <a:cubicBezTo>
                    <a:pt x="340995" y="472634"/>
                    <a:pt x="337471" y="470539"/>
                    <a:pt x="335852" y="466920"/>
                  </a:cubicBezTo>
                  <a:cubicBezTo>
                    <a:pt x="333756" y="462062"/>
                    <a:pt x="335852" y="456442"/>
                    <a:pt x="340709" y="454346"/>
                  </a:cubicBezTo>
                  <a:lnTo>
                    <a:pt x="342709" y="453489"/>
                  </a:lnTo>
                  <a:cubicBezTo>
                    <a:pt x="347472" y="451299"/>
                    <a:pt x="353092" y="453394"/>
                    <a:pt x="355378" y="458157"/>
                  </a:cubicBezTo>
                  <a:cubicBezTo>
                    <a:pt x="357568" y="462919"/>
                    <a:pt x="355473" y="468634"/>
                    <a:pt x="350711" y="470825"/>
                  </a:cubicBezTo>
                  <a:lnTo>
                    <a:pt x="348424" y="471872"/>
                  </a:lnTo>
                  <a:cubicBezTo>
                    <a:pt x="347186" y="472444"/>
                    <a:pt x="345853" y="472634"/>
                    <a:pt x="344614" y="472634"/>
                  </a:cubicBezTo>
                  <a:close/>
                  <a:moveTo>
                    <a:pt x="148971" y="471872"/>
                  </a:moveTo>
                  <a:cubicBezTo>
                    <a:pt x="147638" y="471872"/>
                    <a:pt x="146304" y="471587"/>
                    <a:pt x="145066" y="471015"/>
                  </a:cubicBezTo>
                  <a:lnTo>
                    <a:pt x="142780" y="469967"/>
                  </a:lnTo>
                  <a:cubicBezTo>
                    <a:pt x="138017" y="467682"/>
                    <a:pt x="136017" y="462062"/>
                    <a:pt x="138208" y="457299"/>
                  </a:cubicBezTo>
                  <a:cubicBezTo>
                    <a:pt x="140494" y="452537"/>
                    <a:pt x="146113" y="450537"/>
                    <a:pt x="150876" y="452727"/>
                  </a:cubicBezTo>
                  <a:lnTo>
                    <a:pt x="152876" y="453680"/>
                  </a:lnTo>
                  <a:cubicBezTo>
                    <a:pt x="157639" y="455871"/>
                    <a:pt x="159734" y="461490"/>
                    <a:pt x="157639" y="466253"/>
                  </a:cubicBezTo>
                  <a:cubicBezTo>
                    <a:pt x="156020" y="469777"/>
                    <a:pt x="152590" y="471872"/>
                    <a:pt x="148971" y="471872"/>
                  </a:cubicBezTo>
                  <a:close/>
                  <a:moveTo>
                    <a:pt x="401860" y="436535"/>
                  </a:moveTo>
                  <a:cubicBezTo>
                    <a:pt x="399097" y="436535"/>
                    <a:pt x="396430" y="435392"/>
                    <a:pt x="394525" y="433106"/>
                  </a:cubicBezTo>
                  <a:cubicBezTo>
                    <a:pt x="391096" y="429105"/>
                    <a:pt x="391668" y="423104"/>
                    <a:pt x="395668" y="419675"/>
                  </a:cubicBezTo>
                  <a:lnTo>
                    <a:pt x="397287" y="418247"/>
                  </a:lnTo>
                  <a:cubicBezTo>
                    <a:pt x="401193" y="414818"/>
                    <a:pt x="407289" y="415199"/>
                    <a:pt x="410718" y="419199"/>
                  </a:cubicBezTo>
                  <a:cubicBezTo>
                    <a:pt x="414147" y="423200"/>
                    <a:pt x="413766" y="429200"/>
                    <a:pt x="409765" y="432629"/>
                  </a:cubicBezTo>
                  <a:lnTo>
                    <a:pt x="407861" y="434249"/>
                  </a:lnTo>
                  <a:cubicBezTo>
                    <a:pt x="406051" y="435773"/>
                    <a:pt x="403860" y="436535"/>
                    <a:pt x="401764" y="436535"/>
                  </a:cubicBezTo>
                  <a:close/>
                  <a:moveTo>
                    <a:pt x="91916" y="435296"/>
                  </a:moveTo>
                  <a:cubicBezTo>
                    <a:pt x="89725" y="435296"/>
                    <a:pt x="87535" y="434534"/>
                    <a:pt x="85725" y="433011"/>
                  </a:cubicBezTo>
                  <a:lnTo>
                    <a:pt x="83820" y="431391"/>
                  </a:lnTo>
                  <a:cubicBezTo>
                    <a:pt x="79914" y="427867"/>
                    <a:pt x="79534" y="421866"/>
                    <a:pt x="83058" y="417961"/>
                  </a:cubicBezTo>
                  <a:cubicBezTo>
                    <a:pt x="86582" y="414056"/>
                    <a:pt x="92583" y="413675"/>
                    <a:pt x="96488" y="417199"/>
                  </a:cubicBezTo>
                  <a:lnTo>
                    <a:pt x="98107" y="418628"/>
                  </a:lnTo>
                  <a:cubicBezTo>
                    <a:pt x="102108" y="422057"/>
                    <a:pt x="102584" y="428058"/>
                    <a:pt x="99155" y="432058"/>
                  </a:cubicBezTo>
                  <a:cubicBezTo>
                    <a:pt x="97250" y="434249"/>
                    <a:pt x="94583" y="435392"/>
                    <a:pt x="91916" y="435392"/>
                  </a:cubicBezTo>
                  <a:close/>
                  <a:moveTo>
                    <a:pt x="446722" y="385767"/>
                  </a:moveTo>
                  <a:cubicBezTo>
                    <a:pt x="444912" y="385767"/>
                    <a:pt x="443103" y="385290"/>
                    <a:pt x="441484" y="384242"/>
                  </a:cubicBezTo>
                  <a:cubicBezTo>
                    <a:pt x="437102" y="381385"/>
                    <a:pt x="435864" y="375479"/>
                    <a:pt x="438721" y="371098"/>
                  </a:cubicBezTo>
                  <a:lnTo>
                    <a:pt x="439960" y="369193"/>
                  </a:lnTo>
                  <a:cubicBezTo>
                    <a:pt x="442817" y="364812"/>
                    <a:pt x="448723" y="363478"/>
                    <a:pt x="453104" y="366336"/>
                  </a:cubicBezTo>
                  <a:cubicBezTo>
                    <a:pt x="457485" y="369193"/>
                    <a:pt x="458819" y="375099"/>
                    <a:pt x="455866" y="379480"/>
                  </a:cubicBezTo>
                  <a:lnTo>
                    <a:pt x="454533" y="381480"/>
                  </a:lnTo>
                  <a:cubicBezTo>
                    <a:pt x="452723" y="384242"/>
                    <a:pt x="449675" y="385767"/>
                    <a:pt x="446532" y="385767"/>
                  </a:cubicBezTo>
                  <a:close/>
                  <a:moveTo>
                    <a:pt x="47530" y="384242"/>
                  </a:moveTo>
                  <a:cubicBezTo>
                    <a:pt x="44386" y="384242"/>
                    <a:pt x="41338" y="382718"/>
                    <a:pt x="39528" y="379861"/>
                  </a:cubicBezTo>
                  <a:lnTo>
                    <a:pt x="38195" y="377861"/>
                  </a:lnTo>
                  <a:cubicBezTo>
                    <a:pt x="35337" y="373384"/>
                    <a:pt x="36671" y="367574"/>
                    <a:pt x="41148" y="364716"/>
                  </a:cubicBezTo>
                  <a:cubicBezTo>
                    <a:pt x="45625" y="361859"/>
                    <a:pt x="51435" y="363192"/>
                    <a:pt x="54292" y="367669"/>
                  </a:cubicBezTo>
                  <a:lnTo>
                    <a:pt x="55530" y="369574"/>
                  </a:lnTo>
                  <a:cubicBezTo>
                    <a:pt x="58388" y="373955"/>
                    <a:pt x="57055" y="379861"/>
                    <a:pt x="52673" y="382718"/>
                  </a:cubicBezTo>
                  <a:cubicBezTo>
                    <a:pt x="51054" y="383766"/>
                    <a:pt x="49339" y="384242"/>
                    <a:pt x="47530" y="384242"/>
                  </a:cubicBezTo>
                  <a:close/>
                  <a:moveTo>
                    <a:pt x="475583" y="324425"/>
                  </a:moveTo>
                  <a:cubicBezTo>
                    <a:pt x="474726" y="324425"/>
                    <a:pt x="473773" y="324330"/>
                    <a:pt x="472821" y="324045"/>
                  </a:cubicBezTo>
                  <a:cubicBezTo>
                    <a:pt x="467773" y="322521"/>
                    <a:pt x="464915" y="317187"/>
                    <a:pt x="466439" y="312138"/>
                  </a:cubicBezTo>
                  <a:lnTo>
                    <a:pt x="467106" y="309947"/>
                  </a:lnTo>
                  <a:cubicBezTo>
                    <a:pt x="468630" y="304899"/>
                    <a:pt x="473869" y="302042"/>
                    <a:pt x="478917" y="303566"/>
                  </a:cubicBezTo>
                  <a:cubicBezTo>
                    <a:pt x="483965" y="305090"/>
                    <a:pt x="486823" y="310329"/>
                    <a:pt x="485298" y="315377"/>
                  </a:cubicBezTo>
                  <a:lnTo>
                    <a:pt x="484632" y="317663"/>
                  </a:lnTo>
                  <a:cubicBezTo>
                    <a:pt x="483394" y="321758"/>
                    <a:pt x="479584" y="324425"/>
                    <a:pt x="475488" y="324425"/>
                  </a:cubicBezTo>
                  <a:close/>
                  <a:moveTo>
                    <a:pt x="19240" y="322616"/>
                  </a:moveTo>
                  <a:cubicBezTo>
                    <a:pt x="15144" y="322616"/>
                    <a:pt x="11335" y="319949"/>
                    <a:pt x="10096" y="315758"/>
                  </a:cubicBezTo>
                  <a:lnTo>
                    <a:pt x="9525" y="313948"/>
                  </a:lnTo>
                  <a:cubicBezTo>
                    <a:pt x="8096" y="308900"/>
                    <a:pt x="10953" y="303375"/>
                    <a:pt x="16002" y="301946"/>
                  </a:cubicBezTo>
                  <a:cubicBezTo>
                    <a:pt x="21050" y="300518"/>
                    <a:pt x="26289" y="303185"/>
                    <a:pt x="27717" y="308233"/>
                  </a:cubicBezTo>
                  <a:lnTo>
                    <a:pt x="28384" y="310424"/>
                  </a:lnTo>
                  <a:cubicBezTo>
                    <a:pt x="29908" y="315472"/>
                    <a:pt x="26955" y="320806"/>
                    <a:pt x="22003" y="322235"/>
                  </a:cubicBezTo>
                  <a:cubicBezTo>
                    <a:pt x="21145" y="322521"/>
                    <a:pt x="20193" y="322616"/>
                    <a:pt x="19335" y="322616"/>
                  </a:cubicBezTo>
                  <a:close/>
                  <a:moveTo>
                    <a:pt x="485775" y="257465"/>
                  </a:moveTo>
                  <a:lnTo>
                    <a:pt x="485680" y="257465"/>
                  </a:lnTo>
                  <a:cubicBezTo>
                    <a:pt x="480441" y="257465"/>
                    <a:pt x="476155" y="253083"/>
                    <a:pt x="476250" y="247845"/>
                  </a:cubicBezTo>
                  <a:lnTo>
                    <a:pt x="476250" y="244606"/>
                  </a:lnTo>
                  <a:cubicBezTo>
                    <a:pt x="476250" y="239367"/>
                    <a:pt x="480536" y="235081"/>
                    <a:pt x="485775" y="235081"/>
                  </a:cubicBezTo>
                  <a:cubicBezTo>
                    <a:pt x="491014" y="235081"/>
                    <a:pt x="495300" y="239367"/>
                    <a:pt x="495300" y="244606"/>
                  </a:cubicBezTo>
                  <a:lnTo>
                    <a:pt x="495300" y="248035"/>
                  </a:lnTo>
                  <a:cubicBezTo>
                    <a:pt x="495300" y="253274"/>
                    <a:pt x="491014" y="257465"/>
                    <a:pt x="485775" y="257465"/>
                  </a:cubicBezTo>
                  <a:close/>
                  <a:moveTo>
                    <a:pt x="9525" y="255369"/>
                  </a:moveTo>
                  <a:cubicBezTo>
                    <a:pt x="4286" y="255369"/>
                    <a:pt x="0" y="251369"/>
                    <a:pt x="0" y="246130"/>
                  </a:cubicBezTo>
                  <a:lnTo>
                    <a:pt x="0" y="243654"/>
                  </a:lnTo>
                  <a:cubicBezTo>
                    <a:pt x="0" y="238415"/>
                    <a:pt x="4381" y="234319"/>
                    <a:pt x="9525" y="234319"/>
                  </a:cubicBezTo>
                  <a:lnTo>
                    <a:pt x="9715" y="234319"/>
                  </a:lnTo>
                  <a:cubicBezTo>
                    <a:pt x="14954" y="234319"/>
                    <a:pt x="19145" y="238700"/>
                    <a:pt x="19050" y="244034"/>
                  </a:cubicBezTo>
                  <a:lnTo>
                    <a:pt x="19050" y="245749"/>
                  </a:lnTo>
                  <a:cubicBezTo>
                    <a:pt x="19050" y="250988"/>
                    <a:pt x="14764" y="255560"/>
                    <a:pt x="9525" y="255560"/>
                  </a:cubicBezTo>
                  <a:close/>
                  <a:moveTo>
                    <a:pt x="476535" y="189361"/>
                  </a:moveTo>
                  <a:cubicBezTo>
                    <a:pt x="472344" y="189361"/>
                    <a:pt x="468535" y="186599"/>
                    <a:pt x="467392" y="182408"/>
                  </a:cubicBezTo>
                  <a:lnTo>
                    <a:pt x="466725" y="180312"/>
                  </a:lnTo>
                  <a:cubicBezTo>
                    <a:pt x="465201" y="175264"/>
                    <a:pt x="468058" y="169930"/>
                    <a:pt x="473107" y="168406"/>
                  </a:cubicBezTo>
                  <a:cubicBezTo>
                    <a:pt x="478155" y="166882"/>
                    <a:pt x="483489" y="169739"/>
                    <a:pt x="485013" y="174788"/>
                  </a:cubicBezTo>
                  <a:lnTo>
                    <a:pt x="485680" y="177169"/>
                  </a:lnTo>
                  <a:cubicBezTo>
                    <a:pt x="487108" y="182217"/>
                    <a:pt x="484155" y="187456"/>
                    <a:pt x="479107" y="188980"/>
                  </a:cubicBezTo>
                  <a:cubicBezTo>
                    <a:pt x="478250" y="189266"/>
                    <a:pt x="477393" y="189361"/>
                    <a:pt x="476535" y="189361"/>
                  </a:cubicBezTo>
                  <a:close/>
                  <a:moveTo>
                    <a:pt x="18955" y="188504"/>
                  </a:moveTo>
                  <a:cubicBezTo>
                    <a:pt x="18097" y="188504"/>
                    <a:pt x="17240" y="188408"/>
                    <a:pt x="16383" y="188123"/>
                  </a:cubicBezTo>
                  <a:cubicBezTo>
                    <a:pt x="11335" y="186694"/>
                    <a:pt x="8382" y="181455"/>
                    <a:pt x="9810" y="176312"/>
                  </a:cubicBezTo>
                  <a:lnTo>
                    <a:pt x="10573" y="173835"/>
                  </a:lnTo>
                  <a:cubicBezTo>
                    <a:pt x="12096" y="168787"/>
                    <a:pt x="17526" y="166025"/>
                    <a:pt x="22479" y="167549"/>
                  </a:cubicBezTo>
                  <a:cubicBezTo>
                    <a:pt x="27527" y="169073"/>
                    <a:pt x="30289" y="174502"/>
                    <a:pt x="28765" y="179455"/>
                  </a:cubicBezTo>
                  <a:lnTo>
                    <a:pt x="28194" y="181455"/>
                  </a:lnTo>
                  <a:cubicBezTo>
                    <a:pt x="27051" y="185646"/>
                    <a:pt x="23146" y="188408"/>
                    <a:pt x="19050" y="188408"/>
                  </a:cubicBezTo>
                  <a:close/>
                  <a:moveTo>
                    <a:pt x="448818" y="127544"/>
                  </a:moveTo>
                  <a:cubicBezTo>
                    <a:pt x="445675" y="127544"/>
                    <a:pt x="442531" y="126020"/>
                    <a:pt x="440721" y="123162"/>
                  </a:cubicBezTo>
                  <a:lnTo>
                    <a:pt x="439578" y="121353"/>
                  </a:lnTo>
                  <a:cubicBezTo>
                    <a:pt x="436721" y="116971"/>
                    <a:pt x="437959" y="111066"/>
                    <a:pt x="442341" y="108208"/>
                  </a:cubicBezTo>
                  <a:cubicBezTo>
                    <a:pt x="446722" y="105350"/>
                    <a:pt x="452628" y="106589"/>
                    <a:pt x="455486" y="110970"/>
                  </a:cubicBezTo>
                  <a:lnTo>
                    <a:pt x="456819" y="113066"/>
                  </a:lnTo>
                  <a:cubicBezTo>
                    <a:pt x="459677" y="117542"/>
                    <a:pt x="458343" y="123353"/>
                    <a:pt x="453866" y="126210"/>
                  </a:cubicBezTo>
                  <a:cubicBezTo>
                    <a:pt x="452247" y="127258"/>
                    <a:pt x="450532" y="127734"/>
                    <a:pt x="448818" y="127734"/>
                  </a:cubicBezTo>
                  <a:close/>
                  <a:moveTo>
                    <a:pt x="46958" y="126782"/>
                  </a:moveTo>
                  <a:cubicBezTo>
                    <a:pt x="45244" y="126782"/>
                    <a:pt x="43434" y="126305"/>
                    <a:pt x="41910" y="125258"/>
                  </a:cubicBezTo>
                  <a:cubicBezTo>
                    <a:pt x="37433" y="122400"/>
                    <a:pt x="36100" y="116590"/>
                    <a:pt x="38957" y="112113"/>
                  </a:cubicBezTo>
                  <a:lnTo>
                    <a:pt x="40291" y="110018"/>
                  </a:lnTo>
                  <a:cubicBezTo>
                    <a:pt x="43148" y="105636"/>
                    <a:pt x="49053" y="104398"/>
                    <a:pt x="53435" y="107255"/>
                  </a:cubicBezTo>
                  <a:cubicBezTo>
                    <a:pt x="57817" y="110113"/>
                    <a:pt x="59055" y="116018"/>
                    <a:pt x="56197" y="120400"/>
                  </a:cubicBezTo>
                  <a:lnTo>
                    <a:pt x="55054" y="122210"/>
                  </a:lnTo>
                  <a:cubicBezTo>
                    <a:pt x="53244" y="125067"/>
                    <a:pt x="50196" y="126591"/>
                    <a:pt x="46958" y="126591"/>
                  </a:cubicBezTo>
                  <a:close/>
                  <a:moveTo>
                    <a:pt x="404717" y="76109"/>
                  </a:moveTo>
                  <a:cubicBezTo>
                    <a:pt x="402527" y="76109"/>
                    <a:pt x="400240" y="75347"/>
                    <a:pt x="398430" y="73728"/>
                  </a:cubicBezTo>
                  <a:lnTo>
                    <a:pt x="396716" y="72204"/>
                  </a:lnTo>
                  <a:cubicBezTo>
                    <a:pt x="392716" y="68775"/>
                    <a:pt x="392239" y="62774"/>
                    <a:pt x="395668" y="58773"/>
                  </a:cubicBezTo>
                  <a:cubicBezTo>
                    <a:pt x="399097" y="54773"/>
                    <a:pt x="405098" y="54296"/>
                    <a:pt x="409098" y="57725"/>
                  </a:cubicBezTo>
                  <a:lnTo>
                    <a:pt x="410908" y="59345"/>
                  </a:lnTo>
                  <a:cubicBezTo>
                    <a:pt x="414909" y="62774"/>
                    <a:pt x="415290" y="68775"/>
                    <a:pt x="411861" y="72775"/>
                  </a:cubicBezTo>
                  <a:cubicBezTo>
                    <a:pt x="409956" y="74966"/>
                    <a:pt x="407384" y="76013"/>
                    <a:pt x="404717" y="76013"/>
                  </a:cubicBezTo>
                  <a:close/>
                  <a:moveTo>
                    <a:pt x="91249" y="75537"/>
                  </a:moveTo>
                  <a:cubicBezTo>
                    <a:pt x="88582" y="75537"/>
                    <a:pt x="85915" y="74394"/>
                    <a:pt x="84105" y="72299"/>
                  </a:cubicBezTo>
                  <a:cubicBezTo>
                    <a:pt x="80676" y="68298"/>
                    <a:pt x="81058" y="62297"/>
                    <a:pt x="85058" y="58868"/>
                  </a:cubicBezTo>
                  <a:lnTo>
                    <a:pt x="86868" y="57249"/>
                  </a:lnTo>
                  <a:cubicBezTo>
                    <a:pt x="90868" y="53820"/>
                    <a:pt x="96869" y="54296"/>
                    <a:pt x="100298" y="58297"/>
                  </a:cubicBezTo>
                  <a:cubicBezTo>
                    <a:pt x="103727" y="62297"/>
                    <a:pt x="103251" y="68298"/>
                    <a:pt x="99250" y="71727"/>
                  </a:cubicBezTo>
                  <a:lnTo>
                    <a:pt x="97536" y="73251"/>
                  </a:lnTo>
                  <a:cubicBezTo>
                    <a:pt x="95726" y="74870"/>
                    <a:pt x="93536" y="75633"/>
                    <a:pt x="91249" y="75633"/>
                  </a:cubicBezTo>
                  <a:close/>
                  <a:moveTo>
                    <a:pt x="347948" y="39057"/>
                  </a:moveTo>
                  <a:cubicBezTo>
                    <a:pt x="346614" y="39057"/>
                    <a:pt x="345281" y="38771"/>
                    <a:pt x="343948" y="38199"/>
                  </a:cubicBezTo>
                  <a:lnTo>
                    <a:pt x="341852" y="37247"/>
                  </a:lnTo>
                  <a:cubicBezTo>
                    <a:pt x="337089" y="35056"/>
                    <a:pt x="334994" y="29436"/>
                    <a:pt x="337089" y="24674"/>
                  </a:cubicBezTo>
                  <a:cubicBezTo>
                    <a:pt x="339280" y="19911"/>
                    <a:pt x="344900" y="17720"/>
                    <a:pt x="349662" y="19911"/>
                  </a:cubicBezTo>
                  <a:lnTo>
                    <a:pt x="351854" y="20864"/>
                  </a:lnTo>
                  <a:cubicBezTo>
                    <a:pt x="356616" y="23054"/>
                    <a:pt x="358711" y="28770"/>
                    <a:pt x="356521" y="33532"/>
                  </a:cubicBezTo>
                  <a:cubicBezTo>
                    <a:pt x="354902" y="37056"/>
                    <a:pt x="351472" y="39057"/>
                    <a:pt x="347853" y="39057"/>
                  </a:cubicBezTo>
                  <a:close/>
                  <a:moveTo>
                    <a:pt x="148114" y="38675"/>
                  </a:moveTo>
                  <a:cubicBezTo>
                    <a:pt x="144494" y="38675"/>
                    <a:pt x="141065" y="36580"/>
                    <a:pt x="139446" y="33151"/>
                  </a:cubicBezTo>
                  <a:cubicBezTo>
                    <a:pt x="137255" y="28388"/>
                    <a:pt x="139351" y="22674"/>
                    <a:pt x="144113" y="20483"/>
                  </a:cubicBezTo>
                  <a:lnTo>
                    <a:pt x="146399" y="19435"/>
                  </a:lnTo>
                  <a:cubicBezTo>
                    <a:pt x="151257" y="17339"/>
                    <a:pt x="156876" y="19435"/>
                    <a:pt x="158972" y="24293"/>
                  </a:cubicBezTo>
                  <a:cubicBezTo>
                    <a:pt x="161068" y="29150"/>
                    <a:pt x="158972" y="34770"/>
                    <a:pt x="154114" y="36866"/>
                  </a:cubicBezTo>
                  <a:lnTo>
                    <a:pt x="152114" y="37723"/>
                  </a:lnTo>
                  <a:cubicBezTo>
                    <a:pt x="150876" y="38295"/>
                    <a:pt x="149447" y="38580"/>
                    <a:pt x="148114" y="38580"/>
                  </a:cubicBezTo>
                  <a:close/>
                  <a:moveTo>
                    <a:pt x="283083" y="19530"/>
                  </a:moveTo>
                  <a:cubicBezTo>
                    <a:pt x="283083" y="19530"/>
                    <a:pt x="282130" y="19530"/>
                    <a:pt x="281749" y="19435"/>
                  </a:cubicBezTo>
                  <a:lnTo>
                    <a:pt x="279463" y="19054"/>
                  </a:lnTo>
                  <a:cubicBezTo>
                    <a:pt x="274225" y="18292"/>
                    <a:pt x="270700" y="13434"/>
                    <a:pt x="271367" y="8291"/>
                  </a:cubicBezTo>
                  <a:cubicBezTo>
                    <a:pt x="272129" y="3052"/>
                    <a:pt x="276892" y="-663"/>
                    <a:pt x="282130" y="195"/>
                  </a:cubicBezTo>
                  <a:lnTo>
                    <a:pt x="284416" y="575"/>
                  </a:lnTo>
                  <a:cubicBezTo>
                    <a:pt x="289655" y="1337"/>
                    <a:pt x="293179" y="6195"/>
                    <a:pt x="292512" y="11339"/>
                  </a:cubicBezTo>
                  <a:cubicBezTo>
                    <a:pt x="291846" y="16101"/>
                    <a:pt x="287750" y="19530"/>
                    <a:pt x="283083" y="19530"/>
                  </a:cubicBezTo>
                  <a:close/>
                  <a:moveTo>
                    <a:pt x="212979" y="19435"/>
                  </a:moveTo>
                  <a:cubicBezTo>
                    <a:pt x="208312" y="19435"/>
                    <a:pt x="204216" y="16006"/>
                    <a:pt x="203549" y="11243"/>
                  </a:cubicBezTo>
                  <a:cubicBezTo>
                    <a:pt x="202787" y="6005"/>
                    <a:pt x="206407" y="1242"/>
                    <a:pt x="211645" y="480"/>
                  </a:cubicBezTo>
                  <a:lnTo>
                    <a:pt x="214122" y="99"/>
                  </a:lnTo>
                  <a:cubicBezTo>
                    <a:pt x="219360" y="-663"/>
                    <a:pt x="224123" y="3052"/>
                    <a:pt x="224790" y="8291"/>
                  </a:cubicBezTo>
                  <a:cubicBezTo>
                    <a:pt x="225457" y="13529"/>
                    <a:pt x="221837" y="18292"/>
                    <a:pt x="216598" y="18959"/>
                  </a:cubicBezTo>
                  <a:lnTo>
                    <a:pt x="214408" y="19245"/>
                  </a:lnTo>
                  <a:cubicBezTo>
                    <a:pt x="214408" y="19245"/>
                    <a:pt x="213455" y="19340"/>
                    <a:pt x="213074" y="193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C9ED5A6B-4194-DDBD-343C-5B4B9DD9A1FD}"/>
              </a:ext>
            </a:extLst>
          </p:cNvPr>
          <p:cNvGrpSpPr/>
          <p:nvPr/>
        </p:nvGrpSpPr>
        <p:grpSpPr>
          <a:xfrm>
            <a:off x="360572" y="3337909"/>
            <a:ext cx="11297227" cy="3383566"/>
            <a:chOff x="206127" y="3803945"/>
            <a:chExt cx="11297227" cy="3383566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4216ED2-2E20-67FB-3F97-EBB763C8AF06}"/>
                </a:ext>
              </a:extLst>
            </p:cNvPr>
            <p:cNvGrpSpPr/>
            <p:nvPr/>
          </p:nvGrpSpPr>
          <p:grpSpPr>
            <a:xfrm>
              <a:off x="263277" y="3984676"/>
              <a:ext cx="8897649" cy="2733114"/>
              <a:chOff x="611886" y="3921214"/>
              <a:chExt cx="8897649" cy="2733114"/>
            </a:xfrm>
          </p:grpSpPr>
          <p:sp>
            <p:nvSpPr>
              <p:cNvPr id="46" name="TextBox 34">
                <a:extLst>
                  <a:ext uri="{FF2B5EF4-FFF2-40B4-BE49-F238E27FC236}">
                    <a16:creationId xmlns:a16="http://schemas.microsoft.com/office/drawing/2014/main" id="{832DC709-D7D8-387A-D7B9-47A8214A66F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11886" y="3922811"/>
                <a:ext cx="2103090" cy="754053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ts val="600"/>
                  </a:spcBef>
                  <a:spcAft>
                    <a:spcPts val="0"/>
                  </a:spcAft>
                  <a:buClr>
                    <a:srgbClr val="000000"/>
                  </a:buClr>
                  <a:buNone/>
                  <a:defRPr/>
                </a:pPr>
                <a:r>
                  <a:rPr lang="en-US" sz="1600" b="1">
                    <a:solidFill>
                      <a:schemeClr val="accent1"/>
                    </a:solidFill>
                    <a:latin typeface="Aptos"/>
                    <a:cs typeface="Arial"/>
                  </a:rPr>
                  <a:t>300 + Ideas</a:t>
                </a:r>
              </a:p>
              <a:p>
                <a:pPr>
                  <a:spcBef>
                    <a:spcPts val="600"/>
                  </a:spcBef>
                  <a:buClr>
                    <a:srgbClr val="000000"/>
                  </a:buClr>
                  <a:defRPr/>
                </a:pPr>
                <a:r>
                  <a:rPr lang="en-US" sz="1400">
                    <a:solidFill>
                      <a:srgbClr val="000000"/>
                    </a:solidFill>
                    <a:latin typeface="Aptos"/>
                    <a:cs typeface="Arial"/>
                  </a:rPr>
                  <a:t>44 participants from 7 branches</a:t>
                </a: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/>
                    <a:cs typeface="Arial"/>
                  </a:rPr>
                  <a:t> </a:t>
                </a:r>
                <a:r>
                  <a:rPr lang="en-US" sz="1400">
                    <a:solidFill>
                      <a:srgbClr val="000000"/>
                    </a:solidFill>
                    <a:latin typeface="Aptos"/>
                    <a:cs typeface="Arial"/>
                  </a:rPr>
                  <a:t>and 4 regions </a:t>
                </a:r>
                <a:endParaRPr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cs typeface="Arial"/>
                </a:endParaRPr>
              </a:p>
            </p:txBody>
          </p:sp>
          <p:sp>
            <p:nvSpPr>
              <p:cNvPr id="47" name="TextBox 42">
                <a:extLst>
                  <a:ext uri="{FF2B5EF4-FFF2-40B4-BE49-F238E27FC236}">
                    <a16:creationId xmlns:a16="http://schemas.microsoft.com/office/drawing/2014/main" id="{266DFCA9-A17A-CB7D-20B4-1792F7E4417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871393" y="3922811"/>
                <a:ext cx="2103091" cy="126188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ptos" panose="020B0004020202020204" pitchFamily="34" charset="0"/>
                    <a:cs typeface="Arial"/>
                  </a:rPr>
                  <a:t>30 Features</a:t>
                </a:r>
              </a:p>
              <a:p>
                <a:pPr>
                  <a:spcBef>
                    <a:spcPts val="600"/>
                  </a:spcBef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/>
                    <a:cs typeface="Arial"/>
                  </a:rPr>
                  <a:t>These ideas were </a:t>
                </a:r>
                <a:r>
                  <a:rPr kumimoji="0" lang="en-U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/>
                    <a:cs typeface="Arial"/>
                  </a:rPr>
                  <a:t>synthesized into 30 features</a:t>
                </a:r>
                <a:r>
                  <a:rPr lang="en-US" sz="1400" b="1">
                    <a:solidFill>
                      <a:srgbClr val="000000"/>
                    </a:solidFill>
                    <a:latin typeface="Aptos"/>
                    <a:cs typeface="Arial"/>
                  </a:rPr>
                  <a:t> </a:t>
                </a:r>
                <a:endParaRPr lang="en-CA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 panose="020B0604020202020204" pitchFamily="34" charset="0"/>
                </a:endParaRPr>
              </a:p>
              <a:p>
                <a:pPr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defRPr/>
                </a:pPr>
                <a:endParaRPr lang="en-US" sz="1400">
                  <a:solidFill>
                    <a:srgbClr val="000000"/>
                  </a:solidFill>
                  <a:latin typeface="Aptos"/>
                  <a:cs typeface="Arial"/>
                </a:endParaRPr>
              </a:p>
            </p:txBody>
          </p:sp>
          <p:sp>
            <p:nvSpPr>
              <p:cNvPr id="48" name="TextBox 48">
                <a:extLst>
                  <a:ext uri="{FF2B5EF4-FFF2-40B4-BE49-F238E27FC236}">
                    <a16:creationId xmlns:a16="http://schemas.microsoft.com/office/drawing/2014/main" id="{76C98FB0-E118-A8FC-BB3A-2E19D37FA83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130901" y="3921214"/>
                <a:ext cx="2097614" cy="269304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000000"/>
                  </a:buClr>
                  <a:buSzPct val="100000"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ptos" panose="020B0004020202020204" pitchFamily="34" charset="0"/>
                    <a:cs typeface="Arial"/>
                  </a:rPr>
                  <a:t>Vision Statement</a:t>
                </a:r>
                <a:endParaRPr lang="en-US" sz="1600" b="1">
                  <a:solidFill>
                    <a:schemeClr val="accent1"/>
                  </a:solidFill>
                  <a:latin typeface="Aptos" panose="020B0004020202020204" pitchFamily="34" charset="0"/>
                  <a:cs typeface="Arial"/>
                </a:endParaRPr>
              </a:p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000000"/>
                  </a:buClr>
                  <a:buSzPct val="100000"/>
                  <a:buNone/>
                  <a:tabLst/>
                  <a:defRPr/>
                </a:pPr>
                <a:r>
                  <a:rPr kumimoji="0" lang="en-CA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/>
                    <a:cs typeface="Arial"/>
                  </a:rPr>
                  <a:t>Single Point of Access based on life events for various types of clients </a:t>
                </a:r>
                <a:r>
                  <a:rPr kumimoji="0" lang="en-CA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ptos"/>
                    <a:cs typeface="Arial"/>
                  </a:rPr>
                  <a:t>where they can become informed of the process to notify, the benefits they are eligible for, submit applications and documentation, cancel benefits for the deceased, and request support</a:t>
                </a: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ptos"/>
                  <a:cs typeface="Arial"/>
                </a:endParaRPr>
              </a:p>
            </p:txBody>
          </p:sp>
          <p:sp>
            <p:nvSpPr>
              <p:cNvPr id="49" name="TextBox 54">
                <a:extLst>
                  <a:ext uri="{FF2B5EF4-FFF2-40B4-BE49-F238E27FC236}">
                    <a16:creationId xmlns:a16="http://schemas.microsoft.com/office/drawing/2014/main" id="{5E29BA18-3974-9E11-D684-160B95D6940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11921" y="3922811"/>
                <a:ext cx="2097614" cy="273151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000000"/>
                  </a:buClr>
                  <a:buSzPct val="100000"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ptos"/>
                    <a:cs typeface="Arial"/>
                  </a:rPr>
                  <a:t>5 MVP Candidates</a:t>
                </a:r>
                <a:endParaRPr lang="en-US" sz="1600" b="1">
                  <a:solidFill>
                    <a:schemeClr val="accent1"/>
                  </a:solidFill>
                  <a:latin typeface="Aptos"/>
                  <a:cs typeface="Arial"/>
                </a:endParaRPr>
              </a:p>
              <a:p>
                <a:pPr marL="285750" indent="-285750">
                  <a:spcBef>
                    <a:spcPts val="600"/>
                  </a:spcBef>
                  <a:buClr>
                    <a:srgbClr val="000000"/>
                  </a:buClr>
                  <a:buSzPct val="100000"/>
                  <a:buFont typeface="Arial" panose="020B0604020202020204" pitchFamily="34" charset="0"/>
                  <a:buChar char="•"/>
                  <a:defRPr/>
                </a:pPr>
                <a:r>
                  <a:rPr lang="en-US" sz="1400">
                    <a:latin typeface="Aptos"/>
                  </a:rPr>
                  <a:t>30 features identified in the ZBD were reduced to 14 from which </a:t>
                </a:r>
                <a:r>
                  <a:rPr lang="en-US" sz="1400" b="1">
                    <a:latin typeface="Aptos"/>
                  </a:rPr>
                  <a:t>5 features were prioritized for the MVP</a:t>
                </a:r>
                <a:endParaRPr lang="en-US" sz="1400">
                  <a:latin typeface="Aptos"/>
                  <a:cs typeface="Arial"/>
                </a:endParaRPr>
              </a:p>
              <a:p>
                <a:pPr marL="285750" indent="-285750">
                  <a:spcBef>
                    <a:spcPts val="300"/>
                  </a:spcBef>
                  <a:spcAft>
                    <a:spcPts val="300"/>
                  </a:spcAft>
                  <a:buFont typeface="Arial"/>
                  <a:buChar char="•"/>
                </a:pPr>
                <a:r>
                  <a:rPr lang="en-US" sz="1400">
                    <a:latin typeface="Aptos"/>
                  </a:rPr>
                  <a:t>50 participants from 7 branches and 4 regions reviewed the features based on what can be achieved in the available timeline</a:t>
                </a:r>
                <a:endParaRPr lang="en-US" sz="1400">
                  <a:latin typeface="Aptos"/>
                  <a:cs typeface="Arial"/>
                </a:endParaRP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8BF89AC7-3CC7-4479-87E0-3B7046D12169}"/>
                </a:ext>
              </a:extLst>
            </p:cNvPr>
            <p:cNvGrpSpPr/>
            <p:nvPr/>
          </p:nvGrpSpPr>
          <p:grpSpPr>
            <a:xfrm>
              <a:off x="7006162" y="3803945"/>
              <a:ext cx="2160240" cy="114300"/>
              <a:chOff x="554736" y="3831072"/>
              <a:chExt cx="2160240" cy="114300"/>
            </a:xfrm>
          </p:grpSpPr>
          <p:cxnSp>
            <p:nvCxnSpPr>
              <p:cNvPr id="73" name="LineBasicStrong 19">
                <a:extLst>
                  <a:ext uri="{FF2B5EF4-FFF2-40B4-BE49-F238E27FC236}">
                    <a16:creationId xmlns:a16="http://schemas.microsoft.com/office/drawing/2014/main" id="{AE588709-E571-5DF2-3030-5912BBAFB0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1886" y="3895151"/>
                <a:ext cx="2103090" cy="0"/>
              </a:xfrm>
              <a:prstGeom prst="straightConnector1">
                <a:avLst/>
              </a:prstGeom>
              <a:ln w="28575" cap="flat">
                <a:solidFill>
                  <a:srgbClr val="1E415A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7DC563B4-3380-6D0C-B45C-0FDCF1AF18DB}"/>
                  </a:ext>
                </a:extLst>
              </p:cNvPr>
              <p:cNvSpPr>
                <a:spLocks/>
              </p:cNvSpPr>
              <p:nvPr/>
            </p:nvSpPr>
            <p:spPr>
              <a:xfrm rot="16200000" flipH="1">
                <a:off x="554736" y="3831072"/>
                <a:ext cx="114300" cy="114300"/>
              </a:xfrm>
              <a:prstGeom prst="ellipse">
                <a:avLst/>
              </a:prstGeom>
              <a:solidFill>
                <a:srgbClr val="1E415A"/>
              </a:solidFill>
              <a:ln w="9525" cap="flat" cmpd="sng" algn="ctr">
                <a:solidFill>
                  <a:srgbClr val="1E415A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8" name="TextBox 54">
              <a:extLst>
                <a:ext uri="{FF2B5EF4-FFF2-40B4-BE49-F238E27FC236}">
                  <a16:creationId xmlns:a16="http://schemas.microsoft.com/office/drawing/2014/main" id="{C6B07CB1-CFB6-4787-42DD-27735AE9A3E8}"/>
                </a:ext>
              </a:extLst>
            </p:cNvPr>
            <p:cNvSpPr txBox="1">
              <a:spLocks/>
            </p:cNvSpPr>
            <p:nvPr/>
          </p:nvSpPr>
          <p:spPr>
            <a:xfrm>
              <a:off x="9317343" y="3986635"/>
              <a:ext cx="2186011" cy="320087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ptos" panose="020B0004020202020204" pitchFamily="34" charset="0"/>
                  <a:cs typeface="Arial"/>
                </a:rPr>
                <a:t>Sprint progress</a:t>
              </a:r>
              <a:endParaRPr lang="en-US" sz="1600" b="1">
                <a:solidFill>
                  <a:schemeClr val="accent1"/>
                </a:solidFill>
                <a:latin typeface="Aptos" panose="020B0004020202020204" pitchFamily="34" charset="0"/>
                <a:cs typeface="Arial"/>
              </a:endParaRPr>
            </a:p>
            <a:p>
              <a:pPr marR="0" lvl="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None/>
                <a:tabLst/>
                <a:defRPr/>
              </a:pPr>
              <a:r>
                <a:rPr lang="en-US" sz="1400">
                  <a:latin typeface="Aptos"/>
                  <a:cs typeface="Arial"/>
                </a:rPr>
                <a:t>In the first 2 sprints, the team accomplished: </a:t>
              </a:r>
            </a:p>
            <a:p>
              <a:pPr marL="571500" indent="-285750">
                <a:buFont typeface="Arial"/>
                <a:buChar char="•"/>
              </a:pPr>
              <a:r>
                <a:rPr lang="en-US" sz="1400" b="1">
                  <a:latin typeface="Aptos"/>
                  <a:cs typeface="Arial"/>
                </a:rPr>
                <a:t>138 hours of content research</a:t>
              </a:r>
            </a:p>
            <a:p>
              <a:pPr marL="571500" indent="-285750">
                <a:buFont typeface="Arial"/>
                <a:buChar char="•"/>
              </a:pPr>
              <a:r>
                <a:rPr lang="en-US" sz="1400" b="1">
                  <a:latin typeface="Aptos"/>
                  <a:cs typeface="Arial"/>
                </a:rPr>
                <a:t>157 hours of design work</a:t>
              </a:r>
            </a:p>
            <a:p>
              <a:pPr marL="571500" indent="-285750">
                <a:buFont typeface="Arial"/>
                <a:buChar char="•"/>
              </a:pPr>
              <a:r>
                <a:rPr lang="en-US" sz="1400" b="1">
                  <a:latin typeface="Aptos"/>
                  <a:cs typeface="Arial"/>
                </a:rPr>
                <a:t>56 hours of business review and decision making</a:t>
              </a:r>
            </a:p>
            <a:p>
              <a:pPr marL="571500" indent="-285750">
                <a:buFont typeface="Arial"/>
                <a:buChar char="•"/>
              </a:pPr>
              <a:r>
                <a:rPr lang="en-US" sz="1400" b="1">
                  <a:latin typeface="Aptos"/>
                  <a:cs typeface="Arial"/>
                </a:rPr>
                <a:t>70 hours on dev publishing</a:t>
              </a:r>
            </a:p>
            <a:p>
              <a:pPr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endParaRPr lang="en-US" sz="1400">
                <a:solidFill>
                  <a:srgbClr val="000000"/>
                </a:solidFill>
                <a:latin typeface="Aptos"/>
                <a:cs typeface="Arial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0DBD6666-F80A-91A9-BE40-6DE785126C68}"/>
                </a:ext>
              </a:extLst>
            </p:cNvPr>
            <p:cNvGrpSpPr/>
            <p:nvPr/>
          </p:nvGrpSpPr>
          <p:grpSpPr>
            <a:xfrm>
              <a:off x="206127" y="3803945"/>
              <a:ext cx="2160240" cy="114300"/>
              <a:chOff x="554736" y="3831072"/>
              <a:chExt cx="2160240" cy="114300"/>
            </a:xfrm>
          </p:grpSpPr>
          <p:cxnSp>
            <p:nvCxnSpPr>
              <p:cNvPr id="81" name="LineBasicStrong 19">
                <a:extLst>
                  <a:ext uri="{FF2B5EF4-FFF2-40B4-BE49-F238E27FC236}">
                    <a16:creationId xmlns:a16="http://schemas.microsoft.com/office/drawing/2014/main" id="{2F79CDA3-3FDD-EEC5-6440-5F095FA3FF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1886" y="3895151"/>
                <a:ext cx="2103090" cy="0"/>
              </a:xfrm>
              <a:prstGeom prst="straightConnector1">
                <a:avLst/>
              </a:prstGeom>
              <a:ln w="28575" cap="flat">
                <a:solidFill>
                  <a:srgbClr val="0A729B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16E48B86-CDC0-1279-B5BB-438343E3E04C}"/>
                  </a:ext>
                </a:extLst>
              </p:cNvPr>
              <p:cNvSpPr>
                <a:spLocks/>
              </p:cNvSpPr>
              <p:nvPr/>
            </p:nvSpPr>
            <p:spPr>
              <a:xfrm rot="16200000" flipH="1">
                <a:off x="554736" y="3831072"/>
                <a:ext cx="114300" cy="114300"/>
              </a:xfrm>
              <a:prstGeom prst="ellipse">
                <a:avLst/>
              </a:prstGeom>
              <a:solidFill>
                <a:srgbClr val="0A729B"/>
              </a:solidFill>
              <a:ln w="9525" cap="flat" cmpd="sng" algn="ctr">
                <a:solidFill>
                  <a:srgbClr val="0A729B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4439C10C-2516-D4A6-66EC-FB6EE20B406D}"/>
                </a:ext>
              </a:extLst>
            </p:cNvPr>
            <p:cNvGrpSpPr/>
            <p:nvPr/>
          </p:nvGrpSpPr>
          <p:grpSpPr>
            <a:xfrm>
              <a:off x="2470998" y="3813382"/>
              <a:ext cx="2160240" cy="114300"/>
              <a:chOff x="554736" y="3831072"/>
              <a:chExt cx="2160240" cy="114300"/>
            </a:xfrm>
          </p:grpSpPr>
          <p:cxnSp>
            <p:nvCxnSpPr>
              <p:cNvPr id="84" name="LineBasicStrong 19">
                <a:extLst>
                  <a:ext uri="{FF2B5EF4-FFF2-40B4-BE49-F238E27FC236}">
                    <a16:creationId xmlns:a16="http://schemas.microsoft.com/office/drawing/2014/main" id="{A022144D-E2AA-01C8-E7F9-E19584392F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1886" y="3895151"/>
                <a:ext cx="2103090" cy="0"/>
              </a:xfrm>
              <a:prstGeom prst="straightConnector1">
                <a:avLst/>
              </a:prstGeom>
              <a:ln w="28575" cap="flat">
                <a:solidFill>
                  <a:srgbClr val="166187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9858CD02-78D4-DAFD-0EC6-93B5367D8E59}"/>
                  </a:ext>
                </a:extLst>
              </p:cNvPr>
              <p:cNvSpPr>
                <a:spLocks/>
              </p:cNvSpPr>
              <p:nvPr/>
            </p:nvSpPr>
            <p:spPr>
              <a:xfrm rot="16200000" flipH="1">
                <a:off x="554736" y="3831072"/>
                <a:ext cx="114300" cy="114300"/>
              </a:xfrm>
              <a:prstGeom prst="ellipse">
                <a:avLst/>
              </a:prstGeom>
              <a:solidFill>
                <a:srgbClr val="166187"/>
              </a:solidFill>
              <a:ln w="9525" cap="flat" cmpd="sng" algn="ctr">
                <a:solidFill>
                  <a:srgbClr val="166187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F293CA40-F1B3-331B-0783-092DE2349979}"/>
                </a:ext>
              </a:extLst>
            </p:cNvPr>
            <p:cNvGrpSpPr/>
            <p:nvPr/>
          </p:nvGrpSpPr>
          <p:grpSpPr>
            <a:xfrm>
              <a:off x="4735869" y="3822563"/>
              <a:ext cx="2160240" cy="114300"/>
              <a:chOff x="554736" y="3831072"/>
              <a:chExt cx="2160240" cy="114300"/>
            </a:xfrm>
          </p:grpSpPr>
          <p:cxnSp>
            <p:nvCxnSpPr>
              <p:cNvPr id="87" name="LineBasicStrong 19">
                <a:extLst>
                  <a:ext uri="{FF2B5EF4-FFF2-40B4-BE49-F238E27FC236}">
                    <a16:creationId xmlns:a16="http://schemas.microsoft.com/office/drawing/2014/main" id="{8CCC7026-D59B-5DF7-7A77-3AEB8CFB2E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1886" y="3895151"/>
                <a:ext cx="2103090" cy="0"/>
              </a:xfrm>
              <a:prstGeom prst="straightConnector1">
                <a:avLst/>
              </a:prstGeom>
              <a:ln w="28575" cap="flat">
                <a:solidFill>
                  <a:srgbClr val="175676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40D1673F-4520-FA17-56C0-14F9923BEFBE}"/>
                  </a:ext>
                </a:extLst>
              </p:cNvPr>
              <p:cNvSpPr>
                <a:spLocks/>
              </p:cNvSpPr>
              <p:nvPr/>
            </p:nvSpPr>
            <p:spPr>
              <a:xfrm rot="16200000" flipH="1">
                <a:off x="554736" y="3831072"/>
                <a:ext cx="114300" cy="114300"/>
              </a:xfrm>
              <a:prstGeom prst="ellipse">
                <a:avLst/>
              </a:prstGeom>
              <a:solidFill>
                <a:srgbClr val="175676"/>
              </a:solidFill>
              <a:ln w="9525" cap="flat" cmpd="sng" algn="ctr">
                <a:solidFill>
                  <a:srgbClr val="175676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A69F4F54-FD72-9990-0553-0B5C18A3814C}"/>
                </a:ext>
              </a:extLst>
            </p:cNvPr>
            <p:cNvGrpSpPr/>
            <p:nvPr/>
          </p:nvGrpSpPr>
          <p:grpSpPr>
            <a:xfrm>
              <a:off x="9271033" y="3803945"/>
              <a:ext cx="2160240" cy="114300"/>
              <a:chOff x="554736" y="3831072"/>
              <a:chExt cx="2160240" cy="114300"/>
            </a:xfrm>
          </p:grpSpPr>
          <p:cxnSp>
            <p:nvCxnSpPr>
              <p:cNvPr id="90" name="LineBasicStrong 19">
                <a:extLst>
                  <a:ext uri="{FF2B5EF4-FFF2-40B4-BE49-F238E27FC236}">
                    <a16:creationId xmlns:a16="http://schemas.microsoft.com/office/drawing/2014/main" id="{C353EF48-427B-EBEE-0573-8E725451C6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1886" y="3895151"/>
                <a:ext cx="2103090" cy="0"/>
              </a:xfrm>
              <a:prstGeom prst="straightConnector1">
                <a:avLst/>
              </a:prstGeom>
              <a:ln w="28575" cap="flat">
                <a:solidFill>
                  <a:srgbClr val="0C2B3B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2769CFA0-F40D-59E3-6659-228E4AC24BDD}"/>
                  </a:ext>
                </a:extLst>
              </p:cNvPr>
              <p:cNvSpPr>
                <a:spLocks/>
              </p:cNvSpPr>
              <p:nvPr/>
            </p:nvSpPr>
            <p:spPr>
              <a:xfrm rot="16200000" flipH="1">
                <a:off x="554736" y="3831072"/>
                <a:ext cx="114300" cy="114300"/>
              </a:xfrm>
              <a:prstGeom prst="ellipse">
                <a:avLst/>
              </a:prstGeom>
              <a:solidFill>
                <a:srgbClr val="0C2B3B"/>
              </a:solidFill>
              <a:ln w="9525" cap="flat" cmpd="sng" algn="ctr">
                <a:solidFill>
                  <a:srgbClr val="0C2B3B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56C74A3-F820-555E-1DF9-EDD589202382}"/>
              </a:ext>
            </a:extLst>
          </p:cNvPr>
          <p:cNvGrpSpPr/>
          <p:nvPr/>
        </p:nvGrpSpPr>
        <p:grpSpPr>
          <a:xfrm>
            <a:off x="794190" y="1461401"/>
            <a:ext cx="10365307" cy="1617330"/>
            <a:chOff x="794190" y="1461401"/>
            <a:chExt cx="10365307" cy="1617330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9717E2B-E55D-8481-1CB9-601B521FD42F}"/>
                </a:ext>
              </a:extLst>
            </p:cNvPr>
            <p:cNvSpPr/>
            <p:nvPr/>
          </p:nvSpPr>
          <p:spPr>
            <a:xfrm flipH="1">
              <a:off x="8259511" y="1974542"/>
              <a:ext cx="2094905" cy="594420"/>
            </a:xfrm>
            <a:custGeom>
              <a:avLst/>
              <a:gdLst>
                <a:gd name="connsiteX0" fmla="*/ 0 w 1333690"/>
                <a:gd name="connsiteY0" fmla="*/ 228124 h 1182814"/>
                <a:gd name="connsiteX1" fmla="*/ 0 w 1333690"/>
                <a:gd name="connsiteY1" fmla="*/ 954691 h 1182814"/>
                <a:gd name="connsiteX2" fmla="*/ 1333690 w 1333690"/>
                <a:gd name="connsiteY2" fmla="*/ 1182814 h 1182814"/>
                <a:gd name="connsiteX3" fmla="*/ 1333690 w 1333690"/>
                <a:gd name="connsiteY3" fmla="*/ 0 h 1182814"/>
                <a:gd name="connsiteX4" fmla="*/ 0 w 1333690"/>
                <a:gd name="connsiteY4" fmla="*/ 228124 h 1182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690" h="1182814">
                  <a:moveTo>
                    <a:pt x="0" y="228124"/>
                  </a:moveTo>
                  <a:lnTo>
                    <a:pt x="0" y="954691"/>
                  </a:lnTo>
                  <a:lnTo>
                    <a:pt x="1333690" y="1182814"/>
                  </a:lnTo>
                  <a:lnTo>
                    <a:pt x="1333690" y="0"/>
                  </a:lnTo>
                  <a:lnTo>
                    <a:pt x="0" y="228124"/>
                  </a:lnTo>
                  <a:close/>
                </a:path>
              </a:pathLst>
            </a:custGeom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D208A51-207C-2B96-510A-208BEFDB8097}"/>
                </a:ext>
              </a:extLst>
            </p:cNvPr>
            <p:cNvSpPr/>
            <p:nvPr/>
          </p:nvSpPr>
          <p:spPr>
            <a:xfrm flipH="1">
              <a:off x="5927015" y="1801986"/>
              <a:ext cx="2398302" cy="929675"/>
            </a:xfrm>
            <a:custGeom>
              <a:avLst/>
              <a:gdLst>
                <a:gd name="connsiteX0" fmla="*/ 0 w 1333690"/>
                <a:gd name="connsiteY0" fmla="*/ 228124 h 1182814"/>
                <a:gd name="connsiteX1" fmla="*/ 0 w 1333690"/>
                <a:gd name="connsiteY1" fmla="*/ 954691 h 1182814"/>
                <a:gd name="connsiteX2" fmla="*/ 1333690 w 1333690"/>
                <a:gd name="connsiteY2" fmla="*/ 1182814 h 1182814"/>
                <a:gd name="connsiteX3" fmla="*/ 1333690 w 1333690"/>
                <a:gd name="connsiteY3" fmla="*/ 0 h 1182814"/>
                <a:gd name="connsiteX4" fmla="*/ 0 w 1333690"/>
                <a:gd name="connsiteY4" fmla="*/ 228124 h 1182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690" h="1182814">
                  <a:moveTo>
                    <a:pt x="0" y="228124"/>
                  </a:moveTo>
                  <a:lnTo>
                    <a:pt x="0" y="954691"/>
                  </a:lnTo>
                  <a:lnTo>
                    <a:pt x="1333690" y="1182814"/>
                  </a:lnTo>
                  <a:lnTo>
                    <a:pt x="1333690" y="0"/>
                  </a:lnTo>
                  <a:lnTo>
                    <a:pt x="0" y="228124"/>
                  </a:lnTo>
                  <a:close/>
                </a:path>
              </a:pathLst>
            </a:custGeom>
            <a:solidFill>
              <a:srgbClr val="1C5070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72EA44D-B805-C3FE-66EC-C6DD0EC5357D}"/>
                </a:ext>
              </a:extLst>
            </p:cNvPr>
            <p:cNvSpPr/>
            <p:nvPr/>
          </p:nvSpPr>
          <p:spPr>
            <a:xfrm flipH="1">
              <a:off x="1417544" y="1461891"/>
              <a:ext cx="2240856" cy="1616839"/>
            </a:xfrm>
            <a:custGeom>
              <a:avLst/>
              <a:gdLst>
                <a:gd name="connsiteX0" fmla="*/ 0 w 1333690"/>
                <a:gd name="connsiteY0" fmla="*/ 1867376 h 2095500"/>
                <a:gd name="connsiteX1" fmla="*/ 1333691 w 1333690"/>
                <a:gd name="connsiteY1" fmla="*/ 2095500 h 2095500"/>
                <a:gd name="connsiteX2" fmla="*/ 1333691 w 1333690"/>
                <a:gd name="connsiteY2" fmla="*/ 0 h 2095500"/>
                <a:gd name="connsiteX3" fmla="*/ 0 w 1333690"/>
                <a:gd name="connsiteY3" fmla="*/ 228124 h 2095500"/>
                <a:gd name="connsiteX4" fmla="*/ 0 w 1333690"/>
                <a:gd name="connsiteY4" fmla="*/ 1867376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690" h="2095500">
                  <a:moveTo>
                    <a:pt x="0" y="1867376"/>
                  </a:moveTo>
                  <a:lnTo>
                    <a:pt x="1333691" y="2095500"/>
                  </a:lnTo>
                  <a:lnTo>
                    <a:pt x="1333691" y="0"/>
                  </a:lnTo>
                  <a:lnTo>
                    <a:pt x="0" y="228124"/>
                  </a:lnTo>
                  <a:lnTo>
                    <a:pt x="0" y="1867376"/>
                  </a:lnTo>
                  <a:close/>
                </a:path>
              </a:pathLst>
            </a:custGeom>
            <a:solidFill>
              <a:srgbClr val="0A729B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B9B50D1-5701-9066-91A2-A896861429F1}"/>
                </a:ext>
              </a:extLst>
            </p:cNvPr>
            <p:cNvSpPr/>
            <p:nvPr/>
          </p:nvSpPr>
          <p:spPr>
            <a:xfrm flipH="1">
              <a:off x="3615999" y="1644334"/>
              <a:ext cx="2398302" cy="1261884"/>
            </a:xfrm>
            <a:custGeom>
              <a:avLst/>
              <a:gdLst>
                <a:gd name="connsiteX0" fmla="*/ 0 w 1333690"/>
                <a:gd name="connsiteY0" fmla="*/ 1411034 h 1639252"/>
                <a:gd name="connsiteX1" fmla="*/ 1333690 w 1333690"/>
                <a:gd name="connsiteY1" fmla="*/ 1639252 h 1639252"/>
                <a:gd name="connsiteX2" fmla="*/ 1333690 w 1333690"/>
                <a:gd name="connsiteY2" fmla="*/ 0 h 1639252"/>
                <a:gd name="connsiteX3" fmla="*/ 0 w 1333690"/>
                <a:gd name="connsiteY3" fmla="*/ 228219 h 1639252"/>
                <a:gd name="connsiteX4" fmla="*/ 0 w 1333690"/>
                <a:gd name="connsiteY4" fmla="*/ 1411034 h 1639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690" h="1639252">
                  <a:moveTo>
                    <a:pt x="0" y="1411034"/>
                  </a:moveTo>
                  <a:lnTo>
                    <a:pt x="1333690" y="1639252"/>
                  </a:lnTo>
                  <a:lnTo>
                    <a:pt x="1333690" y="0"/>
                  </a:lnTo>
                  <a:lnTo>
                    <a:pt x="0" y="228219"/>
                  </a:lnTo>
                  <a:lnTo>
                    <a:pt x="0" y="1411034"/>
                  </a:lnTo>
                  <a:close/>
                </a:path>
              </a:pathLst>
            </a:custGeom>
            <a:solidFill>
              <a:srgbClr val="166187">
                <a:alpha val="3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3343DF9-0048-932A-79E8-FEBD2A48F64E}"/>
                </a:ext>
              </a:extLst>
            </p:cNvPr>
            <p:cNvSpPr/>
            <p:nvPr/>
          </p:nvSpPr>
          <p:spPr>
            <a:xfrm flipH="1">
              <a:off x="5553283" y="1808048"/>
              <a:ext cx="837179" cy="947552"/>
            </a:xfrm>
            <a:custGeom>
              <a:avLst/>
              <a:gdLst>
                <a:gd name="connsiteX0" fmla="*/ 571500 w 571500"/>
                <a:gd name="connsiteY0" fmla="*/ 591407 h 1182814"/>
                <a:gd name="connsiteX1" fmla="*/ 285750 w 571500"/>
                <a:gd name="connsiteY1" fmla="*/ 1182814 h 1182814"/>
                <a:gd name="connsiteX2" fmla="*/ 0 w 571500"/>
                <a:gd name="connsiteY2" fmla="*/ 591407 h 1182814"/>
                <a:gd name="connsiteX3" fmla="*/ 285750 w 571500"/>
                <a:gd name="connsiteY3" fmla="*/ 0 h 1182814"/>
                <a:gd name="connsiteX4" fmla="*/ 571500 w 571500"/>
                <a:gd name="connsiteY4" fmla="*/ 591407 h 1182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0" h="1182814">
                  <a:moveTo>
                    <a:pt x="571500" y="591407"/>
                  </a:moveTo>
                  <a:cubicBezTo>
                    <a:pt x="571500" y="918019"/>
                    <a:pt x="443579" y="1182814"/>
                    <a:pt x="285750" y="1182814"/>
                  </a:cubicBezTo>
                  <a:cubicBezTo>
                    <a:pt x="127921" y="1182814"/>
                    <a:pt x="0" y="918019"/>
                    <a:pt x="0" y="591407"/>
                  </a:cubicBezTo>
                  <a:cubicBezTo>
                    <a:pt x="0" y="264795"/>
                    <a:pt x="127921" y="0"/>
                    <a:pt x="285750" y="0"/>
                  </a:cubicBezTo>
                  <a:cubicBezTo>
                    <a:pt x="443579" y="0"/>
                    <a:pt x="571500" y="264795"/>
                    <a:pt x="571500" y="591407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85F6F18-E492-C455-DD51-849C06B884C3}"/>
                </a:ext>
              </a:extLst>
            </p:cNvPr>
            <p:cNvSpPr/>
            <p:nvPr/>
          </p:nvSpPr>
          <p:spPr>
            <a:xfrm flipH="1">
              <a:off x="3192859" y="1627654"/>
              <a:ext cx="948946" cy="1284110"/>
            </a:xfrm>
            <a:custGeom>
              <a:avLst/>
              <a:gdLst>
                <a:gd name="connsiteX0" fmla="*/ 714375 w 714375"/>
                <a:gd name="connsiteY0" fmla="*/ 814578 h 1629155"/>
                <a:gd name="connsiteX1" fmla="*/ 357187 w 714375"/>
                <a:gd name="connsiteY1" fmla="*/ 1629156 h 1629155"/>
                <a:gd name="connsiteX2" fmla="*/ 0 w 714375"/>
                <a:gd name="connsiteY2" fmla="*/ 814578 h 1629155"/>
                <a:gd name="connsiteX3" fmla="*/ 357187 w 714375"/>
                <a:gd name="connsiteY3" fmla="*/ 0 h 1629155"/>
                <a:gd name="connsiteX4" fmla="*/ 714375 w 714375"/>
                <a:gd name="connsiteY4" fmla="*/ 814578 h 162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4375" h="1629155">
                  <a:moveTo>
                    <a:pt x="714375" y="814578"/>
                  </a:moveTo>
                  <a:cubicBezTo>
                    <a:pt x="714375" y="1264457"/>
                    <a:pt x="554457" y="1629156"/>
                    <a:pt x="357187" y="1629156"/>
                  </a:cubicBezTo>
                  <a:cubicBezTo>
                    <a:pt x="159918" y="1629156"/>
                    <a:pt x="0" y="1264457"/>
                    <a:pt x="0" y="814578"/>
                  </a:cubicBezTo>
                  <a:cubicBezTo>
                    <a:pt x="0" y="364699"/>
                    <a:pt x="159918" y="0"/>
                    <a:pt x="357187" y="0"/>
                  </a:cubicBezTo>
                  <a:cubicBezTo>
                    <a:pt x="554457" y="0"/>
                    <a:pt x="714375" y="364699"/>
                    <a:pt x="714375" y="814578"/>
                  </a:cubicBezTo>
                  <a:close/>
                </a:path>
              </a:pathLst>
            </a:custGeom>
            <a:solidFill>
              <a:srgbClr val="16618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F7B4815-465D-BCFD-ADCA-32CD99B1750C}"/>
                </a:ext>
              </a:extLst>
            </p:cNvPr>
            <p:cNvSpPr/>
            <p:nvPr/>
          </p:nvSpPr>
          <p:spPr>
            <a:xfrm flipH="1">
              <a:off x="806841" y="1461401"/>
              <a:ext cx="1151135" cy="1617330"/>
            </a:xfrm>
            <a:custGeom>
              <a:avLst/>
              <a:gdLst>
                <a:gd name="connsiteX0" fmla="*/ 857250 w 857250"/>
                <a:gd name="connsiteY0" fmla="*/ 1047750 h 2095500"/>
                <a:gd name="connsiteX1" fmla="*/ 428625 w 857250"/>
                <a:gd name="connsiteY1" fmla="*/ 2095500 h 2095500"/>
                <a:gd name="connsiteX2" fmla="*/ 0 w 857250"/>
                <a:gd name="connsiteY2" fmla="*/ 1047750 h 2095500"/>
                <a:gd name="connsiteX3" fmla="*/ 428625 w 857250"/>
                <a:gd name="connsiteY3" fmla="*/ 0 h 2095500"/>
                <a:gd name="connsiteX4" fmla="*/ 857250 w 857250"/>
                <a:gd name="connsiteY4" fmla="*/ 1047750 h 209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7250" h="2095500">
                  <a:moveTo>
                    <a:pt x="857250" y="1047750"/>
                  </a:moveTo>
                  <a:cubicBezTo>
                    <a:pt x="857250" y="1626406"/>
                    <a:pt x="665348" y="2095500"/>
                    <a:pt x="428625" y="2095500"/>
                  </a:cubicBezTo>
                  <a:cubicBezTo>
                    <a:pt x="191902" y="2095500"/>
                    <a:pt x="0" y="1626406"/>
                    <a:pt x="0" y="1047750"/>
                  </a:cubicBezTo>
                  <a:cubicBezTo>
                    <a:pt x="0" y="469094"/>
                    <a:pt x="191902" y="0"/>
                    <a:pt x="428625" y="0"/>
                  </a:cubicBezTo>
                  <a:cubicBezTo>
                    <a:pt x="665348" y="0"/>
                    <a:pt x="857250" y="469094"/>
                    <a:pt x="857250" y="1047750"/>
                  </a:cubicBezTo>
                  <a:close/>
                </a:path>
              </a:pathLst>
            </a:custGeom>
            <a:solidFill>
              <a:srgbClr val="0A729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122E7B0-7915-283B-8906-5EA0148D27F0}"/>
                </a:ext>
              </a:extLst>
            </p:cNvPr>
            <p:cNvSpPr txBox="1"/>
            <p:nvPr/>
          </p:nvSpPr>
          <p:spPr>
            <a:xfrm>
              <a:off x="794190" y="1975273"/>
              <a:ext cx="1151135" cy="52773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Arial" panose="020B0604020202020204" pitchFamily="34" charset="0"/>
                </a:rPr>
                <a:t>ZBD workshop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C4E2141-5B58-6C29-52CE-7BC25CAB315E}"/>
                </a:ext>
              </a:extLst>
            </p:cNvPr>
            <p:cNvSpPr txBox="1"/>
            <p:nvPr/>
          </p:nvSpPr>
          <p:spPr>
            <a:xfrm>
              <a:off x="3253121" y="2045414"/>
              <a:ext cx="1047792" cy="46176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Arial" panose="020B0604020202020204" pitchFamily="34" charset="0"/>
                </a:rPr>
                <a:t>Post-ZBD</a:t>
              </a:r>
              <a:b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Arial" panose="020B0604020202020204" pitchFamily="34" charset="0"/>
                </a:rPr>
                <a:t>synthesis</a:t>
              </a: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D162872-75C2-0E79-42AF-B6148DB52C32}"/>
                </a:ext>
              </a:extLst>
            </p:cNvPr>
            <p:cNvSpPr/>
            <p:nvPr/>
          </p:nvSpPr>
          <p:spPr>
            <a:xfrm flipH="1">
              <a:off x="7964116" y="1960653"/>
              <a:ext cx="547500" cy="632201"/>
            </a:xfrm>
            <a:custGeom>
              <a:avLst/>
              <a:gdLst>
                <a:gd name="connsiteX0" fmla="*/ 476250 w 476250"/>
                <a:gd name="connsiteY0" fmla="*/ 364046 h 728091"/>
                <a:gd name="connsiteX1" fmla="*/ 238125 w 476250"/>
                <a:gd name="connsiteY1" fmla="*/ 728091 h 728091"/>
                <a:gd name="connsiteX2" fmla="*/ 0 w 476250"/>
                <a:gd name="connsiteY2" fmla="*/ 364046 h 728091"/>
                <a:gd name="connsiteX3" fmla="*/ 238125 w 476250"/>
                <a:gd name="connsiteY3" fmla="*/ 0 h 728091"/>
                <a:gd name="connsiteX4" fmla="*/ 476250 w 476250"/>
                <a:gd name="connsiteY4" fmla="*/ 364046 h 728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0" h="728091">
                  <a:moveTo>
                    <a:pt x="476250" y="364046"/>
                  </a:moveTo>
                  <a:cubicBezTo>
                    <a:pt x="476250" y="565102"/>
                    <a:pt x="369638" y="728091"/>
                    <a:pt x="238125" y="728091"/>
                  </a:cubicBezTo>
                  <a:cubicBezTo>
                    <a:pt x="106612" y="728091"/>
                    <a:pt x="0" y="565102"/>
                    <a:pt x="0" y="364046"/>
                  </a:cubicBezTo>
                  <a:cubicBezTo>
                    <a:pt x="0" y="162989"/>
                    <a:pt x="106612" y="0"/>
                    <a:pt x="238125" y="0"/>
                  </a:cubicBezTo>
                  <a:cubicBezTo>
                    <a:pt x="369638" y="0"/>
                    <a:pt x="476250" y="162989"/>
                    <a:pt x="476250" y="364046"/>
                  </a:cubicBezTo>
                  <a:close/>
                </a:path>
              </a:pathLst>
            </a:custGeom>
            <a:solidFill>
              <a:srgbClr val="1E41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572327C-F67F-6A6A-2BDE-34A08761663F}"/>
                </a:ext>
              </a:extLst>
            </p:cNvPr>
            <p:cNvSpPr txBox="1"/>
            <p:nvPr/>
          </p:nvSpPr>
          <p:spPr>
            <a:xfrm>
              <a:off x="7667387" y="2032921"/>
              <a:ext cx="1129245" cy="461763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Arial" panose="020B0604020202020204" pitchFamily="34" charset="0"/>
                </a:rPr>
                <a:t>MVP</a:t>
              </a:r>
              <a:b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57AFC7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Arial" panose="020B0604020202020204" pitchFamily="34" charset="0"/>
                </a:rPr>
                <a:t>Workshop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CFA8EAE-8298-BE65-ED08-2925EAE749CC}"/>
                </a:ext>
              </a:extLst>
            </p:cNvPr>
            <p:cNvSpPr txBox="1"/>
            <p:nvPr/>
          </p:nvSpPr>
          <p:spPr>
            <a:xfrm>
              <a:off x="5479031" y="1938947"/>
              <a:ext cx="967838" cy="646331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North</a:t>
              </a:r>
              <a:b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</a:b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 panose="020B0004020202020204" pitchFamily="34" charset="0"/>
                  <a:ea typeface="+mn-ea"/>
                  <a:cs typeface="+mn-cs"/>
                </a:rPr>
                <a:t>Star</a:t>
              </a: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6CAA4CD-CA96-1916-CA9C-F56A7323BE16}"/>
                </a:ext>
              </a:extLst>
            </p:cNvPr>
            <p:cNvSpPr/>
            <p:nvPr/>
          </p:nvSpPr>
          <p:spPr>
            <a:xfrm flipH="1">
              <a:off x="10069401" y="1910148"/>
              <a:ext cx="727561" cy="723210"/>
            </a:xfrm>
            <a:custGeom>
              <a:avLst/>
              <a:gdLst>
                <a:gd name="connsiteX0" fmla="*/ 571500 w 571500"/>
                <a:gd name="connsiteY0" fmla="*/ 591407 h 1182814"/>
                <a:gd name="connsiteX1" fmla="*/ 285750 w 571500"/>
                <a:gd name="connsiteY1" fmla="*/ 1182814 h 1182814"/>
                <a:gd name="connsiteX2" fmla="*/ 0 w 571500"/>
                <a:gd name="connsiteY2" fmla="*/ 591407 h 1182814"/>
                <a:gd name="connsiteX3" fmla="*/ 285750 w 571500"/>
                <a:gd name="connsiteY3" fmla="*/ 0 h 1182814"/>
                <a:gd name="connsiteX4" fmla="*/ 571500 w 571500"/>
                <a:gd name="connsiteY4" fmla="*/ 591407 h 1182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0" h="1182814">
                  <a:moveTo>
                    <a:pt x="571500" y="591407"/>
                  </a:moveTo>
                  <a:cubicBezTo>
                    <a:pt x="571500" y="918019"/>
                    <a:pt x="443579" y="1182814"/>
                    <a:pt x="285750" y="1182814"/>
                  </a:cubicBezTo>
                  <a:cubicBezTo>
                    <a:pt x="127921" y="1182814"/>
                    <a:pt x="0" y="918019"/>
                    <a:pt x="0" y="591407"/>
                  </a:cubicBezTo>
                  <a:cubicBezTo>
                    <a:pt x="0" y="264795"/>
                    <a:pt x="127921" y="0"/>
                    <a:pt x="285750" y="0"/>
                  </a:cubicBezTo>
                  <a:cubicBezTo>
                    <a:pt x="443579" y="0"/>
                    <a:pt x="571500" y="264795"/>
                    <a:pt x="571500" y="591407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CF1AB81-9F31-66D2-A47A-9AEE43C4BDCF}"/>
                </a:ext>
              </a:extLst>
            </p:cNvPr>
            <p:cNvSpPr txBox="1"/>
            <p:nvPr/>
          </p:nvSpPr>
          <p:spPr>
            <a:xfrm>
              <a:off x="9704890" y="2051949"/>
              <a:ext cx="1454607" cy="43088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tos"/>
                  <a:cs typeface="Arial"/>
                </a:rPr>
                <a:t>MVP</a:t>
              </a:r>
              <a:br>
                <a:rPr lang="en-US" sz="1400" b="1" i="1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ptos" panose="020B0004020202020204" pitchFamily="34" charset="0"/>
                  <a:cs typeface="Arial" panose="020B0604020202020204" pitchFamily="34" charset="0"/>
                </a:rPr>
              </a:br>
              <a:r>
                <a:rPr lang="en-US" sz="1400" b="1" i="1">
                  <a:solidFill>
                    <a:srgbClr val="FFFFFF"/>
                  </a:solidFill>
                  <a:latin typeface="Aptos"/>
                  <a:cs typeface="Arial"/>
                </a:rPr>
                <a:t>Delivery</a:t>
              </a:r>
              <a:endParaRPr lang="en-US" sz="14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04176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21">
            <a:extLst>
              <a:ext uri="{FF2B5EF4-FFF2-40B4-BE49-F238E27FC236}">
                <a16:creationId xmlns:a16="http://schemas.microsoft.com/office/drawing/2014/main" id="{D7B70A0D-6C25-8FD4-EAE0-2600F3EBD9C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1" y="4440733"/>
            <a:ext cx="12011025" cy="2417268"/>
          </a:xfrm>
          <a:custGeom>
            <a:avLst/>
            <a:gdLst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  <a:gd name="connsiteX0" fmla="*/ 0 w 12017830"/>
              <a:gd name="connsiteY0" fmla="*/ 0 h 3108062"/>
              <a:gd name="connsiteX1" fmla="*/ 12017830 w 12017830"/>
              <a:gd name="connsiteY1" fmla="*/ 0 h 3108062"/>
              <a:gd name="connsiteX2" fmla="*/ 12017830 w 12017830"/>
              <a:gd name="connsiteY2" fmla="*/ 3108062 h 3108062"/>
              <a:gd name="connsiteX3" fmla="*/ 0 w 12017830"/>
              <a:gd name="connsiteY3" fmla="*/ 3108062 h 3108062"/>
              <a:gd name="connsiteX4" fmla="*/ 0 w 12017830"/>
              <a:gd name="connsiteY4" fmla="*/ 0 h 310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17830" h="3108062">
                <a:moveTo>
                  <a:pt x="0" y="0"/>
                </a:moveTo>
                <a:cubicBezTo>
                  <a:pt x="2409269" y="4057803"/>
                  <a:pt x="8011887" y="0"/>
                  <a:pt x="12017830" y="0"/>
                </a:cubicBezTo>
                <a:lnTo>
                  <a:pt x="12017830" y="3108062"/>
                </a:lnTo>
                <a:lnTo>
                  <a:pt x="0" y="310806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C6B7DB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79" name="Picture 78" descr="A grey spiral with a white circle&#10;&#10;Description automatically generated">
            <a:extLst>
              <a:ext uri="{FF2B5EF4-FFF2-40B4-BE49-F238E27FC236}">
                <a16:creationId xmlns:a16="http://schemas.microsoft.com/office/drawing/2014/main" id="{990EF024-6E98-AB2E-B87C-8F1DCA0CDC7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259" b="90000" l="10000" r="90000">
                        <a14:foregroundMark x1="41302" y1="9259" x2="48802" y2="97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649" t="7158" r="27892" b="8805"/>
          <a:stretch/>
        </p:blipFill>
        <p:spPr>
          <a:xfrm>
            <a:off x="4348788" y="1572796"/>
            <a:ext cx="4645916" cy="4440236"/>
          </a:xfrm>
          <a:prstGeom prst="rect">
            <a:avLst/>
          </a:prstGeom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BC6013ED-4DE4-76F1-9F74-CA0D6D966F4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2009120" y="0"/>
            <a:ext cx="182880" cy="6858000"/>
          </a:xfrm>
          <a:prstGeom prst="rect">
            <a:avLst/>
          </a:prstGeom>
          <a:solidFill>
            <a:srgbClr val="614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B7C524A7-E517-749D-B2B9-E1E582F7F186}"/>
              </a:ext>
            </a:extLst>
          </p:cNvPr>
          <p:cNvSpPr txBox="1">
            <a:spLocks/>
          </p:cNvSpPr>
          <p:nvPr/>
        </p:nvSpPr>
        <p:spPr>
          <a:xfrm>
            <a:off x="11061542" y="6356350"/>
            <a:ext cx="431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AC3F618-7EE1-0849-8880-CB07A5842168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algn="r">
                <a:defRPr/>
              </a:pPr>
              <a:t>9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42608AC-1738-12F1-1B0B-7727947BB379}"/>
              </a:ext>
            </a:extLst>
          </p:cNvPr>
          <p:cNvSpPr txBox="1">
            <a:spLocks/>
          </p:cNvSpPr>
          <p:nvPr/>
        </p:nvSpPr>
        <p:spPr>
          <a:xfrm>
            <a:off x="477680" y="402406"/>
            <a:ext cx="10467590" cy="50736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accent1"/>
                </a:solidFill>
                <a:latin typeface="Aptos" panose="020B0004020202020204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/>
              <a:t>Canada.ca sites with "death" related information</a:t>
            </a:r>
          </a:p>
        </p:txBody>
      </p:sp>
      <p:sp>
        <p:nvSpPr>
          <p:cNvPr id="3" name="Subtitle 1">
            <a:extLst>
              <a:ext uri="{FF2B5EF4-FFF2-40B4-BE49-F238E27FC236}">
                <a16:creationId xmlns:a16="http://schemas.microsoft.com/office/drawing/2014/main" id="{1ED1D15A-F12D-C0B3-609A-9EB744462754}"/>
              </a:ext>
            </a:extLst>
          </p:cNvPr>
          <p:cNvSpPr txBox="1">
            <a:spLocks/>
          </p:cNvSpPr>
          <p:nvPr/>
        </p:nvSpPr>
        <p:spPr>
          <a:xfrm>
            <a:off x="508823" y="1073298"/>
            <a:ext cx="2625275" cy="2880360"/>
          </a:xfrm>
          <a:prstGeom prst="roundRect">
            <a:avLst/>
          </a:prstGeom>
          <a:solidFill>
            <a:srgbClr val="E6D5F3"/>
          </a:solidFill>
          <a:ln w="28575">
            <a:solidFill>
              <a:srgbClr val="61458C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Segoe UI" panose="020B0502040204020203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Segoe UI" panose="020B0502040204020203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Segoe UI" panose="020B0502040204020203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egoe UI" panose="020B0502040204020203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Segoe UI" panose="020B0502040204020203" pitchFamily="34" charset="0"/>
                <a:ea typeface="Segoe UI Historic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en-US" sz="1400">
                <a:latin typeface="Aptos"/>
                <a:cs typeface="Arial"/>
              </a:rPr>
              <a:t>Currently 600+ links on Canada.ca related to "death" spanning across several different programs and departments </a:t>
            </a:r>
          </a:p>
          <a:p>
            <a:pPr marL="285750" indent="-285750">
              <a:buFont typeface="Arial,Sans-Serif"/>
              <a:buChar char="•"/>
            </a:pPr>
            <a:r>
              <a:rPr lang="en-US" sz="1400">
                <a:latin typeface="Aptos"/>
                <a:cs typeface="Arial"/>
              </a:rPr>
              <a:t>SMEs representing each area reviewed and identified the key sites that the MVP should reference</a:t>
            </a:r>
          </a:p>
          <a:p>
            <a:pPr marL="285750" indent="-285750">
              <a:buFont typeface="Arial,Sans-Serif"/>
              <a:buChar char="•"/>
            </a:pPr>
            <a:r>
              <a:rPr lang="en-US" sz="1400">
                <a:latin typeface="Aptos"/>
                <a:cs typeface="Arial"/>
              </a:rPr>
              <a:t>MVP will reduce the 600+ links down to 91 key links </a:t>
            </a:r>
            <a:endParaRPr lang="en-US" sz="1400" strike="sngStrike">
              <a:solidFill>
                <a:srgbClr val="FF0000"/>
              </a:solidFill>
              <a:latin typeface="Aptos"/>
              <a:cs typeface="Arial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1CFAE3D-D1EF-879B-F9C7-3B002A806907}"/>
              </a:ext>
            </a:extLst>
          </p:cNvPr>
          <p:cNvSpPr/>
          <p:nvPr/>
        </p:nvSpPr>
        <p:spPr>
          <a:xfrm>
            <a:off x="7766861" y="5288717"/>
            <a:ext cx="1061508" cy="1061508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Benefits Finder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AB62262-2A2B-CB3F-DCE4-854FF649F175}"/>
              </a:ext>
            </a:extLst>
          </p:cNvPr>
          <p:cNvSpPr/>
          <p:nvPr/>
        </p:nvSpPr>
        <p:spPr>
          <a:xfrm>
            <a:off x="2905203" y="4766816"/>
            <a:ext cx="882551" cy="882551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CPP-D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10D89AC-5EBB-4D21-578B-67CB6AC6F396}"/>
              </a:ext>
            </a:extLst>
          </p:cNvPr>
          <p:cNvSpPr/>
          <p:nvPr/>
        </p:nvSpPr>
        <p:spPr>
          <a:xfrm>
            <a:off x="6131411" y="4507041"/>
            <a:ext cx="802556" cy="80255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Taxes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9A6B252-449D-367B-0E98-AE6182111E77}"/>
              </a:ext>
            </a:extLst>
          </p:cNvPr>
          <p:cNvSpPr/>
          <p:nvPr/>
        </p:nvSpPr>
        <p:spPr>
          <a:xfrm>
            <a:off x="3905388" y="3065401"/>
            <a:ext cx="688875" cy="68887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SIN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F34E883-31E7-2750-3CD4-47160B2EA00B}"/>
              </a:ext>
            </a:extLst>
          </p:cNvPr>
          <p:cNvSpPr/>
          <p:nvPr/>
        </p:nvSpPr>
        <p:spPr>
          <a:xfrm>
            <a:off x="5174293" y="2443138"/>
            <a:ext cx="679351" cy="679351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CPP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C5F4CA64-DA5E-1662-E996-9DB5F136DCD8}"/>
              </a:ext>
            </a:extLst>
          </p:cNvPr>
          <p:cNvSpPr/>
          <p:nvPr/>
        </p:nvSpPr>
        <p:spPr>
          <a:xfrm>
            <a:off x="7417953" y="1169085"/>
            <a:ext cx="609326" cy="60932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GIS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FCD3347-3B6A-355A-72D8-82A9C4A48A49}"/>
              </a:ext>
            </a:extLst>
          </p:cNvPr>
          <p:cNvSpPr/>
          <p:nvPr/>
        </p:nvSpPr>
        <p:spPr>
          <a:xfrm>
            <a:off x="3464357" y="1181578"/>
            <a:ext cx="1193666" cy="119366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Disability Benefits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FEAF691-B978-A178-5590-D4BDC4736D43}"/>
              </a:ext>
            </a:extLst>
          </p:cNvPr>
          <p:cNvSpPr/>
          <p:nvPr/>
        </p:nvSpPr>
        <p:spPr>
          <a:xfrm>
            <a:off x="10729616" y="3684176"/>
            <a:ext cx="1061508" cy="1061508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EI Regular Benefits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57620DA3-CCAD-AC4C-AE35-5B2EFF1E26FA}"/>
              </a:ext>
            </a:extLst>
          </p:cNvPr>
          <p:cNvSpPr/>
          <p:nvPr/>
        </p:nvSpPr>
        <p:spPr>
          <a:xfrm>
            <a:off x="6037394" y="1222113"/>
            <a:ext cx="1193665" cy="119366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Benefits by Audience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47EF35B7-FCFF-99BB-4EE3-BFA417F41859}"/>
              </a:ext>
            </a:extLst>
          </p:cNvPr>
          <p:cNvSpPr/>
          <p:nvPr/>
        </p:nvSpPr>
        <p:spPr>
          <a:xfrm>
            <a:off x="8116543" y="3525236"/>
            <a:ext cx="817864" cy="817864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Youth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B6F9D5C-7C12-F111-7E72-4599CCD24942}"/>
              </a:ext>
            </a:extLst>
          </p:cNvPr>
          <p:cNvSpPr/>
          <p:nvPr/>
        </p:nvSpPr>
        <p:spPr>
          <a:xfrm>
            <a:off x="8996956" y="2907453"/>
            <a:ext cx="1061508" cy="1061508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Money and Finance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5284C172-059E-FC4E-28EC-41CE3DC5531B}"/>
              </a:ext>
            </a:extLst>
          </p:cNvPr>
          <p:cNvSpPr/>
          <p:nvPr/>
        </p:nvSpPr>
        <p:spPr>
          <a:xfrm>
            <a:off x="425756" y="4318241"/>
            <a:ext cx="1181361" cy="1181361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Funding Programs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CA8AAABE-CB0B-D959-3E59-B78B7C66A627}"/>
              </a:ext>
            </a:extLst>
          </p:cNvPr>
          <p:cNvSpPr/>
          <p:nvPr/>
        </p:nvSpPr>
        <p:spPr>
          <a:xfrm>
            <a:off x="8269676" y="1022565"/>
            <a:ext cx="1123691" cy="112369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Veterans and Military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410ACC6-7847-B7D7-D8EB-005F00F89AF9}"/>
              </a:ext>
            </a:extLst>
          </p:cNvPr>
          <p:cNvSpPr/>
          <p:nvPr/>
        </p:nvSpPr>
        <p:spPr>
          <a:xfrm>
            <a:off x="7959791" y="2233067"/>
            <a:ext cx="1061508" cy="106150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Travel and Tourism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85A11B58-F590-ABB0-11D1-EC6B4F4283D4}"/>
              </a:ext>
            </a:extLst>
          </p:cNvPr>
          <p:cNvSpPr/>
          <p:nvPr/>
        </p:nvSpPr>
        <p:spPr>
          <a:xfrm>
            <a:off x="9464090" y="1572796"/>
            <a:ext cx="1061508" cy="1061508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CPP &amp; OAS after Death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3D60594-02FF-2C75-493E-74DD902BDB5B}"/>
              </a:ext>
            </a:extLst>
          </p:cNvPr>
          <p:cNvSpPr/>
          <p:nvPr/>
        </p:nvSpPr>
        <p:spPr>
          <a:xfrm>
            <a:off x="8906237" y="5349557"/>
            <a:ext cx="1290917" cy="1290917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Family &amp; Caregiving Benefits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1C45AE54-9367-7149-3056-75223BBAA340}"/>
              </a:ext>
            </a:extLst>
          </p:cNvPr>
          <p:cNvSpPr/>
          <p:nvPr/>
        </p:nvSpPr>
        <p:spPr>
          <a:xfrm>
            <a:off x="10048870" y="263064"/>
            <a:ext cx="1361492" cy="136149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Indigenous Peoples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2919FC19-0EC3-1792-AEFD-89504FCAB208}"/>
              </a:ext>
            </a:extLst>
          </p:cNvPr>
          <p:cNvSpPr/>
          <p:nvPr/>
        </p:nvSpPr>
        <p:spPr>
          <a:xfrm>
            <a:off x="4762930" y="5243175"/>
            <a:ext cx="1241629" cy="124162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National Security &amp; Defense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0BE2694-F1F9-B631-FADA-C466A1A5A851}"/>
              </a:ext>
            </a:extLst>
          </p:cNvPr>
          <p:cNvSpPr/>
          <p:nvPr/>
        </p:nvSpPr>
        <p:spPr>
          <a:xfrm>
            <a:off x="4168366" y="3693488"/>
            <a:ext cx="1520829" cy="152082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Policing Justice, and Emergencies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33B52EE4-D73C-E5E6-E976-2DEA9E35162C}"/>
              </a:ext>
            </a:extLst>
          </p:cNvPr>
          <p:cNvSpPr/>
          <p:nvPr/>
        </p:nvSpPr>
        <p:spPr>
          <a:xfrm>
            <a:off x="4854413" y="1222113"/>
            <a:ext cx="909108" cy="90910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MSCA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C85610AA-B24C-41FB-09E5-D3C34F7E3075}"/>
              </a:ext>
            </a:extLst>
          </p:cNvPr>
          <p:cNvSpPr/>
          <p:nvPr/>
        </p:nvSpPr>
        <p:spPr>
          <a:xfrm>
            <a:off x="1265322" y="5317944"/>
            <a:ext cx="1344365" cy="1344365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Retirement Planning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6599C7D4-DFCB-E4EE-8E30-161B64F6A84E}"/>
              </a:ext>
            </a:extLst>
          </p:cNvPr>
          <p:cNvSpPr/>
          <p:nvPr/>
        </p:nvSpPr>
        <p:spPr>
          <a:xfrm>
            <a:off x="10157426" y="2681097"/>
            <a:ext cx="1008046" cy="100804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Student Aid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9AFE3ADE-D8BD-9DB5-83C3-04791BFFE7F9}"/>
              </a:ext>
            </a:extLst>
          </p:cNvPr>
          <p:cNvSpPr/>
          <p:nvPr/>
        </p:nvSpPr>
        <p:spPr>
          <a:xfrm>
            <a:off x="10294432" y="4843317"/>
            <a:ext cx="1325371" cy="132537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Allowance for the Survivor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E8FDC38D-F908-EF46-9EDC-344C1B122814}"/>
              </a:ext>
            </a:extLst>
          </p:cNvPr>
          <p:cNvSpPr/>
          <p:nvPr/>
        </p:nvSpPr>
        <p:spPr>
          <a:xfrm>
            <a:off x="3052252" y="3649950"/>
            <a:ext cx="1061508" cy="106150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Canada and the World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99725FF-A99F-BAE0-EAC6-67A93E8A8A00}"/>
              </a:ext>
            </a:extLst>
          </p:cNvPr>
          <p:cNvSpPr/>
          <p:nvPr/>
        </p:nvSpPr>
        <p:spPr>
          <a:xfrm>
            <a:off x="10831944" y="1650539"/>
            <a:ext cx="1061508" cy="106150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Housing Benefits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8C91A73-8767-C0F2-DE09-DC8805610D14}"/>
              </a:ext>
            </a:extLst>
          </p:cNvPr>
          <p:cNvSpPr/>
          <p:nvPr/>
        </p:nvSpPr>
        <p:spPr>
          <a:xfrm>
            <a:off x="1770153" y="4172949"/>
            <a:ext cx="1083749" cy="108374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Survivor Pension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7845472A-AB4C-501A-7F9D-FC1676CA0A75}"/>
              </a:ext>
            </a:extLst>
          </p:cNvPr>
          <p:cNvSpPr/>
          <p:nvPr/>
        </p:nvSpPr>
        <p:spPr>
          <a:xfrm>
            <a:off x="6329979" y="5404496"/>
            <a:ext cx="1207976" cy="120797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Notify the Federal Gov’t of a Death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2428915C-F8D9-5E7B-69E1-8CDA2DA87ED2}"/>
              </a:ext>
            </a:extLst>
          </p:cNvPr>
          <p:cNvSpPr/>
          <p:nvPr/>
        </p:nvSpPr>
        <p:spPr>
          <a:xfrm>
            <a:off x="9152403" y="4128505"/>
            <a:ext cx="1061508" cy="106150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Parents of Young Victims of Crime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8ECE1C9-312F-9437-BCA0-F7A74176DB53}"/>
              </a:ext>
            </a:extLst>
          </p:cNvPr>
          <p:cNvSpPr/>
          <p:nvPr/>
        </p:nvSpPr>
        <p:spPr>
          <a:xfrm>
            <a:off x="3464357" y="5679267"/>
            <a:ext cx="1021764" cy="1021764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Training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578DC41F-8255-4F53-06CB-B6F24342877E}"/>
              </a:ext>
            </a:extLst>
          </p:cNvPr>
          <p:cNvSpPr/>
          <p:nvPr/>
        </p:nvSpPr>
        <p:spPr>
          <a:xfrm>
            <a:off x="3316591" y="2489192"/>
            <a:ext cx="688875" cy="688875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OAS</a:t>
            </a:r>
          </a:p>
        </p:txBody>
      </p:sp>
    </p:spTree>
    <p:extLst>
      <p:ext uri="{BB962C8B-B14F-4D97-AF65-F5344CB8AC3E}">
        <p14:creationId xmlns:p14="http://schemas.microsoft.com/office/powerpoint/2010/main" val="36588059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L_1QKHqxsVJiXDfS5eh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"/>
  <p:tag name="2LEVEL" val="1"/>
  <p:tag name="3LEVEL" val="0.5"/>
  <p:tag name="4LEVEL" val="0.25"/>
  <p:tag name="5LEVEL" val="0.12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"/>
  <p:tag name="2LEVEL" val="1"/>
  <p:tag name="3LEVEL" val="0.5"/>
  <p:tag name="4LEVEL" val="0.25"/>
  <p:tag name="5LEVEL" val="0.1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"/>
  <p:tag name="2LEVEL" val="1"/>
  <p:tag name="3LEVEL" val="0.5"/>
  <p:tag name="4LEVEL" val="0.25"/>
  <p:tag name="5LEVEL" val="0.1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soNTllUMS5f2s4UbNs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A5676"/>
      </a:accent1>
      <a:accent2>
        <a:srgbClr val="57AFC7"/>
      </a:accent2>
      <a:accent3>
        <a:srgbClr val="F9A620"/>
      </a:accent3>
      <a:accent4>
        <a:srgbClr val="9DC3E6"/>
      </a:accent4>
      <a:accent5>
        <a:srgbClr val="975DA5"/>
      </a:accent5>
      <a:accent6>
        <a:srgbClr val="E67966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A5676"/>
        </a:accent1>
        <a:accent2>
          <a:srgbClr val="57AFC7"/>
        </a:accent2>
        <a:accent3>
          <a:srgbClr val="F9A620"/>
        </a:accent3>
        <a:accent4>
          <a:srgbClr val="9DC3E6"/>
        </a:accent4>
        <a:accent5>
          <a:srgbClr val="975DA5"/>
        </a:accent5>
        <a:accent6>
          <a:srgbClr val="E67966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7">
      <a:srgbClr val="828F2D"/>
    </a:custClr>
  </a:custClrLst>
  <a:extLst>
    <a:ext uri="{05A4C25C-085E-4340-85A3-A5531E510DB2}">
      <thm15:themeFamily xmlns:thm15="http://schemas.microsoft.com/office/thememl/2012/main" name="TO3441_OFF_V2.potx" id="{B34C02AB-36AD-4176-8118-7AA838573A13}" vid="{56933979-6A04-4078-B757-F0ED56AEA7EF}"/>
    </a:ext>
  </a:extLst>
</a:theme>
</file>

<file path=ppt/theme/theme2.xml><?xml version="1.0" encoding="utf-8"?>
<a:theme xmlns:a="http://schemas.openxmlformats.org/drawingml/2006/main" name="3_Office Theme">
  <a:themeElements>
    <a:clrScheme name="TMB primary and secondary colou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75676"/>
      </a:accent1>
      <a:accent2>
        <a:srgbClr val="975DA5"/>
      </a:accent2>
      <a:accent3>
        <a:srgbClr val="57AFC7"/>
      </a:accent3>
      <a:accent4>
        <a:srgbClr val="F9A620"/>
      </a:accent4>
      <a:accent5>
        <a:srgbClr val="828F2C"/>
      </a:accent5>
      <a:accent6>
        <a:srgbClr val="F64C3C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MB_PPTTemplate_EN-2022" id="{CEBEDBE8-D29B-47C2-B10D-AEBFB7E7E44D}" vid="{45EF9279-D8D9-4871-8A92-A4A2A2E1805B}"/>
    </a:ext>
  </a:extLst>
</a:theme>
</file>

<file path=ppt/theme/theme3.xml><?xml version="1.0" encoding="utf-8"?>
<a:theme xmlns:a="http://schemas.openxmlformats.org/drawingml/2006/main" name="TMD Core Business branding">
  <a:themeElements>
    <a:clrScheme name="TMB primary and secondary colou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75676"/>
      </a:accent1>
      <a:accent2>
        <a:srgbClr val="975DA5"/>
      </a:accent2>
      <a:accent3>
        <a:srgbClr val="57AFC7"/>
      </a:accent3>
      <a:accent4>
        <a:srgbClr val="F9A620"/>
      </a:accent4>
      <a:accent5>
        <a:srgbClr val="828F2C"/>
      </a:accent5>
      <a:accent6>
        <a:srgbClr val="F64C3C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MB_PPTTemplate_EN-2022" id="{CEBEDBE8-D29B-47C2-B10D-AEBFB7E7E44D}" vid="{45EF9279-D8D9-4871-8A92-A4A2A2E1805B}"/>
    </a:ext>
  </a:extLst>
</a:theme>
</file>

<file path=ppt/theme/theme4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A5676"/>
      </a:accent1>
      <a:accent2>
        <a:srgbClr val="57AFC7"/>
      </a:accent2>
      <a:accent3>
        <a:srgbClr val="F9A620"/>
      </a:accent3>
      <a:accent4>
        <a:srgbClr val="9DC3E6"/>
      </a:accent4>
      <a:accent5>
        <a:srgbClr val="975DA5"/>
      </a:accent5>
      <a:accent6>
        <a:srgbClr val="E67966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A5676"/>
        </a:accent1>
        <a:accent2>
          <a:srgbClr val="57AFC7"/>
        </a:accent2>
        <a:accent3>
          <a:srgbClr val="F9A620"/>
        </a:accent3>
        <a:accent4>
          <a:srgbClr val="9DC3E6"/>
        </a:accent4>
        <a:accent5>
          <a:srgbClr val="975DA5"/>
        </a:accent5>
        <a:accent6>
          <a:srgbClr val="E67966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7">
      <a:srgbClr val="828F2D"/>
    </a:custClr>
  </a:custClrLst>
  <a:extLst>
    <a:ext uri="{05A4C25C-085E-4340-85A3-A5531E510DB2}">
      <thm15:themeFamily xmlns:thm15="http://schemas.microsoft.com/office/thememl/2012/main" name="TO3441_OFF_V2.potx" id="{F79771FD-761D-4C0E-8BA1-12093DAD3AD4}" vid="{629466B7-242C-4B1D-8F15-8D28F43406D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22246662B3EE409CFC70FE321D8072" ma:contentTypeVersion="49" ma:contentTypeDescription="Create a new document." ma:contentTypeScope="" ma:versionID="e7bb54e77e32f3c33d9315ca413961b1">
  <xsd:schema xmlns:xsd="http://www.w3.org/2001/XMLSchema" xmlns:xs="http://www.w3.org/2001/XMLSchema" xmlns:p="http://schemas.microsoft.com/office/2006/metadata/properties" xmlns:ns1="http://schemas.microsoft.com/sharepoint/v3" xmlns:ns2="52bbdc28-f7ba-407a-a4f2-aac6b09ccf53" xmlns:ns3="76100203-8435-4fe4-95fa-31e1ff25e501" xmlns:ns4="f76aaf80-9812-406c-9dd3-ccb851cf3a75" targetNamespace="http://schemas.microsoft.com/office/2006/metadata/properties" ma:root="true" ma:fieldsID="ec9d943cea2b666febbe97161eb53dd4" ns1:_="" ns2:_="" ns3:_="" ns4:_="">
    <xsd:import namespace="http://schemas.microsoft.com/sharepoint/v3"/>
    <xsd:import namespace="52bbdc28-f7ba-407a-a4f2-aac6b09ccf53"/>
    <xsd:import namespace="76100203-8435-4fe4-95fa-31e1ff25e501"/>
    <xsd:import namespace="f76aaf80-9812-406c-9dd3-ccb851cf3a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RequestDescription" minOccurs="0"/>
                <xsd:element ref="ns2:RequestedBy" minOccurs="0"/>
                <xsd:element ref="ns3:SharedWithUsers" minOccurs="0"/>
                <xsd:element ref="ns3:SharedWithDetails" minOccurs="0"/>
                <xsd:element ref="ns2:Strategic_x0020_Initiative_x0020__x0028_Category_x0029_" minOccurs="0"/>
                <xsd:element ref="ns2:Strategic_x0020_Initiative_x0020__x002d__x0020_Category" minOccurs="0"/>
                <xsd:element ref="ns2:lcf76f155ced4ddcb4097134ff3c332f" minOccurs="0"/>
                <xsd:element ref="ns4:TaxCatchAll" minOccurs="0"/>
                <xsd:element ref="ns2:MediaServiceLocation" minOccurs="0"/>
                <xsd:element ref="ns2:MediaLengthInSeconds" minOccurs="0"/>
                <xsd:element ref="ns3:_dlc_DocId" minOccurs="0"/>
                <xsd:element ref="ns3:_dlc_DocIdUrl" minOccurs="0"/>
                <xsd:element ref="ns3:_dlc_DocIdPersistId" minOccurs="0"/>
                <xsd:element ref="ns4:Email_x005f_x0020_To" minOccurs="0"/>
                <xsd:element ref="ns4:Email_x005f_x0020_From" minOccurs="0"/>
                <xsd:element ref="ns4:Email_x005f_x0020_Subject" minOccurs="0"/>
                <xsd:element ref="ns4:Email_x005f_x0020_Conversation_x005f_x0020_Topic" minOccurs="0"/>
                <xsd:element ref="ns4:Email_x005f_x0020_CC" minOccurs="0"/>
                <xsd:element ref="ns4:Email_x005f_x0020_Date" minOccurs="0"/>
                <xsd:element ref="ns4:Email_x005f_x0020_Attachments" minOccurs="0"/>
                <xsd:element ref="ns2:ProjectNumber" minOccurs="0"/>
                <xsd:element ref="ns2:Moved_x003f_" minOccurs="0"/>
                <xsd:element ref="ns2:MovedtoTOSP" minOccurs="0"/>
                <xsd:element ref="ns2:Branch_x002f_Directorate" minOccurs="0"/>
                <xsd:element ref="ns2:MediaServiceObjectDetectorVersions" minOccurs="0"/>
                <xsd:element ref="ns2:Createdby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7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8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bbdc28-f7ba-407a-a4f2-aac6b09ccf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RequestDescription" ma:index="19" nillable="true" ma:displayName="Request Description" ma:description="Gives more information about the request and the mentions who made the request" ma:format="Dropdown" ma:internalName="RequestDescription">
      <xsd:simpleType>
        <xsd:restriction base="dms:Note">
          <xsd:maxLength value="255"/>
        </xsd:restriction>
      </xsd:simpleType>
    </xsd:element>
    <xsd:element name="RequestedBy" ma:index="20" nillable="true" ma:displayName="Requested By" ma:format="Dropdown" ma:internalName="RequestedBy">
      <xsd:simpleType>
        <xsd:restriction base="dms:Text">
          <xsd:maxLength value="255"/>
        </xsd:restriction>
      </xsd:simpleType>
    </xsd:element>
    <xsd:element name="Strategic_x0020_Initiative_x0020__x0028_Category_x0029_" ma:index="23" nillable="true" ma:displayName="Strategic Initiative (Category)" ma:internalName="Strategic_x0020_Initiative_x0020__x0028_Category_x0029_">
      <xsd:simpleType>
        <xsd:restriction base="dms:Text">
          <xsd:maxLength value="255"/>
        </xsd:restriction>
      </xsd:simpleType>
    </xsd:element>
    <xsd:element name="Strategic_x0020_Initiative_x0020__x002d__x0020_Category" ma:index="24" nillable="true" ma:displayName="Strategic Initiative - Category" ma:internalName="Strategic_x0020_Initiative_x0020__x002d__x0020_Category">
      <xsd:simpleType>
        <xsd:restriction base="dms:Text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3fa6f064-5af2-4239-ab23-685642d5954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8" nillable="true" ma:displayName="Location" ma:internalName="MediaServiceLocation" ma:readOnly="true">
      <xsd:simpleType>
        <xsd:restriction base="dms:Text"/>
      </xsd:simpleType>
    </xsd:element>
    <xsd:element name="MediaLengthInSeconds" ma:index="29" nillable="true" ma:displayName="MediaLengthInSeconds" ma:hidden="true" ma:internalName="MediaLengthInSeconds" ma:readOnly="true">
      <xsd:simpleType>
        <xsd:restriction base="dms:Unknown"/>
      </xsd:simpleType>
    </xsd:element>
    <xsd:element name="ProjectNumber" ma:index="40" nillable="true" ma:displayName="Project Number" ma:format="Dropdown" ma:internalName="ProjectNumber" ma:percentage="FALSE">
      <xsd:simpleType>
        <xsd:restriction base="dms:Number"/>
      </xsd:simpleType>
    </xsd:element>
    <xsd:element name="Moved_x003f_" ma:index="41" nillable="true" ma:displayName="Moved?" ma:default="Yes" ma:format="Dropdown" ma:internalName="Moved_x003f_">
      <xsd:simpleType>
        <xsd:restriction base="dms:Choice">
          <xsd:enumeration value="Yes"/>
          <xsd:enumeration value="No"/>
        </xsd:restriction>
      </xsd:simpleType>
    </xsd:element>
    <xsd:element name="MovedtoTOSP" ma:index="42" nillable="true" ma:displayName="Copied to OGGO Folder (TOS SP)" ma:default="0" ma:description="This document has been copied to the Request for contracting documents (OGGO)" ma:format="Dropdown" ma:internalName="MovedtoTOSP">
      <xsd:simpleType>
        <xsd:restriction base="dms:Boolean"/>
      </xsd:simpleType>
    </xsd:element>
    <xsd:element name="Branch_x002f_Directorate" ma:index="43" nillable="true" ma:displayName="Branch/Directorate" ma:internalName="Branch_x002f_Directorate">
      <xsd:simpleType>
        <xsd:restriction base="dms:Text">
          <xsd:maxLength value="255"/>
        </xsd:restriction>
      </xsd:simpleType>
    </xsd:element>
    <xsd:element name="MediaServiceObjectDetectorVersions" ma:index="4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Createdby" ma:index="45" nillable="true" ma:displayName="Created by" ma:format="Dropdown" ma:list="UserInfo" ma:SharePointGroup="0" ma:internalName="Cre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SearchProperties" ma:index="4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100203-8435-4fe4-95fa-31e1ff25e501" elementFormDefault="qualified">
    <xsd:import namespace="http://schemas.microsoft.com/office/2006/documentManagement/types"/>
    <xsd:import namespace="http://schemas.microsoft.com/office/infopath/2007/PartnerControls"/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30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3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32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6aaf80-9812-406c-9dd3-ccb851cf3a75" elementFormDefault="qualified">
    <xsd:import namespace="http://schemas.microsoft.com/office/2006/documentManagement/types"/>
    <xsd:import namespace="http://schemas.microsoft.com/office/infopath/2007/PartnerControls"/>
    <xsd:element name="TaxCatchAll" ma:index="27" nillable="true" ma:displayName="Taxonomy Catch All Column" ma:hidden="true" ma:list="{57a439ac-b107-45aa-9b3c-ae7f7543a14e}" ma:internalName="TaxCatchAll" ma:showField="CatchAllData" ma:web="76100203-8435-4fe4-95fa-31e1ff25e50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mail_x005f_x0020_To" ma:index="33" nillable="true" ma:displayName="Email To" ma:description="Email To" ma:hidden="true" ma:internalName="Email_x0020_To" ma:readOnly="false">
      <xsd:simpleType>
        <xsd:restriction base="dms:Text">
          <xsd:maxLength value="255"/>
        </xsd:restriction>
      </xsd:simpleType>
    </xsd:element>
    <xsd:element name="Email_x005f_x0020_From" ma:index="34" nillable="true" ma:displayName="Email From" ma:description="Email From" ma:hidden="true" ma:internalName="Email_x0020_From" ma:readOnly="false">
      <xsd:simpleType>
        <xsd:restriction base="dms:Text">
          <xsd:maxLength value="255"/>
        </xsd:restriction>
      </xsd:simpleType>
    </xsd:element>
    <xsd:element name="Email_x005f_x0020_Subject" ma:index="35" nillable="true" ma:displayName="Email Subject" ma:description="Email Subject" ma:hidden="true" ma:internalName="Email_x0020_Subject" ma:readOnly="false">
      <xsd:simpleType>
        <xsd:restriction base="dms:Text">
          <xsd:maxLength value="255"/>
        </xsd:restriction>
      </xsd:simpleType>
    </xsd:element>
    <xsd:element name="Email_x005f_x0020_Conversation_x005f_x0020_Topic" ma:index="36" nillable="true" ma:displayName="Email Conversation Topic" ma:description="Email Conversation Topic" ma:hidden="true" ma:internalName="Email_x0020_Conversation_x0020_Topic" ma:readOnly="false">
      <xsd:simpleType>
        <xsd:restriction base="dms:Text">
          <xsd:maxLength value="255"/>
        </xsd:restriction>
      </xsd:simpleType>
    </xsd:element>
    <xsd:element name="Email_x005f_x0020_CC" ma:index="37" nillable="true" ma:displayName="Email CC" ma:description="Email CC" ma:hidden="true" ma:internalName="Email_x0020_CC" ma:readOnly="false">
      <xsd:simpleType>
        <xsd:restriction base="dms:Text">
          <xsd:maxLength value="255"/>
        </xsd:restriction>
      </xsd:simpleType>
    </xsd:element>
    <xsd:element name="Email_x005f_x0020_Date" ma:index="38" nillable="true" ma:displayName="Email Date" ma:description="Email Date" ma:format="DateOnly" ma:hidden="true" ma:internalName="Email_x0020_Date" ma:readOnly="false">
      <xsd:simpleType>
        <xsd:restriction base="dms:DateTime"/>
      </xsd:simpleType>
    </xsd:element>
    <xsd:element name="Email_x005f_x0020_Attachments" ma:index="39" nillable="true" ma:displayName="Email Attachments" ma:description="Email Attachments" ma:hidden="true" ma:internalName="Email_x0020_Attachments" ma:readOnly="fals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ovedtoTOSP xmlns="52bbdc28-f7ba-407a-a4f2-aac6b09ccf53">false</MovedtoTOSP>
    <_dlc_DocId xmlns="76100203-8435-4fe4-95fa-31e1ff25e501">4Y6SP7EAUX6W-1603644143-37952</_dlc_DocId>
    <Moved_x003f_ xmlns="52bbdc28-f7ba-407a-a4f2-aac6b09ccf53">Yes</Moved_x003f_>
    <_dlc_DocIdUrl xmlns="76100203-8435-4fe4-95fa-31e1ff25e501">
      <Url>https://014gc.sharepoint.com/sites/TransformationESDC/_layouts/15/DocIdRedir.aspx?ID=4Y6SP7EAUX6W-1603644143-37952</Url>
      <Description>4Y6SP7EAUX6W-1603644143-37952</Description>
    </_dlc_DocIdUrl>
    <Email_x005f_x0020_Date xmlns="f76aaf80-9812-406c-9dd3-ccb851cf3a75" xsi:nil="true"/>
    <Branch_x002f_Directorate xmlns="52bbdc28-f7ba-407a-a4f2-aac6b09ccf53" xsi:nil="true"/>
    <_ip_UnifiedCompliancePolicyUIAction xmlns="http://schemas.microsoft.com/sharepoint/v3" xsi:nil="true"/>
    <RequestDescription xmlns="52bbdc28-f7ba-407a-a4f2-aac6b09ccf53" xsi:nil="true"/>
    <Email_x005f_x0020_Attachments xmlns="f76aaf80-9812-406c-9dd3-ccb851cf3a75" xsi:nil="true"/>
    <lcf76f155ced4ddcb4097134ff3c332f xmlns="52bbdc28-f7ba-407a-a4f2-aac6b09ccf53">
      <Terms xmlns="http://schemas.microsoft.com/office/infopath/2007/PartnerControls"/>
    </lcf76f155ced4ddcb4097134ff3c332f>
    <Strategic_x0020_Initiative_x0020__x0028_Category_x0029_ xmlns="52bbdc28-f7ba-407a-a4f2-aac6b09ccf53" xsi:nil="true"/>
    <ProjectNumber xmlns="52bbdc28-f7ba-407a-a4f2-aac6b09ccf53" xsi:nil="true"/>
    <Email_x005f_x0020_From xmlns="f76aaf80-9812-406c-9dd3-ccb851cf3a75" xsi:nil="true"/>
    <_ip_UnifiedCompliancePolicyProperties xmlns="http://schemas.microsoft.com/sharepoint/v3" xsi:nil="true"/>
    <Createdby xmlns="52bbdc28-f7ba-407a-a4f2-aac6b09ccf53">
      <UserInfo>
        <DisplayName/>
        <AccountId xsi:nil="true"/>
        <AccountType/>
      </UserInfo>
    </Createdby>
    <Strategic_x0020_Initiative_x0020__x002d__x0020_Category xmlns="52bbdc28-f7ba-407a-a4f2-aac6b09ccf53" xsi:nil="true"/>
    <Email_x005f_x0020_To xmlns="f76aaf80-9812-406c-9dd3-ccb851cf3a75" xsi:nil="true"/>
    <Email_x005f_x0020_Subject xmlns="f76aaf80-9812-406c-9dd3-ccb851cf3a75" xsi:nil="true"/>
    <Email_x005f_x0020_Conversation_x005f_x0020_Topic xmlns="f76aaf80-9812-406c-9dd3-ccb851cf3a75" xsi:nil="true"/>
    <Email_x005f_x0020_CC xmlns="f76aaf80-9812-406c-9dd3-ccb851cf3a75" xsi:nil="true"/>
    <TaxCatchAll xmlns="f76aaf80-9812-406c-9dd3-ccb851cf3a75" xsi:nil="true"/>
    <RequestedBy xmlns="52bbdc28-f7ba-407a-a4f2-aac6b09ccf53" xsi:nil="true"/>
    <SharedWithUsers xmlns="76100203-8435-4fe4-95fa-31e1ff25e501">
      <UserInfo>
        <DisplayName>Darke, Hillary H [NC]</DisplayName>
        <AccountId>685</AccountId>
        <AccountType/>
      </UserInfo>
      <UserInfo>
        <DisplayName>Cluney, Craig EC [NC]</DisplayName>
        <AccountId>918</AccountId>
        <AccountType/>
      </UserInfo>
      <UserInfo>
        <DisplayName>Charbonneau, Michèle-Renée MR</DisplayName>
        <AccountId>5456</AccountId>
        <AccountType/>
      </UserInfo>
      <UserInfo>
        <DisplayName>Danielsen, Bill B [NC]</DisplayName>
        <AccountId>5457</AccountId>
        <AccountType/>
      </UserInfo>
      <UserInfo>
        <DisplayName>Ghiara, Karl K [NC]</DisplayName>
        <AccountId>5458</AccountId>
        <AccountType/>
      </UserInfo>
      <UserInfo>
        <DisplayName>Leblanc, Neal NR [NC]</DisplayName>
        <AccountId>5459</AccountId>
        <AccountType/>
      </UserInfo>
      <UserInfo>
        <DisplayName>Sales, Jeremy JP [NC]</DisplayName>
        <AccountId>5460</AccountId>
        <AccountType/>
      </UserInfo>
      <UserInfo>
        <DisplayName>Underwood, Kristen K [NC]</DisplayName>
        <AccountId>5461</AccountId>
        <AccountType/>
      </UserInfo>
      <UserInfo>
        <DisplayName>Anderton, Geoff GJ [NC]</DisplayName>
        <AccountId>964</AccountId>
        <AccountType/>
      </UserInfo>
      <UserInfo>
        <DisplayName>Barrow, Wendy W [NC]</DisplayName>
        <AccountId>654</AccountId>
        <AccountType/>
      </UserInfo>
      <UserInfo>
        <DisplayName>Boyer, Verdy V [NC]</DisplayName>
        <AccountId>650</AccountId>
        <AccountType/>
      </UserInfo>
      <UserInfo>
        <DisplayName>Carisse, Karl K [NC]</DisplayName>
        <AccountId>281</AccountId>
        <AccountType/>
      </UserInfo>
      <UserInfo>
        <DisplayName>Côté, Isabelle I [NC]</DisplayName>
        <AccountId>4056</AccountId>
        <AccountType/>
      </UserInfo>
      <UserInfo>
        <DisplayName>Deneumoustier, Darren DJ [ON]</DisplayName>
        <AccountId>2589</AccountId>
        <AccountType/>
      </UserInfo>
      <UserInfo>
        <DisplayName>Garneau Ferris, Julie JJ [ON]</DisplayName>
        <AccountId>3360</AccountId>
        <AccountType/>
      </UserInfo>
      <UserInfo>
        <DisplayName>Greene, Susan SC [NC]</DisplayName>
        <AccountId>647</AccountId>
        <AccountType/>
      </UserInfo>
      <UserInfo>
        <DisplayName>Jaffery, Aaron [NC]</DisplayName>
        <AccountId>1225</AccountId>
        <AccountType/>
      </UserInfo>
      <UserInfo>
        <DisplayName>Julien, Benoit B [NC]</DisplayName>
        <AccountId>2521</AccountId>
        <AccountType/>
      </UserInfo>
      <UserInfo>
        <DisplayName>Kornaros, Robert R [NC]</DisplayName>
        <AccountId>3945</AccountId>
        <AccountType/>
      </UserInfo>
      <UserInfo>
        <DisplayName>Lajoie, Marion M [NC]</DisplayName>
        <AccountId>5270</AccountId>
        <AccountType/>
      </UserInfo>
      <UserInfo>
        <DisplayName>Murphy, Mike J [NC]</DisplayName>
        <AccountId>1394</AccountId>
        <AccountType/>
      </UserInfo>
      <UserInfo>
        <DisplayName>Oliver, Janice JA [NC]</DisplayName>
        <AccountId>2552</AccountId>
        <AccountType/>
      </UserInfo>
      <UserInfo>
        <DisplayName>Rivers, Grahame J [NC]</DisplayName>
        <AccountId>1125</AccountId>
        <AccountType/>
      </UserInfo>
      <UserInfo>
        <DisplayName>Slocombe, John JR [NC]</DisplayName>
        <AccountId>687</AccountId>
        <AccountType/>
      </UserInfo>
      <UserInfo>
        <DisplayName>Teasdale, Melissa M [NC]</DisplayName>
        <AccountId>4465</AccountId>
        <AccountType/>
      </UserInfo>
      <UserInfo>
        <DisplayName>Bélanger, Mario MR [NC]</DisplayName>
        <AccountId>5533</AccountId>
        <AccountType/>
      </UserInfo>
      <UserInfo>
        <DisplayName>El Aggan, Khalid KZEA [NC]</DisplayName>
        <AccountId>1074</AccountId>
        <AccountType/>
      </UserInfo>
      <UserInfo>
        <DisplayName>Littlefield, Peter P [NC]</DisplayName>
        <AccountId>4369</AccountId>
        <AccountType/>
      </UserInfo>
      <UserInfo>
        <DisplayName>Chisholm, Laura LA [NC]</DisplayName>
        <AccountId>1051</AccountId>
        <AccountType/>
      </UserInfo>
      <UserInfo>
        <DisplayName>Gomez Lares,  Monica MGL [NC]</DisplayName>
        <AccountId>3049</AccountId>
        <AccountType/>
      </UserInfo>
      <UserInfo>
        <DisplayName>Ibrahim, Moustapha MI [NC]</DisplayName>
        <AccountId>1760</AccountId>
        <AccountType/>
      </UserInfo>
      <UserInfo>
        <DisplayName>Tchilingirian, Sara ST [NC]</DisplayName>
        <AccountId>2283</AccountId>
        <AccountType/>
      </UserInfo>
      <UserInfo>
        <DisplayName>Fast, Lauren LE [NC]</DisplayName>
        <AccountId>1273</AccountId>
        <AccountType/>
      </UserInfo>
      <UserInfo>
        <DisplayName>Craighead, Crimson CP [NC]</DisplayName>
        <AccountId>3874</AccountId>
        <AccountType/>
      </UserInfo>
      <UserInfo>
        <DisplayName>Kulakowski, Adam A [NC]</DisplayName>
        <AccountId>142</AccountId>
        <AccountType/>
      </UserInfo>
      <UserInfo>
        <DisplayName>Jansen, Charles CRJ [ON]</DisplayName>
        <AccountId>674</AccountId>
        <AccountType/>
      </UserInfo>
      <UserInfo>
        <DisplayName>Hoover, Gregory GP [NC]</DisplayName>
        <AccountId>398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2399E45-47B9-4A6D-AC3D-43C3771319F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28AE6E-05F6-4498-9CA1-FE0D01E208C9}">
  <ds:schemaRefs>
    <ds:schemaRef ds:uri="52bbdc28-f7ba-407a-a4f2-aac6b09ccf53"/>
    <ds:schemaRef ds:uri="76100203-8435-4fe4-95fa-31e1ff25e501"/>
    <ds:schemaRef ds:uri="f76aaf80-9812-406c-9dd3-ccb851cf3a7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6018C9C-7222-4B1A-BF11-20DF664658D3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2E93BDA7-2147-416D-8AC2-216E3AFB0290}">
  <ds:schemaRefs>
    <ds:schemaRef ds:uri="52bbdc28-f7ba-407a-a4f2-aac6b09ccf53"/>
    <ds:schemaRef ds:uri="76100203-8435-4fe4-95fa-31e1ff25e501"/>
    <ds:schemaRef ds:uri="f76aaf80-9812-406c-9dd3-ccb851cf3a7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555</Words>
  <Application>Microsoft Office PowerPoint</Application>
  <PresentationFormat>Widescreen</PresentationFormat>
  <Paragraphs>257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0" baseType="lpstr">
      <vt:lpstr>Aptos</vt:lpstr>
      <vt:lpstr>Arial</vt:lpstr>
      <vt:lpstr>Arial Nova Cond</vt:lpstr>
      <vt:lpstr>Arial,Sans-Serif</vt:lpstr>
      <vt:lpstr>Calibri</vt:lpstr>
      <vt:lpstr>Courier New</vt:lpstr>
      <vt:lpstr>Segoe UI</vt:lpstr>
      <vt:lpstr>Segoe UI Historic</vt:lpstr>
      <vt:lpstr>Segoe UI Semibold</vt:lpstr>
      <vt:lpstr>Verdana</vt:lpstr>
      <vt:lpstr>Wingdings</vt:lpstr>
      <vt:lpstr>White</vt:lpstr>
      <vt:lpstr>3_Office Theme</vt:lpstr>
      <vt:lpstr>TMD Core Business branding</vt:lpstr>
      <vt:lpstr>White</vt:lpstr>
      <vt:lpstr>think-cell Slide</vt:lpstr>
      <vt:lpstr>Overview of Losing a Loved One Journey Lab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guin, Jodi JLS [NC]</dc:creator>
  <cp:lastModifiedBy>Rob Boudreau</cp:lastModifiedBy>
  <cp:revision>55</cp:revision>
  <dcterms:created xsi:type="dcterms:W3CDTF">2024-01-31T21:53:46Z</dcterms:created>
  <dcterms:modified xsi:type="dcterms:W3CDTF">2024-06-12T17:0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69972659-19a2-4ea2-958f-6e445b3eba70</vt:lpwstr>
  </property>
  <property fmtid="{D5CDD505-2E9C-101B-9397-08002B2CF9AE}" pid="3" name="ContentTypeId">
    <vt:lpwstr>0x0101009822246662B3EE409CFC70FE321D8072</vt:lpwstr>
  </property>
  <property fmtid="{D5CDD505-2E9C-101B-9397-08002B2CF9AE}" pid="4" name="MediaServiceImageTags">
    <vt:lpwstr/>
  </property>
</Properties>
</file>